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tags/tag140.xml" ContentType="application/vnd.openxmlformats-officedocument.presentationml.tags+xml"/>
  <Override PartName="/ppt/tags/tag238.xml" ContentType="application/vnd.openxmlformats-officedocument.presentationml.tags+xml"/>
  <Override PartName="/ppt/tags/tag285.xml" ContentType="application/vnd.openxmlformats-officedocument.presentationml.tags+xml"/>
  <Override PartName="/ppt/tags/tag424.xml" ContentType="application/vnd.openxmlformats-officedocument.presentationml.tags+xml"/>
  <Override PartName="/ppt/tags/tag471.xml" ContentType="application/vnd.openxmlformats-officedocument.presentationml.tags+xml"/>
  <Override PartName="/ppt/slideLayouts/slideLayout2.xml" ContentType="application/vnd.openxmlformats-officedocument.presentationml.slideLayout+xml"/>
  <Override PartName="/ppt/tags/tag216.xml" ContentType="application/vnd.openxmlformats-officedocument.presentationml.tags+xml"/>
  <Override PartName="/ppt/tags/tag263.xml" ContentType="application/vnd.openxmlformats-officedocument.presentationml.tags+xml"/>
  <Override PartName="/ppt/tags/tag402.xml" ContentType="application/vnd.openxmlformats-officedocument.presentationml.tags+xml"/>
  <Default Extension="xml" ContentType="application/xml"/>
  <Override PartName="/ppt/slideLayouts/slideLayout24.xml" ContentType="application/vnd.openxmlformats-officedocument.presentationml.slideLayout+xml"/>
  <Override PartName="/ppt/tags/tag38.xml" ContentType="application/vnd.openxmlformats-officedocument.presentationml.tags+xml"/>
  <Override PartName="/ppt/tags/tag85.xml" ContentType="application/vnd.openxmlformats-officedocument.presentationml.tags+xml"/>
  <Override PartName="/ppt/tags/tag241.xml" ContentType="application/vnd.openxmlformats-officedocument.presentationml.tags+xml"/>
  <Override PartName="/ppt/tags/tag339.xml" ContentType="application/vnd.openxmlformats-officedocument.presentationml.tags+xml"/>
  <Override PartName="/ppt/tags/tag386.xml" ContentType="application/vnd.openxmlformats-officedocument.presentationml.tags+xml"/>
  <Override PartName="/ppt/tags/tag16.xml" ContentType="application/vnd.openxmlformats-officedocument.presentationml.tags+xml"/>
  <Override PartName="/ppt/tags/tag63.xml" ContentType="application/vnd.openxmlformats-officedocument.presentationml.tags+xml"/>
  <Override PartName="/ppt/tags/tag178.xml" ContentType="application/vnd.openxmlformats-officedocument.presentationml.tags+xml"/>
  <Override PartName="/ppt/tags/tag317.xml" ContentType="application/vnd.openxmlformats-officedocument.presentationml.tags+xml"/>
  <Override PartName="/ppt/tags/tag364.xml" ContentType="application/vnd.openxmlformats-officedocument.presentationml.tags+xml"/>
  <Override PartName="/ppt/tags/tag109.xml" ContentType="application/vnd.openxmlformats-officedocument.presentationml.tags+xml"/>
  <Override PartName="/ppt/tags/tag156.xml" ContentType="application/vnd.openxmlformats-officedocument.presentationml.tags+xml"/>
  <Override PartName="/ppt/tags/tag487.xml" ContentType="application/vnd.openxmlformats-officedocument.presentationml.tags+xml"/>
  <Override PartName="/ppt/tags/tag503.xml" ContentType="application/vnd.openxmlformats-officedocument.presentationml.tags+xml"/>
  <Override PartName="/ppt/tags/tag41.xml" ContentType="application/vnd.openxmlformats-officedocument.presentationml.tags+xml"/>
  <Override PartName="/ppt/tags/tag279.xml" ContentType="application/vnd.openxmlformats-officedocument.presentationml.tags+xml"/>
  <Override PartName="/ppt/tags/tag342.xml" ContentType="application/vnd.openxmlformats-officedocument.presentationml.tags+xml"/>
  <Override PartName="/ppt/tags/tag134.xml" ContentType="application/vnd.openxmlformats-officedocument.presentationml.tags+xml"/>
  <Override PartName="/ppt/tags/tag181.xml" ContentType="application/vnd.openxmlformats-officedocument.presentationml.tags+xml"/>
  <Override PartName="/ppt/tags/tag320.xml" ContentType="application/vnd.openxmlformats-officedocument.presentationml.tags+xml"/>
  <Override PartName="/ppt/tags/tag418.xml" ContentType="application/vnd.openxmlformats-officedocument.presentationml.tags+xml"/>
  <Override PartName="/ppt/tags/tag465.xml" ContentType="application/vnd.openxmlformats-officedocument.presentationml.tags+xml"/>
  <Override PartName="/ppt/slides/slide19.xml" ContentType="application/vnd.openxmlformats-officedocument.presentationml.slide+xml"/>
  <Default Extension="png" ContentType="image/png"/>
  <Override PartName="/ppt/tags/tag112.xml" ContentType="application/vnd.openxmlformats-officedocument.presentationml.tags+xml"/>
  <Override PartName="/ppt/tags/tag257.xml" ContentType="application/vnd.openxmlformats-officedocument.presentationml.tags+xml"/>
  <Override PartName="/ppt/tags/tag5.xml" ContentType="application/vnd.openxmlformats-officedocument.presentationml.tags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79.xml" ContentType="application/vnd.openxmlformats-officedocument.presentationml.tags+xml"/>
  <Override PartName="/ppt/tags/tag443.xml" ContentType="application/vnd.openxmlformats-officedocument.presentationml.tags+xml"/>
  <Override PartName="/ppt/tags/tag490.xml" ContentType="application/vnd.openxmlformats-officedocument.presentationml.tags+xml"/>
  <Default Extension="emf" ContentType="image/x-emf"/>
  <Override PartName="/ppt/tags/tag235.xml" ContentType="application/vnd.openxmlformats-officedocument.presentationml.tags+xml"/>
  <Override PartName="/ppt/tags/tag282.xml" ContentType="application/vnd.openxmlformats-officedocument.presentationml.tags+xml"/>
  <Override PartName="/ppt/tags/tag421.xml" ContentType="application/vnd.openxmlformats-officedocument.presentationml.tags+xml"/>
  <Override PartName="/ppt/tags/tag57.xml" ContentType="application/vnd.openxmlformats-officedocument.presentationml.tags+xml"/>
  <Override PartName="/ppt/tags/tag213.xml" ContentType="application/vnd.openxmlformats-officedocument.presentationml.tags+xml"/>
  <Override PartName="/ppt/tags/tag260.xml" ContentType="application/vnd.openxmlformats-officedocument.presentationml.tags+xml"/>
  <Override PartName="/ppt/tags/tag358.xml" ContentType="application/vnd.openxmlformats-officedocument.presentationml.tags+xml"/>
  <Override PartName="/ppt/slideLayouts/slideLayout21.xml" ContentType="application/vnd.openxmlformats-officedocument.presentationml.slideLayout+xml"/>
  <Override PartName="/ppt/tags/tag35.xml" ContentType="application/vnd.openxmlformats-officedocument.presentationml.tags+xml"/>
  <Override PartName="/ppt/tags/tag82.xml" ContentType="application/vnd.openxmlformats-officedocument.presentationml.tags+xml"/>
  <Override PartName="/ppt/tags/tag197.xml" ContentType="application/vnd.openxmlformats-officedocument.presentationml.tags+xml"/>
  <Override PartName="/ppt/tags/tag336.xml" ContentType="application/vnd.openxmlformats-officedocument.presentationml.tags+xml"/>
  <Override PartName="/ppt/tags/tag383.xml" ContentType="application/vnd.openxmlformats-officedocument.presentationml.tags+xml"/>
  <Override PartName="/ppt/tags/tag128.xml" ContentType="application/vnd.openxmlformats-officedocument.presentationml.tags+xml"/>
  <Override PartName="/ppt/tags/tag175.xml" ContentType="application/vnd.openxmlformats-officedocument.presentationml.tags+xml"/>
  <Override PartName="/ppt/tags/tag459.xml" ContentType="application/vnd.openxmlformats-officedocument.presentationml.tags+xml"/>
  <Override PartName="/ppt/tags/tag13.xml" ContentType="application/vnd.openxmlformats-officedocument.presentationml.tags+xml"/>
  <Override PartName="/ppt/tags/tag60.xml" ContentType="application/vnd.openxmlformats-officedocument.presentationml.tags+xml"/>
  <Override PartName="/ppt/tags/tag298.xml" ContentType="application/vnd.openxmlformats-officedocument.presentationml.tags+xml"/>
  <Override PartName="/ppt/tags/tag314.xml" ContentType="application/vnd.openxmlformats-officedocument.presentationml.tags+xml"/>
  <Override PartName="/ppt/tags/tag361.xml" ContentType="application/vnd.openxmlformats-officedocument.presentationml.tags+xml"/>
  <Override PartName="/ppt/tags/tag500.xml" ContentType="application/vnd.openxmlformats-officedocument.presentationml.tags+xml"/>
  <Override PartName="/ppt/tags/tag106.xml" ContentType="application/vnd.openxmlformats-officedocument.presentationml.tags+xml"/>
  <Override PartName="/ppt/tags/tag153.xml" ContentType="application/vnd.openxmlformats-officedocument.presentationml.tags+xml"/>
  <Override PartName="/ppt/tags/tag437.xml" ContentType="application/vnd.openxmlformats-officedocument.presentationml.tags+xml"/>
  <Override PartName="/ppt/tags/tag484.xml" ContentType="application/vnd.openxmlformats-officedocument.presentationml.tags+xml"/>
  <Override PartName="/ppt/tags/tag131.xml" ContentType="application/vnd.openxmlformats-officedocument.presentationml.tags+xml"/>
  <Override PartName="/ppt/tags/tag229.xml" ContentType="application/vnd.openxmlformats-officedocument.presentationml.tags+xml"/>
  <Override PartName="/ppt/tags/tag276.xml" ContentType="application/vnd.openxmlformats-officedocument.presentationml.tags+xml"/>
  <Override PartName="/ppt/tags/tag415.xml" ContentType="application/vnd.openxmlformats-officedocument.presentationml.tags+xml"/>
  <Override PartName="/ppt/tags/tag462.xml" ContentType="application/vnd.openxmlformats-officedocument.presentationml.tags+xml"/>
  <Override PartName="/ppt/tags/tag98.xml" ContentType="application/vnd.openxmlformats-officedocument.presentationml.tags+xml"/>
  <Override PartName="/ppt/tags/tag207.xml" ContentType="application/vnd.openxmlformats-officedocument.presentationml.tags+xml"/>
  <Override PartName="/ppt/tags/tag254.xml" ContentType="application/vnd.openxmlformats-officedocument.presentationml.tags+xml"/>
  <Override PartName="/ppt/tags/tag399.xml" ContentType="application/vnd.openxmlformats-officedocument.presentationml.tags+xml"/>
  <Override PartName="/ppt/slides/slide16.xml" ContentType="application/vnd.openxmlformats-officedocument.presentationml.slide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440.xml" ContentType="application/vnd.openxmlformats-officedocument.presentationml.tags+xml"/>
  <Override PartName="/ppt/tags/tag29.xml" ContentType="application/vnd.openxmlformats-officedocument.presentationml.tags+xml"/>
  <Override PartName="/ppt/tags/tag76.xml" ContentType="application/vnd.openxmlformats-officedocument.presentationml.tags+xml"/>
  <Override PartName="/ppt/tags/tag232.xml" ContentType="application/vnd.openxmlformats-officedocument.presentationml.tags+xml"/>
  <Override PartName="/ppt/tags/tag377.xml" ContentType="application/vnd.openxmlformats-officedocument.presentationml.tags+xml"/>
  <Override PartName="/ppt/tags/tag54.xml" ContentType="application/vnd.openxmlformats-officedocument.presentationml.tags+xml"/>
  <Override PartName="/ppt/tags/tag169.xml" ContentType="application/vnd.openxmlformats-officedocument.presentationml.tags+xml"/>
  <Override PartName="/ppt/tags/tag210.xml" ContentType="application/vnd.openxmlformats-officedocument.presentationml.tags+xml"/>
  <Override PartName="/ppt/tags/tag308.xml" ContentType="application/vnd.openxmlformats-officedocument.presentationml.tags+xml"/>
  <Override PartName="/ppt/tags/tag355.xml" ContentType="application/vnd.openxmlformats-officedocument.presentationml.tags+xml"/>
  <Override PartName="/ppt/tags/tag147.xml" ContentType="application/vnd.openxmlformats-officedocument.presentationml.tags+xml"/>
  <Override PartName="/ppt/tags/tag194.xml" ContentType="application/vnd.openxmlformats-officedocument.presentationml.tags+xml"/>
  <Override PartName="/ppt/tags/tag478.xml" ContentType="application/vnd.openxmlformats-officedocument.presentationml.tags+xml"/>
  <Override PartName="/ppt/tags/tag32.xml" ContentType="application/vnd.openxmlformats-officedocument.presentationml.tags+xml"/>
  <Override PartName="/ppt/tags/tag333.xml" ContentType="application/vnd.openxmlformats-officedocument.presentationml.tags+xml"/>
  <Override PartName="/ppt/tags/tag380.xml" ContentType="application/vnd.openxmlformats-officedocument.presentationml.tag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125.xml" ContentType="application/vnd.openxmlformats-officedocument.presentationml.tags+xml"/>
  <Override PartName="/ppt/tags/tag172.xml" ContentType="application/vnd.openxmlformats-officedocument.presentationml.tags+xml"/>
  <Override PartName="/ppt/tags/tag311.xml" ContentType="application/vnd.openxmlformats-officedocument.presentationml.tags+xml"/>
  <Override PartName="/ppt/tags/tag409.xml" ContentType="application/vnd.openxmlformats-officedocument.presentationml.tags+xml"/>
  <Override PartName="/ppt/tags/tag456.xml" ContentType="application/vnd.openxmlformats-officedocument.presentationml.tags+xml"/>
  <Override PartName="/ppt/slideMasters/slideMaster2.xml" ContentType="application/vnd.openxmlformats-officedocument.presentationml.slideMaster+xml"/>
  <Override PartName="/ppt/tags/tag103.xml" ContentType="application/vnd.openxmlformats-officedocument.presentationml.tags+xml"/>
  <Override PartName="/ppt/notesSlides/notesSlide1.xml" ContentType="application/vnd.openxmlformats-officedocument.presentationml.notesSlide+xml"/>
  <Override PartName="/ppt/tags/tag150.xml" ContentType="application/vnd.openxmlformats-officedocument.presentationml.tags+xml"/>
  <Override PartName="/ppt/tags/tag248.xml" ContentType="application/vnd.openxmlformats-officedocument.presentationml.tags+xml"/>
  <Override PartName="/ppt/tags/tag295.xml" ContentType="application/vnd.openxmlformats-officedocument.presentationml.tags+xml"/>
  <Override PartName="/ppt/tags/tag434.xml" ContentType="application/vnd.openxmlformats-officedocument.presentationml.tags+xml"/>
  <Override PartName="/ppt/tags/tag481.xml" ContentType="application/vnd.openxmlformats-officedocument.presentationml.tags+xml"/>
  <Override PartName="/ppt/tags/tag226.xml" ContentType="application/vnd.openxmlformats-officedocument.presentationml.tags+xml"/>
  <Override PartName="/ppt/tags/tag273.xml" ContentType="application/vnd.openxmlformats-officedocument.presentationml.tags+xml"/>
  <Override PartName="/ppt/tags/tag412.xml" ContentType="application/vnd.openxmlformats-officedocument.presentationml.tags+xml"/>
  <Override PartName="/ppt/slides/slide13.xml" ContentType="application/vnd.openxmlformats-officedocument.presentationml.slide+xml"/>
  <Override PartName="/ppt/tags/tag48.xml" ContentType="application/vnd.openxmlformats-officedocument.presentationml.tags+xml"/>
  <Override PartName="/ppt/tags/tag95.xml" ContentType="application/vnd.openxmlformats-officedocument.presentationml.tags+xml"/>
  <Override PartName="/ppt/tags/tag188.xml" ContentType="application/vnd.openxmlformats-officedocument.presentationml.tags+xml"/>
  <Override PartName="/ppt/tags/tag204.xml" ContentType="application/vnd.openxmlformats-officedocument.presentationml.tags+xml"/>
  <Override PartName="/ppt/tags/tag251.xml" ContentType="application/vnd.openxmlformats-officedocument.presentationml.tags+xml"/>
  <Override PartName="/ppt/tags/tag349.xml" ContentType="application/vnd.openxmlformats-officedocument.presentationml.tags+xml"/>
  <Override PartName="/ppt/tags/tag396.xml" ContentType="application/vnd.openxmlformats-officedocument.presentationml.tags+xml"/>
  <Override PartName="/ppt/slideLayouts/slideLayout12.xml" ContentType="application/vnd.openxmlformats-officedocument.presentationml.slideLayout+xml"/>
  <Override PartName="/ppt/tags/tag26.xml" ContentType="application/vnd.openxmlformats-officedocument.presentationml.tags+xml"/>
  <Override PartName="/ppt/tags/tag73.xml" ContentType="application/vnd.openxmlformats-officedocument.presentationml.tags+xml"/>
  <Override PartName="/ppt/tags/tag327.xml" ContentType="application/vnd.openxmlformats-officedocument.presentationml.tags+xml"/>
  <Override PartName="/ppt/tags/tag374.xml" ContentType="application/vnd.openxmlformats-officedocument.presentationml.tags+xml"/>
  <Override PartName="/ppt/tags/tag119.xml" ContentType="application/vnd.openxmlformats-officedocument.presentationml.tags+xml"/>
  <Override PartName="/ppt/tags/tag166.xml" ContentType="application/vnd.openxmlformats-officedocument.presentationml.tags+xml"/>
  <Override PartName="/ppt/tags/tag497.xml" ContentType="application/vnd.openxmlformats-officedocument.presentationml.tags+xml"/>
  <Override PartName="/ppt/tags/tag51.xml" ContentType="application/vnd.openxmlformats-officedocument.presentationml.tags+xml"/>
  <Override PartName="/ppt/tags/tag289.xml" ContentType="application/vnd.openxmlformats-officedocument.presentationml.tags+xml"/>
  <Override PartName="/ppt/tags/tag305.xml" ContentType="application/vnd.openxmlformats-officedocument.presentationml.tags+xml"/>
  <Override PartName="/ppt/tags/tag352.xml" ContentType="application/vnd.openxmlformats-officedocument.presentationml.tags+xml"/>
  <Override PartName="/ppt/tags/tag144.xml" ContentType="application/vnd.openxmlformats-officedocument.presentationml.tags+xml"/>
  <Override PartName="/ppt/tags/tag191.xml" ContentType="application/vnd.openxmlformats-officedocument.presentationml.tags+xml"/>
  <Override PartName="/ppt/tags/tag330.xml" ContentType="application/vnd.openxmlformats-officedocument.presentationml.tags+xml"/>
  <Override PartName="/ppt/tags/tag428.xml" ContentType="application/vnd.openxmlformats-officedocument.presentationml.tags+xml"/>
  <Override PartName="/ppt/tags/tag475.xml" ContentType="application/vnd.openxmlformats-officedocument.presentationml.tags+xml"/>
  <Override PartName="/ppt/tags/tag122.xml" ContentType="application/vnd.openxmlformats-officedocument.presentationml.tags+xml"/>
  <Override PartName="/ppt/tags/tag209.xml" ContentType="application/vnd.openxmlformats-officedocument.presentationml.tags+xml"/>
  <Override PartName="/ppt/tags/tag256.xml" ContentType="application/vnd.openxmlformats-officedocument.presentationml.tags+xml"/>
  <Override PartName="/ppt/tags/tag267.xml" ContentType="application/vnd.openxmlformats-officedocument.presentationml.tags+xml"/>
  <Override PartName="/ppt/tags/tag406.xml" ContentType="application/vnd.openxmlformats-officedocument.presentationml.tags+xml"/>
  <Override PartName="/ppt/tags/tag453.xml" ContentType="application/vnd.openxmlformats-officedocument.presentationml.tags+xml"/>
  <Override PartName="/ppt/tags/tag464.xml" ContentType="application/vnd.openxmlformats-officedocument.presentationml.tag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89.xml" ContentType="application/vnd.openxmlformats-officedocument.presentationml.tags+xml"/>
  <Override PartName="/ppt/tags/tag111.xml" ContentType="application/vnd.openxmlformats-officedocument.presentationml.tags+xml"/>
  <Override PartName="/ppt/tags/tag245.xml" ContentType="application/vnd.openxmlformats-officedocument.presentationml.tags+xml"/>
  <Override PartName="/ppt/tags/tag292.xml" ContentType="application/vnd.openxmlformats-officedocument.presentationml.tags+xml"/>
  <Override PartName="/ppt/tags/tag442.xml" ContentType="application/vnd.openxmlformats-officedocument.presentationml.tags+xml"/>
  <Override PartName="/ppt/theme/theme1.xml" ContentType="application/vnd.openxmlformats-officedocument.theme+xml"/>
  <Override PartName="/ppt/tags/tag78.xml" ContentType="application/vnd.openxmlformats-officedocument.presentationml.tags+xml"/>
  <Override PartName="/ppt/tags/tag100.xml" ContentType="application/vnd.openxmlformats-officedocument.presentationml.tags+xml"/>
  <Override PartName="/ppt/tags/tag234.xml" ContentType="application/vnd.openxmlformats-officedocument.presentationml.tags+xml"/>
  <Override PartName="/ppt/tags/tag281.xml" ContentType="application/vnd.openxmlformats-officedocument.presentationml.tags+xml"/>
  <Override PartName="/ppt/tags/tag368.xml" ContentType="application/vnd.openxmlformats-officedocument.presentationml.tags+xml"/>
  <Override PartName="/ppt/tags/tag379.xml" ContentType="application/vnd.openxmlformats-officedocument.presentationml.tags+xml"/>
  <Override PartName="/ppt/tags/tag431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tags/tag223.xml" ContentType="application/vnd.openxmlformats-officedocument.presentationml.tags+xml"/>
  <Override PartName="/ppt/tags/tag270.xml" ContentType="application/vnd.openxmlformats-officedocument.presentationml.tags+xml"/>
  <Override PartName="/ppt/tags/tag357.xml" ContentType="application/vnd.openxmlformats-officedocument.presentationml.tags+xml"/>
  <Override PartName="/ppt/tags/tag420.xml" ContentType="application/vnd.openxmlformats-officedocument.presentationml.tags+xml"/>
  <Override PartName="/ppt/slides/slide10.xml" ContentType="application/vnd.openxmlformats-officedocument.presentationml.slide+xml"/>
  <Override PartName="/ppt/slideLayouts/slideLayout20.xml" ContentType="application/vnd.openxmlformats-officedocument.presentationml.slideLayout+xml"/>
  <Override PartName="/ppt/tags/tag45.xml" ContentType="application/vnd.openxmlformats-officedocument.presentationml.tags+xml"/>
  <Override PartName="/ppt/tags/tag92.xml" ContentType="application/vnd.openxmlformats-officedocument.presentationml.tags+xml"/>
  <Override PartName="/ppt/tags/tag149.xml" ContentType="application/vnd.openxmlformats-officedocument.presentationml.tags+xml"/>
  <Override PartName="/ppt/tags/tag196.xml" ContentType="application/vnd.openxmlformats-officedocument.presentationml.tags+xml"/>
  <Override PartName="/ppt/tags/tag201.xml" ContentType="application/vnd.openxmlformats-officedocument.presentationml.tags+xml"/>
  <Override PartName="/ppt/tags/tag212.xml" ContentType="application/vnd.openxmlformats-officedocument.presentationml.tags+xml"/>
  <Override PartName="/ppt/tags/tag346.xml" ContentType="application/vnd.openxmlformats-officedocument.presentationml.tags+xml"/>
  <Override PartName="/ppt/tags/tag393.xml" ContentType="application/vnd.openxmlformats-officedocument.presentationml.tags+xml"/>
  <Override PartName="/docProps/custom.xml" ContentType="application/vnd.openxmlformats-officedocument.custom-properties+xml"/>
  <Override PartName="/ppt/tags/tag34.xml" ContentType="application/vnd.openxmlformats-officedocument.presentationml.tags+xml"/>
  <Override PartName="/ppt/tags/tag81.xml" ContentType="application/vnd.openxmlformats-officedocument.presentationml.tags+xml"/>
  <Override PartName="/ppt/tags/tag138.xml" ContentType="application/vnd.openxmlformats-officedocument.presentationml.tags+xml"/>
  <Override PartName="/ppt/tags/tag185.xml" ContentType="application/vnd.openxmlformats-officedocument.presentationml.tags+xml"/>
  <Override PartName="/ppt/tags/tag324.xml" ContentType="application/vnd.openxmlformats-officedocument.presentationml.tags+xml"/>
  <Override PartName="/ppt/tags/tag335.xml" ContentType="application/vnd.openxmlformats-officedocument.presentationml.tags+xml"/>
  <Override PartName="/ppt/tags/tag371.xml" ContentType="application/vnd.openxmlformats-officedocument.presentationml.tags+xml"/>
  <Override PartName="/ppt/tags/tag382.xml" ContentType="application/vnd.openxmlformats-officedocument.presentationml.tags+xml"/>
  <Override PartName="/ppt/tags/tag469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70.xml" ContentType="application/vnd.openxmlformats-officedocument.presentationml.tags+xml"/>
  <Override PartName="/ppt/tags/tag116.xml" ContentType="application/vnd.openxmlformats-officedocument.presentationml.tags+xml"/>
  <Override PartName="/ppt/tags/tag127.xml" ContentType="application/vnd.openxmlformats-officedocument.presentationml.tags+xml"/>
  <Override PartName="/ppt/tags/tag163.xml" ContentType="application/vnd.openxmlformats-officedocument.presentationml.tags+xml"/>
  <Override PartName="/ppt/tags/tag174.xml" ContentType="application/vnd.openxmlformats-officedocument.presentationml.tags+xml"/>
  <Override PartName="/ppt/tags/tag313.xml" ContentType="application/vnd.openxmlformats-officedocument.presentationml.tags+xml"/>
  <Override PartName="/ppt/tags/tag360.xml" ContentType="application/vnd.openxmlformats-officedocument.presentationml.tags+xml"/>
  <Override PartName="/ppt/tags/tag458.xml" ContentType="application/vnd.openxmlformats-officedocument.presentationml.tags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5.xml" ContentType="application/vnd.openxmlformats-officedocument.presentationml.tags+xml"/>
  <Override PartName="/ppt/tags/tag152.xml" ContentType="application/vnd.openxmlformats-officedocument.presentationml.tags+xml"/>
  <Override PartName="/ppt/tags/tag297.xml" ContentType="application/vnd.openxmlformats-officedocument.presentationml.tags+xml"/>
  <Override PartName="/ppt/tags/tag302.xml" ContentType="application/vnd.openxmlformats-officedocument.presentationml.tags+xml"/>
  <Override PartName="/ppt/tags/tag436.xml" ContentType="application/vnd.openxmlformats-officedocument.presentationml.tags+xml"/>
  <Override PartName="/ppt/tags/tag447.xml" ContentType="application/vnd.openxmlformats-officedocument.presentationml.tags+xml"/>
  <Override PartName="/ppt/tags/tag483.xml" ContentType="application/vnd.openxmlformats-officedocument.presentationml.tags+xml"/>
  <Override PartName="/ppt/tags/tag494.xml" ContentType="application/vnd.openxmlformats-officedocument.presentationml.tags+xml"/>
  <Default Extension="bin" ContentType="application/vnd.openxmlformats-officedocument.oleObject"/>
  <Override PartName="/ppt/tags/tag141.xml" ContentType="application/vnd.openxmlformats-officedocument.presentationml.tags+xml"/>
  <Override PartName="/ppt/tags/tag228.xml" ContentType="application/vnd.openxmlformats-officedocument.presentationml.tags+xml"/>
  <Override PartName="/ppt/tags/tag239.xml" ContentType="application/vnd.openxmlformats-officedocument.presentationml.tags+xml"/>
  <Override PartName="/ppt/tags/tag275.xml" ContentType="application/vnd.openxmlformats-officedocument.presentationml.tags+xml"/>
  <Override PartName="/ppt/tags/tag286.xml" ContentType="application/vnd.openxmlformats-officedocument.presentationml.tags+xml"/>
  <Override PartName="/ppt/tags/tag425.xml" ContentType="application/vnd.openxmlformats-officedocument.presentationml.tags+xml"/>
  <Override PartName="/ppt/tags/tag472.xml" ContentType="application/vnd.openxmlformats-officedocument.presentationml.tags+xml"/>
  <Override PartName="/ppt/presProps.xml" ContentType="application/vnd.openxmlformats-officedocument.presentationml.presProps+xml"/>
  <Override PartName="/ppt/tags/tag130.xml" ContentType="application/vnd.openxmlformats-officedocument.presentationml.tags+xml"/>
  <Override PartName="/ppt/tags/tag217.xml" ContentType="application/vnd.openxmlformats-officedocument.presentationml.tags+xml"/>
  <Override PartName="/ppt/tags/tag264.xml" ContentType="application/vnd.openxmlformats-officedocument.presentationml.tags+xml"/>
  <Override PartName="/ppt/tags/tag414.xml" ContentType="application/vnd.openxmlformats-officedocument.presentationml.tags+xml"/>
  <Override PartName="/ppt/tags/tag461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39.xml" ContentType="application/vnd.openxmlformats-officedocument.presentationml.tags+xml"/>
  <Override PartName="/ppt/tags/tag86.xml" ContentType="application/vnd.openxmlformats-officedocument.presentationml.tags+xml"/>
  <Override PartName="/ppt/tags/tag97.xml" ContentType="application/vnd.openxmlformats-officedocument.presentationml.tags+xml"/>
  <Override PartName="/ppt/tags/tag206.xml" ContentType="application/vnd.openxmlformats-officedocument.presentationml.tags+xml"/>
  <Override PartName="/ppt/tags/tag253.xml" ContentType="application/vnd.openxmlformats-officedocument.presentationml.tags+xml"/>
  <Override PartName="/ppt/tags/tag387.xml" ContentType="application/vnd.openxmlformats-officedocument.presentationml.tags+xml"/>
  <Override PartName="/ppt/tags/tag398.xml" ContentType="application/vnd.openxmlformats-officedocument.presentationml.tags+xml"/>
  <Override PartName="/ppt/tags/tag403.xml" ContentType="application/vnd.openxmlformats-officedocument.presentationml.tags+xml"/>
  <Override PartName="/ppt/tags/tag450.xml" ContentType="application/vnd.openxmlformats-officedocument.presentationml.tags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tags/tag28.xml" ContentType="application/vnd.openxmlformats-officedocument.presentationml.tags+xml"/>
  <Override PartName="/ppt/tags/tag75.xml" ContentType="application/vnd.openxmlformats-officedocument.presentationml.tags+xml"/>
  <Override PartName="/ppt/tags/tag179.xml" ContentType="application/vnd.openxmlformats-officedocument.presentationml.tags+xml"/>
  <Override PartName="/ppt/tags/tag231.xml" ContentType="application/vnd.openxmlformats-officedocument.presentationml.tags+xml"/>
  <Override PartName="/ppt/tags/tag242.xml" ContentType="application/vnd.openxmlformats-officedocument.presentationml.tags+xml"/>
  <Override PartName="/ppt/tags/tag329.xml" ContentType="application/vnd.openxmlformats-officedocument.presentationml.tags+xml"/>
  <Override PartName="/ppt/tags/tag376.xml" ContentType="application/vnd.openxmlformats-officedocument.presentationml.tags+xml"/>
  <Override PartName="/ppt/tags/tag17.xml" ContentType="application/vnd.openxmlformats-officedocument.presentationml.tags+xml"/>
  <Override PartName="/ppt/tags/tag64.xml" ContentType="application/vnd.openxmlformats-officedocument.presentationml.tags+xml"/>
  <Override PartName="/ppt/tags/tag168.xml" ContentType="application/vnd.openxmlformats-officedocument.presentationml.tags+xml"/>
  <Override PartName="/ppt/tags/tag220.xml" ContentType="application/vnd.openxmlformats-officedocument.presentationml.tags+xml"/>
  <Override PartName="/ppt/tags/tag318.xml" ContentType="application/vnd.openxmlformats-officedocument.presentationml.tags+xml"/>
  <Override PartName="/ppt/tags/tag365.xml" ContentType="application/vnd.openxmlformats-officedocument.presentationml.tags+xml"/>
  <Override PartName="/ppt/tags/tag499.xml" ContentType="application/vnd.openxmlformats-officedocument.presentationml.tags+xml"/>
  <Override PartName="/ppt/tags/tag504.xml" ContentType="application/vnd.openxmlformats-officedocument.presentationml.tags+xml"/>
  <Default Extension="vml" ContentType="application/vnd.openxmlformats-officedocument.vmlDrawing"/>
  <Override PartName="/ppt/tags/tag53.xml" ContentType="application/vnd.openxmlformats-officedocument.presentationml.tags+xml"/>
  <Override PartName="/ppt/tags/tag157.xml" ContentType="application/vnd.openxmlformats-officedocument.presentationml.tags+xml"/>
  <Override PartName="/ppt/tags/tag307.xml" ContentType="application/vnd.openxmlformats-officedocument.presentationml.tags+xml"/>
  <Override PartName="/ppt/tags/tag343.xml" ContentType="application/vnd.openxmlformats-officedocument.presentationml.tags+xml"/>
  <Override PartName="/ppt/tags/tag354.xml" ContentType="application/vnd.openxmlformats-officedocument.presentationml.tags+xml"/>
  <Override PartName="/ppt/tags/tag390.xml" ContentType="application/vnd.openxmlformats-officedocument.presentationml.tags+xml"/>
  <Override PartName="/ppt/tags/tag488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135.xml" ContentType="application/vnd.openxmlformats-officedocument.presentationml.tags+xml"/>
  <Override PartName="/ppt/tags/tag146.xml" ContentType="application/vnd.openxmlformats-officedocument.presentationml.tags+xml"/>
  <Override PartName="/ppt/tags/tag182.xml" ContentType="application/vnd.openxmlformats-officedocument.presentationml.tags+xml"/>
  <Override PartName="/ppt/tags/tag193.xml" ContentType="application/vnd.openxmlformats-officedocument.presentationml.tags+xml"/>
  <Override PartName="/ppt/tags/tag332.xml" ContentType="application/vnd.openxmlformats-officedocument.presentationml.tags+xml"/>
  <Override PartName="/ppt/tags/tag477.xml" ContentType="application/vnd.openxmlformats-officedocument.presentationml.tags+xml"/>
  <Override PartName="/ppt/tags/tag20.xml" ContentType="application/vnd.openxmlformats-officedocument.presentationml.tags+xml"/>
  <Override PartName="/ppt/tags/tag124.xml" ContentType="application/vnd.openxmlformats-officedocument.presentationml.tags+xml"/>
  <Override PartName="/ppt/tags/tag171.xml" ContentType="application/vnd.openxmlformats-officedocument.presentationml.tags+xml"/>
  <Override PartName="/ppt/tags/tag269.xml" ContentType="application/vnd.openxmlformats-officedocument.presentationml.tags+xml"/>
  <Override PartName="/ppt/tags/tag321.xml" ContentType="application/vnd.openxmlformats-officedocument.presentationml.tags+xml"/>
  <Override PartName="/ppt/tags/tag408.xml" ContentType="application/vnd.openxmlformats-officedocument.presentationml.tags+xml"/>
  <Override PartName="/ppt/tags/tag419.xml" ContentType="application/vnd.openxmlformats-officedocument.presentationml.tags+xml"/>
  <Override PartName="/ppt/tags/tag455.xml" ContentType="application/vnd.openxmlformats-officedocument.presentationml.tags+xml"/>
  <Override PartName="/ppt/tags/tag466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slideLayouts/slideLayout19.xml" ContentType="application/vnd.openxmlformats-officedocument.presentationml.slideLayout+xml"/>
  <Override PartName="/ppt/tags/tag113.xml" ContentType="application/vnd.openxmlformats-officedocument.presentationml.tags+xml"/>
  <Override PartName="/ppt/tags/tag160.xml" ContentType="application/vnd.openxmlformats-officedocument.presentationml.tags+xml"/>
  <Override PartName="/ppt/tags/tag247.xml" ContentType="application/vnd.openxmlformats-officedocument.presentationml.tags+xml"/>
  <Override PartName="/ppt/tags/tag258.xml" ContentType="application/vnd.openxmlformats-officedocument.presentationml.tags+xml"/>
  <Override PartName="/ppt/tags/tag294.xml" ContentType="application/vnd.openxmlformats-officedocument.presentationml.tags+xml"/>
  <Override PartName="/ppt/tags/tag310.xml" ContentType="application/vnd.openxmlformats-officedocument.presentationml.tags+xml"/>
  <Override PartName="/ppt/tags/tag444.xml" ContentType="application/vnd.openxmlformats-officedocument.presentationml.tags+xml"/>
  <Override PartName="/ppt/tags/tag491.xml" ContentType="application/vnd.openxmlformats-officedocument.presentationml.tags+xml"/>
  <Override PartName="/ppt/slideMasters/slideMaster1.xml" ContentType="application/vnd.openxmlformats-officedocument.presentationml.slideMaster+xml"/>
  <Override PartName="/ppt/theme/theme3.xml" ContentType="application/vnd.openxmlformats-officedocument.theme+xml"/>
  <Override PartName="/ppt/tags/tag102.xml" ContentType="application/vnd.openxmlformats-officedocument.presentationml.tags+xml"/>
  <Override PartName="/ppt/tags/tag236.xml" ContentType="application/vnd.openxmlformats-officedocument.presentationml.tags+xml"/>
  <Override PartName="/ppt/tags/tag283.xml" ContentType="application/vnd.openxmlformats-officedocument.presentationml.tags+xml"/>
  <Override PartName="/ppt/tags/tag433.xml" ContentType="application/vnd.openxmlformats-officedocument.presentationml.tags+xml"/>
  <Override PartName="/ppt/tags/tag480.xml" ContentType="application/vnd.openxmlformats-officedocument.presentationml.tags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225.xml" ContentType="application/vnd.openxmlformats-officedocument.presentationml.tags+xml"/>
  <Override PartName="/ppt/tags/tag272.xml" ContentType="application/vnd.openxmlformats-officedocument.presentationml.tags+xml"/>
  <Override PartName="/ppt/tags/tag359.xml" ContentType="application/vnd.openxmlformats-officedocument.presentationml.tags+xml"/>
  <Override PartName="/ppt/tags/tag411.xml" ContentType="application/vnd.openxmlformats-officedocument.presentationml.tags+xml"/>
  <Override PartName="/ppt/tags/tag422.xml" ContentType="application/vnd.openxmlformats-officedocument.presentationml.tags+xml"/>
  <Default Extension="rels" ContentType="application/vnd.openxmlformats-package.relationships+xml"/>
  <Override PartName="/ppt/slideLayouts/slideLayout22.xml" ContentType="application/vnd.openxmlformats-officedocument.presentationml.slideLayout+xml"/>
  <Override PartName="/ppt/tags/tag47.xml" ContentType="application/vnd.openxmlformats-officedocument.presentationml.tags+xml"/>
  <Override PartName="/ppt/tags/tag94.xml" ContentType="application/vnd.openxmlformats-officedocument.presentationml.tags+xml"/>
  <Override PartName="/ppt/tags/tag198.xml" ContentType="application/vnd.openxmlformats-officedocument.presentationml.tags+xml"/>
  <Override PartName="/ppt/tags/tag203.xml" ContentType="application/vnd.openxmlformats-officedocument.presentationml.tags+xml"/>
  <Override PartName="/ppt/tags/tag214.xml" ContentType="application/vnd.openxmlformats-officedocument.presentationml.tags+xml"/>
  <Override PartName="/ppt/tags/tag250.xml" ContentType="application/vnd.openxmlformats-officedocument.presentationml.tags+xml"/>
  <Override PartName="/ppt/tags/tag261.xml" ContentType="application/vnd.openxmlformats-officedocument.presentationml.tags+xml"/>
  <Override PartName="/ppt/tags/tag348.xml" ContentType="application/vnd.openxmlformats-officedocument.presentationml.tags+xml"/>
  <Override PartName="/ppt/tags/tag395.xml" ContentType="application/vnd.openxmlformats-officedocument.presentationml.tags+xml"/>
  <Override PartName="/ppt/tags/tag400.xml" ContentType="application/vnd.openxmlformats-officedocument.presentationml.tags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36.xml" ContentType="application/vnd.openxmlformats-officedocument.presentationml.tags+xml"/>
  <Override PartName="/ppt/tags/tag83.xml" ContentType="application/vnd.openxmlformats-officedocument.presentationml.tags+xml"/>
  <Override PartName="/ppt/tags/tag187.xml" ContentType="application/vnd.openxmlformats-officedocument.presentationml.tags+xml"/>
  <Override PartName="/ppt/tags/tag337.xml" ContentType="application/vnd.openxmlformats-officedocument.presentationml.tags+xml"/>
  <Override PartName="/ppt/tags/tag384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118.xml" ContentType="application/vnd.openxmlformats-officedocument.presentationml.tags+xml"/>
  <Override PartName="/ppt/tags/tag129.xml" ContentType="application/vnd.openxmlformats-officedocument.presentationml.tags+xml"/>
  <Override PartName="/ppt/tags/tag165.xml" ContentType="application/vnd.openxmlformats-officedocument.presentationml.tags+xml"/>
  <Override PartName="/ppt/tags/tag176.xml" ContentType="application/vnd.openxmlformats-officedocument.presentationml.tags+xml"/>
  <Override PartName="/ppt/tags/tag315.xml" ContentType="application/vnd.openxmlformats-officedocument.presentationml.tags+xml"/>
  <Override PartName="/ppt/tags/tag326.xml" ContentType="application/vnd.openxmlformats-officedocument.presentationml.tags+xml"/>
  <Override PartName="/ppt/tags/tag362.xml" ContentType="application/vnd.openxmlformats-officedocument.presentationml.tags+xml"/>
  <Override PartName="/ppt/tags/tag373.xml" ContentType="application/vnd.openxmlformats-officedocument.presentationml.tags+xml"/>
  <Override PartName="/ppt/tags/tag50.xml" ContentType="application/vnd.openxmlformats-officedocument.presentationml.tags+xml"/>
  <Override PartName="/ppt/tags/tag107.xml" ContentType="application/vnd.openxmlformats-officedocument.presentationml.tags+xml"/>
  <Override PartName="/ppt/tags/tag154.xml" ContentType="application/vnd.openxmlformats-officedocument.presentationml.tags+xml"/>
  <Override PartName="/ppt/tags/tag299.xml" ContentType="application/vnd.openxmlformats-officedocument.presentationml.tags+xml"/>
  <Override PartName="/ppt/tags/tag304.xml" ContentType="application/vnd.openxmlformats-officedocument.presentationml.tags+xml"/>
  <Override PartName="/ppt/tags/tag351.xml" ContentType="application/vnd.openxmlformats-officedocument.presentationml.tags+xml"/>
  <Override PartName="/ppt/tags/tag438.xml" ContentType="application/vnd.openxmlformats-officedocument.presentationml.tags+xml"/>
  <Override PartName="/ppt/tags/tag449.xml" ContentType="application/vnd.openxmlformats-officedocument.presentationml.tags+xml"/>
  <Override PartName="/ppt/tags/tag485.xml" ContentType="application/vnd.openxmlformats-officedocument.presentationml.tags+xml"/>
  <Override PartName="/ppt/tags/tag496.xml" ContentType="application/vnd.openxmlformats-officedocument.presentationml.tags+xml"/>
  <Override PartName="/ppt/tags/tag501.xml" ContentType="application/vnd.openxmlformats-officedocument.presentationml.tags+xml"/>
  <Override PartName="/ppt/tags/tag143.xml" ContentType="application/vnd.openxmlformats-officedocument.presentationml.tags+xml"/>
  <Override PartName="/ppt/tags/tag190.xml" ContentType="application/vnd.openxmlformats-officedocument.presentationml.tags+xml"/>
  <Override PartName="/ppt/tags/tag277.xml" ContentType="application/vnd.openxmlformats-officedocument.presentationml.tags+xml"/>
  <Override PartName="/ppt/tags/tag288.xml" ContentType="application/vnd.openxmlformats-officedocument.presentationml.tags+xml"/>
  <Override PartName="/ppt/tags/tag340.xml" ContentType="application/vnd.openxmlformats-officedocument.presentationml.tags+xml"/>
  <Override PartName="/ppt/tags/tag427.xml" ContentType="application/vnd.openxmlformats-officedocument.presentationml.tags+xml"/>
  <Override PartName="/ppt/tags/tag474.xml" ContentType="application/vnd.openxmlformats-officedocument.presentationml.tags+xml"/>
  <Override PartName="/ppt/tags/tag132.xml" ContentType="application/vnd.openxmlformats-officedocument.presentationml.tags+xml"/>
  <Override PartName="/ppt/tags/tag219.xml" ContentType="application/vnd.openxmlformats-officedocument.presentationml.tags+xml"/>
  <Override PartName="/ppt/tags/tag266.xml" ContentType="application/vnd.openxmlformats-officedocument.presentationml.tags+xml"/>
  <Override PartName="/ppt/tags/tag416.xml" ContentType="application/vnd.openxmlformats-officedocument.presentationml.tags+xml"/>
  <Override PartName="/ppt/tags/tag463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99.xml" ContentType="application/vnd.openxmlformats-officedocument.presentationml.tags+xml"/>
  <Override PartName="/ppt/tags/tag110.xml" ContentType="application/vnd.openxmlformats-officedocument.presentationml.tags+xml"/>
  <Override PartName="/ppt/tags/tag121.xml" ContentType="application/vnd.openxmlformats-officedocument.presentationml.tags+xml"/>
  <Override PartName="/ppt/tags/tag208.xml" ContentType="application/vnd.openxmlformats-officedocument.presentationml.tags+xml"/>
  <Override PartName="/ppt/tags/tag255.xml" ContentType="application/vnd.openxmlformats-officedocument.presentationml.tags+xml"/>
  <Override PartName="/ppt/tags/tag389.xml" ContentType="application/vnd.openxmlformats-officedocument.presentationml.tags+xml"/>
  <Override PartName="/ppt/tags/tag405.xml" ContentType="application/vnd.openxmlformats-officedocument.presentationml.tags+xml"/>
  <Override PartName="/ppt/tags/tag452.xml" ContentType="application/vnd.openxmlformats-officedocument.presentationml.tags+xml"/>
  <Override PartName="/ppt/slideLayouts/slideLayout16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tags/tag233.xml" ContentType="application/vnd.openxmlformats-officedocument.presentationml.tags+xml"/>
  <Override PartName="/ppt/tags/tag244.xml" ContentType="application/vnd.openxmlformats-officedocument.presentationml.tags+xml"/>
  <Override PartName="/ppt/tags/tag280.xml" ContentType="application/vnd.openxmlformats-officedocument.presentationml.tags+xml"/>
  <Override PartName="/ppt/tags/tag291.xml" ContentType="application/vnd.openxmlformats-officedocument.presentationml.tags+xml"/>
  <Override PartName="/ppt/tags/tag378.xml" ContentType="application/vnd.openxmlformats-officedocument.presentationml.tags+xml"/>
  <Override PartName="/ppt/tags/tag430.xml" ContentType="application/vnd.openxmlformats-officedocument.presentationml.tags+xml"/>
  <Override PartName="/ppt/tags/tag441.xml" ContentType="application/vnd.openxmlformats-officedocument.presentationml.tags+xml"/>
  <Override PartName="/ppt/tags/tag19.xml" ContentType="application/vnd.openxmlformats-officedocument.presentationml.tags+xml"/>
  <Override PartName="/ppt/tags/tag66.xml" ContentType="application/vnd.openxmlformats-officedocument.presentationml.tags+xml"/>
  <Override PartName="/ppt/tags/tag222.xml" ContentType="application/vnd.openxmlformats-officedocument.presentationml.tags+xml"/>
  <Override PartName="/ppt/tags/tag367.xml" ContentType="application/vnd.openxmlformats-officedocument.presentationml.tags+xml"/>
  <Override PartName="/ppt/slides/slide20.xml" ContentType="application/vnd.openxmlformats-officedocument.presentationml.slide+xml"/>
  <Override PartName="/ppt/tags/tag55.xml" ContentType="application/vnd.openxmlformats-officedocument.presentationml.tags+xml"/>
  <Override PartName="/ppt/tags/tag159.xml" ContentType="application/vnd.openxmlformats-officedocument.presentationml.tags+xml"/>
  <Override PartName="/ppt/tags/tag211.xml" ContentType="application/vnd.openxmlformats-officedocument.presentationml.tags+xml"/>
  <Override PartName="/ppt/tags/tag309.xml" ContentType="application/vnd.openxmlformats-officedocument.presentationml.tags+xml"/>
  <Override PartName="/ppt/tags/tag345.xml" ContentType="application/vnd.openxmlformats-officedocument.presentationml.tags+xml"/>
  <Override PartName="/ppt/tags/tag356.xml" ContentType="application/vnd.openxmlformats-officedocument.presentationml.tags+xml"/>
  <Override PartName="/ppt/tags/tag392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tags/tag137.xml" ContentType="application/vnd.openxmlformats-officedocument.presentationml.tags+xml"/>
  <Override PartName="/ppt/tags/tag148.xml" ContentType="application/vnd.openxmlformats-officedocument.presentationml.tags+xml"/>
  <Override PartName="/ppt/tags/tag184.xml" ContentType="application/vnd.openxmlformats-officedocument.presentationml.tags+xml"/>
  <Override PartName="/ppt/tags/tag195.xml" ContentType="application/vnd.openxmlformats-officedocument.presentationml.tags+xml"/>
  <Override PartName="/ppt/tags/tag200.xml" ContentType="application/vnd.openxmlformats-officedocument.presentationml.tags+xml"/>
  <Override PartName="/ppt/tags/tag334.xml" ContentType="application/vnd.openxmlformats-officedocument.presentationml.tags+xml"/>
  <Override PartName="/ppt/tags/tag381.xml" ContentType="application/vnd.openxmlformats-officedocument.presentationml.tags+xml"/>
  <Override PartName="/ppt/tags/tag479.xml" ContentType="application/vnd.openxmlformats-officedocument.presentationml.tags+xml"/>
  <Override PartName="/ppt/tags/tag22.xml" ContentType="application/vnd.openxmlformats-officedocument.presentationml.tags+xml"/>
  <Override PartName="/ppt/tags/tag126.xml" ContentType="application/vnd.openxmlformats-officedocument.presentationml.tags+xml"/>
  <Override PartName="/ppt/tags/tag173.xml" ContentType="application/vnd.openxmlformats-officedocument.presentationml.tags+xml"/>
  <Override PartName="/ppt/tags/tag323.xml" ContentType="application/vnd.openxmlformats-officedocument.presentationml.tags+xml"/>
  <Override PartName="/ppt/tags/tag370.xml" ContentType="application/vnd.openxmlformats-officedocument.presentationml.tags+xml"/>
  <Override PartName="/ppt/tags/tag457.xml" ContentType="application/vnd.openxmlformats-officedocument.presentationml.tags+xml"/>
  <Override PartName="/ppt/tags/tag468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115.xml" ContentType="application/vnd.openxmlformats-officedocument.presentationml.tags+xml"/>
  <Override PartName="/ppt/tags/tag162.xml" ContentType="application/vnd.openxmlformats-officedocument.presentationml.tags+xml"/>
  <Override PartName="/ppt/tags/tag249.xml" ContentType="application/vnd.openxmlformats-officedocument.presentationml.tags+xml"/>
  <Override PartName="/ppt/tags/tag296.xml" ContentType="application/vnd.openxmlformats-officedocument.presentationml.tags+xml"/>
  <Override PartName="/ppt/tags/tag301.xml" ContentType="application/vnd.openxmlformats-officedocument.presentationml.tags+xml"/>
  <Override PartName="/ppt/tags/tag312.xml" ContentType="application/vnd.openxmlformats-officedocument.presentationml.tags+xml"/>
  <Override PartName="/ppt/tags/tag446.xml" ContentType="application/vnd.openxmlformats-officedocument.presentationml.tags+xml"/>
  <Override PartName="/ppt/tags/tag493.xml" ContentType="application/vnd.openxmlformats-officedocument.presentationml.tags+xml"/>
  <Override PartName="/ppt/tags/tag104.xml" ContentType="application/vnd.openxmlformats-officedocument.presentationml.tags+xml"/>
  <Override PartName="/ppt/tags/tag151.xml" ContentType="application/vnd.openxmlformats-officedocument.presentationml.tags+xml"/>
  <Override PartName="/ppt/tags/tag435.xml" ContentType="application/vnd.openxmlformats-officedocument.presentationml.tags+xml"/>
  <Override PartName="/ppt/tags/tag482.xml" ContentType="application/vnd.openxmlformats-officedocument.presentationml.tags+xml"/>
  <Override PartName="/ppt/tags/tag227.xml" ContentType="application/vnd.openxmlformats-officedocument.presentationml.tags+xml"/>
  <Override PartName="/ppt/tags/tag274.xml" ContentType="application/vnd.openxmlformats-officedocument.presentationml.tags+xml"/>
  <Override PartName="/ppt/tags/tag413.xml" ContentType="application/vnd.openxmlformats-officedocument.presentationml.tags+xml"/>
  <Override PartName="/ppt/tags/tag460.xml" ContentType="application/vnd.openxmlformats-officedocument.presentationml.tags+xml"/>
  <Override PartName="/ppt/tags/tag49.xml" ContentType="application/vnd.openxmlformats-officedocument.presentationml.tags+xml"/>
  <Override PartName="/ppt/tags/tag96.xml" ContentType="application/vnd.openxmlformats-officedocument.presentationml.tags+xml"/>
  <Override PartName="/ppt/tags/tag205.xml" ContentType="application/vnd.openxmlformats-officedocument.presentationml.tags+xml"/>
  <Override PartName="/ppt/tags/tag252.xml" ContentType="application/vnd.openxmlformats-officedocument.presentationml.tags+xml"/>
  <Override PartName="/ppt/tags/tag397.xml" ContentType="application/vnd.openxmlformats-officedocument.presentationml.tags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189.xml" ContentType="application/vnd.openxmlformats-officedocument.presentationml.tags+xml"/>
  <Override PartName="/ppt/tableStyles.xml" ContentType="application/vnd.openxmlformats-officedocument.presentationml.tableStyles+xml"/>
  <Override PartName="/ppt/tags/tag27.xml" ContentType="application/vnd.openxmlformats-officedocument.presentationml.tags+xml"/>
  <Override PartName="/ppt/tags/tag74.xml" ContentType="application/vnd.openxmlformats-officedocument.presentationml.tags+xml"/>
  <Override PartName="/ppt/tags/tag230.xml" ContentType="application/vnd.openxmlformats-officedocument.presentationml.tags+xml"/>
  <Override PartName="/ppt/tags/tag328.xml" ContentType="application/vnd.openxmlformats-officedocument.presentationml.tags+xml"/>
  <Override PartName="/ppt/tags/tag375.xml" ContentType="application/vnd.openxmlformats-officedocument.presentationml.tags+xml"/>
  <Override PartName="/ppt/tags/tag52.xml" ContentType="application/vnd.openxmlformats-officedocument.presentationml.tags+xml"/>
  <Override PartName="/ppt/tags/tag167.xml" ContentType="application/vnd.openxmlformats-officedocument.presentationml.tags+xml"/>
  <Override PartName="/ppt/tags/tag306.xml" ContentType="application/vnd.openxmlformats-officedocument.presentationml.tags+xml"/>
  <Override PartName="/ppt/tags/tag353.xml" ContentType="application/vnd.openxmlformats-officedocument.presentationml.tags+xml"/>
  <Override PartName="/ppt/tags/tag498.xml" ContentType="application/vnd.openxmlformats-officedocument.presentationml.tags+xml"/>
  <Override PartName="/ppt/tags/tag145.xml" ContentType="application/vnd.openxmlformats-officedocument.presentationml.tags+xml"/>
  <Override PartName="/ppt/tags/tag192.xml" ContentType="application/vnd.openxmlformats-officedocument.presentationml.tags+xml"/>
  <Override PartName="/ppt/tags/tag429.xml" ContentType="application/vnd.openxmlformats-officedocument.presentationml.tags+xml"/>
  <Override PartName="/ppt/tags/tag476.xml" ContentType="application/vnd.openxmlformats-officedocument.presentationml.tags+xml"/>
  <Override PartName="/ppt/tags/tag30.xml" ContentType="application/vnd.openxmlformats-officedocument.presentationml.tags+xml"/>
  <Override PartName="/ppt/tags/tag268.xml" ContentType="application/vnd.openxmlformats-officedocument.presentationml.tags+xml"/>
  <Override PartName="/ppt/tags/tag331.xml" ContentType="application/vnd.openxmlformats-officedocument.presentationml.tag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tags/tag123.xml" ContentType="application/vnd.openxmlformats-officedocument.presentationml.tags+xml"/>
  <Override PartName="/ppt/tags/tag170.xml" ContentType="application/vnd.openxmlformats-officedocument.presentationml.tags+xml"/>
  <Override PartName="/ppt/tags/tag407.xml" ContentType="application/vnd.openxmlformats-officedocument.presentationml.tags+xml"/>
  <Override PartName="/ppt/tags/tag454.xml" ContentType="application/vnd.openxmlformats-officedocument.presentationml.tags+xml"/>
  <Override PartName="/ppt/tags/tag101.xml" ContentType="application/vnd.openxmlformats-officedocument.presentationml.tags+xml"/>
  <Override PartName="/ppt/tags/tag246.xml" ContentType="application/vnd.openxmlformats-officedocument.presentationml.tags+xml"/>
  <Override PartName="/ppt/tags/tag293.xml" ContentType="application/vnd.openxmlformats-officedocument.presentationml.tags+xml"/>
  <Override PartName="/ppt/tags/tag432.xml" ContentType="application/vnd.openxmlformats-officedocument.presentationml.tags+xml"/>
  <Override PartName="/ppt/tags/tag68.xml" ContentType="application/vnd.openxmlformats-officedocument.presentationml.tags+xml"/>
  <Override PartName="/ppt/tags/tag224.xml" ContentType="application/vnd.openxmlformats-officedocument.presentationml.tags+xml"/>
  <Override PartName="/ppt/tags/tag271.xml" ContentType="application/vnd.openxmlformats-officedocument.presentationml.tags+xml"/>
  <Override PartName="/ppt/tags/tag369.xml" ContentType="application/vnd.openxmlformats-officedocument.presentationml.tags+xml"/>
  <Override PartName="/ppt/presentation.xml" ContentType="application/vnd.openxmlformats-officedocument.presentationml.presentation.main+xml"/>
  <Override PartName="/ppt/tags/tag347.xml" ContentType="application/vnd.openxmlformats-officedocument.presentationml.tags+xml"/>
  <Override PartName="/ppt/tags/tag394.xml" ContentType="application/vnd.openxmlformats-officedocument.presentationml.tags+xml"/>
  <Override PartName="/ppt/tags/tag410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46.xml" ContentType="application/vnd.openxmlformats-officedocument.presentationml.tags+xml"/>
  <Override PartName="/ppt/tags/tag93.xml" ContentType="application/vnd.openxmlformats-officedocument.presentationml.tags+xml"/>
  <Override PartName="/ppt/tags/tag139.xml" ContentType="application/vnd.openxmlformats-officedocument.presentationml.tags+xml"/>
  <Override PartName="/ppt/tags/tag186.xml" ContentType="application/vnd.openxmlformats-officedocument.presentationml.tags+xml"/>
  <Override PartName="/ppt/tags/tag202.xml" ContentType="application/vnd.openxmlformats-officedocument.presentationml.tags+xml"/>
  <Override PartName="/ppt/slideLayouts/slideLayout10.xml" ContentType="application/vnd.openxmlformats-officedocument.presentationml.slideLayout+xml"/>
  <Override PartName="/ppt/tags/tag24.xml" ContentType="application/vnd.openxmlformats-officedocument.presentationml.tags+xml"/>
  <Override PartName="/ppt/tags/tag71.xml" ContentType="application/vnd.openxmlformats-officedocument.presentationml.tags+xml"/>
  <Override PartName="/ppt/tags/tag325.xml" ContentType="application/vnd.openxmlformats-officedocument.presentationml.tags+xml"/>
  <Override PartName="/ppt/tags/tag372.xml" ContentType="application/vnd.openxmlformats-officedocument.presentationml.tags+xml"/>
  <Override PartName="/ppt/tags/tag117.xml" ContentType="application/vnd.openxmlformats-officedocument.presentationml.tags+xml"/>
  <Override PartName="/ppt/tags/tag164.xml" ContentType="application/vnd.openxmlformats-officedocument.presentationml.tags+xml"/>
  <Override PartName="/ppt/tags/tag448.xml" ContentType="application/vnd.openxmlformats-officedocument.presentationml.tags+xml"/>
  <Override PartName="/ppt/tags/tag495.xml" ContentType="application/vnd.openxmlformats-officedocument.presentationml.tags+xml"/>
  <Override PartName="/ppt/tags/tag142.xml" ContentType="application/vnd.openxmlformats-officedocument.presentationml.tags+xml"/>
  <Override PartName="/ppt/tags/tag287.xml" ContentType="application/vnd.openxmlformats-officedocument.presentationml.tags+xml"/>
  <Override PartName="/ppt/tags/tag303.xml" ContentType="application/vnd.openxmlformats-officedocument.presentationml.tags+xml"/>
  <Override PartName="/ppt/tags/tag350.xml" ContentType="application/vnd.openxmlformats-officedocument.presentationml.tags+xml"/>
  <Override PartName="/ppt/tags/tag426.xml" ContentType="application/vnd.openxmlformats-officedocument.presentationml.tags+xml"/>
  <Override PartName="/ppt/tags/tag473.xml" ContentType="application/vnd.openxmlformats-officedocument.presentationml.tags+xml"/>
  <Override PartName="/ppt/slideLayouts/slideLayout4.xml" ContentType="application/vnd.openxmlformats-officedocument.presentationml.slideLayout+xml"/>
  <Override PartName="/ppt/tags/tag120.xml" ContentType="application/vnd.openxmlformats-officedocument.presentationml.tags+xml"/>
  <Override PartName="/ppt/tags/tag218.xml" ContentType="application/vnd.openxmlformats-officedocument.presentationml.tags+xml"/>
  <Override PartName="/ppt/tags/tag265.xml" ContentType="application/vnd.openxmlformats-officedocument.presentationml.tags+xml"/>
  <Override PartName="/ppt/tags/tag404.xml" ContentType="application/vnd.openxmlformats-officedocument.presentationml.tags+xml"/>
  <Override PartName="/ppt/tags/tag451.xml" ContentType="application/vnd.openxmlformats-officedocument.presentationml.tags+xml"/>
  <Override PartName="/ppt/slides/slide2.xml" ContentType="application/vnd.openxmlformats-officedocument.presentationml.slide+xml"/>
  <Override PartName="/ppt/slideLayouts/slideLayout26.xml" ContentType="application/vnd.openxmlformats-officedocument.presentationml.slideLayout+xml"/>
  <Override PartName="/ppt/tags/tag87.xml" ContentType="application/vnd.openxmlformats-officedocument.presentationml.tags+xml"/>
  <Override PartName="/ppt/tags/tag243.xml" ContentType="application/vnd.openxmlformats-officedocument.presentationml.tags+xml"/>
  <Override PartName="/ppt/tags/tag290.xml" ContentType="application/vnd.openxmlformats-officedocument.presentationml.tags+xml"/>
  <Override PartName="/ppt/tags/tag388.xml" ContentType="application/vnd.openxmlformats-officedocument.presentationml.tags+xml"/>
  <Default Extension="wmf" ContentType="image/x-wmf"/>
  <Override PartName="/ppt/tags/tag319.xml" ContentType="application/vnd.openxmlformats-officedocument.presentationml.tags+xml"/>
  <Override PartName="/ppt/tags/tag366.xml" ContentType="application/vnd.openxmlformats-officedocument.presentationml.tags+xml"/>
  <Override PartName="/ppt/tags/tag18.xml" ContentType="application/vnd.openxmlformats-officedocument.presentationml.tags+xml"/>
  <Override PartName="/ppt/tags/tag65.xml" ContentType="application/vnd.openxmlformats-officedocument.presentationml.tags+xml"/>
  <Override PartName="/ppt/tags/tag158.xml" ContentType="application/vnd.openxmlformats-officedocument.presentationml.tags+xml"/>
  <Override PartName="/ppt/tags/tag221.xml" ContentType="application/vnd.openxmlformats-officedocument.presentationml.tags+xml"/>
  <Override PartName="/ppt/tags/tag43.xml" ContentType="application/vnd.openxmlformats-officedocument.presentationml.tags+xml"/>
  <Override PartName="/ppt/tags/tag90.xml" ContentType="application/vnd.openxmlformats-officedocument.presentationml.tags+xml"/>
  <Override PartName="/ppt/tags/tag344.xml" ContentType="application/vnd.openxmlformats-officedocument.presentationml.tags+xml"/>
  <Override PartName="/ppt/tags/tag391.xml" ContentType="application/vnd.openxmlformats-officedocument.presentationml.tags+xml"/>
  <Override PartName="/ppt/tags/tag489.xml" ContentType="application/vnd.openxmlformats-officedocument.presentationml.tags+xml"/>
  <Override PartName="/ppt/tags/tag136.xml" ContentType="application/vnd.openxmlformats-officedocument.presentationml.tags+xml"/>
  <Override PartName="/ppt/tags/tag183.xml" ContentType="application/vnd.openxmlformats-officedocument.presentationml.tags+xml"/>
  <Override PartName="/ppt/tags/tag322.xml" ContentType="application/vnd.openxmlformats-officedocument.presentationml.tags+xml"/>
  <Override PartName="/ppt/tags/tag467.xml" ContentType="application/vnd.openxmlformats-officedocument.presentationml.tags+xml"/>
  <Override PartName="/ppt/tags/tag21.xml" ContentType="application/vnd.openxmlformats-officedocument.presentationml.tags+xml"/>
  <Override PartName="/ppt/tags/tag114.xml" ContentType="application/vnd.openxmlformats-officedocument.presentationml.tags+xml"/>
  <Override PartName="/ppt/tags/tag161.xml" ContentType="application/vnd.openxmlformats-officedocument.presentationml.tags+xml"/>
  <Override PartName="/ppt/tags/tag259.xml" ContentType="application/vnd.openxmlformats-officedocument.presentationml.tags+xml"/>
  <Override PartName="/ppt/tags/tag7.xml" ContentType="application/vnd.openxmlformats-officedocument.presentationml.tags+xml"/>
  <Override PartName="/ppt/tags/tag300.xml" ContentType="application/vnd.openxmlformats-officedocument.presentationml.tags+xml"/>
  <Override PartName="/ppt/tags/tag445.xml" ContentType="application/vnd.openxmlformats-officedocument.presentationml.tags+xml"/>
  <Override PartName="/ppt/tags/tag492.xml" ContentType="application/vnd.openxmlformats-officedocument.presentationml.tags+xml"/>
  <Override PartName="/ppt/tags/tag237.xml" ContentType="application/vnd.openxmlformats-officedocument.presentationml.tags+xml"/>
  <Override PartName="/ppt/tags/tag284.xml" ContentType="application/vnd.openxmlformats-officedocument.presentationml.tags+xml"/>
  <Override PartName="/ppt/tags/tag423.xml" ContentType="application/vnd.openxmlformats-officedocument.presentationml.tags+xml"/>
  <Override PartName="/ppt/tags/tag470.xml" ContentType="application/vnd.openxmlformats-officedocument.presentationml.tags+xml"/>
  <Override PartName="/ppt/tags/tag59.xml" ContentType="application/vnd.openxmlformats-officedocument.presentationml.tags+xml"/>
  <Override PartName="/ppt/tags/tag215.xml" ContentType="application/vnd.openxmlformats-officedocument.presentationml.tags+xml"/>
  <Override PartName="/ppt/tags/tag262.xml" ContentType="application/vnd.openxmlformats-officedocument.presentationml.tags+xml"/>
  <Override PartName="/ppt/slideLayouts/slideLayout1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37.xml" ContentType="application/vnd.openxmlformats-officedocument.presentationml.tags+xml"/>
  <Override PartName="/ppt/tags/tag84.xml" ContentType="application/vnd.openxmlformats-officedocument.presentationml.tags+xml"/>
  <Override PartName="/ppt/tags/tag199.xml" ContentType="application/vnd.openxmlformats-officedocument.presentationml.tags+xml"/>
  <Override PartName="/ppt/tags/tag338.xml" ContentType="application/vnd.openxmlformats-officedocument.presentationml.tags+xml"/>
  <Override PartName="/ppt/tags/tag385.xml" ContentType="application/vnd.openxmlformats-officedocument.presentationml.tags+xml"/>
  <Override PartName="/ppt/tags/tag401.xml" ContentType="application/vnd.openxmlformats-officedocument.presentationml.tags+xml"/>
  <Override PartName="/ppt/tags/tag177.xml" ContentType="application/vnd.openxmlformats-officedocument.presentationml.tags+xml"/>
  <Override PartName="/ppt/tags/tag240.xml" ContentType="application/vnd.openxmlformats-officedocument.presentationml.tags+xml"/>
  <Override PartName="/ppt/tags/tag15.xml" ContentType="application/vnd.openxmlformats-officedocument.presentationml.tags+xml"/>
  <Override PartName="/ppt/tags/tag62.xml" ContentType="application/vnd.openxmlformats-officedocument.presentationml.tags+xml"/>
  <Override PartName="/ppt/tags/tag316.xml" ContentType="application/vnd.openxmlformats-officedocument.presentationml.tags+xml"/>
  <Override PartName="/ppt/tags/tag363.xml" ContentType="application/vnd.openxmlformats-officedocument.presentationml.tags+xml"/>
  <Override PartName="/ppt/tags/tag502.xml" ContentType="application/vnd.openxmlformats-officedocument.presentationml.tags+xml"/>
  <Override PartName="/ppt/tags/tag40.xml" ContentType="application/vnd.openxmlformats-officedocument.presentationml.tags+xml"/>
  <Override PartName="/ppt/tags/tag108.xml" ContentType="application/vnd.openxmlformats-officedocument.presentationml.tags+xml"/>
  <Override PartName="/ppt/tags/tag155.xml" ContentType="application/vnd.openxmlformats-officedocument.presentationml.tags+xml"/>
  <Override PartName="/ppt/tags/tag341.xml" ContentType="application/vnd.openxmlformats-officedocument.presentationml.tags+xml"/>
  <Override PartName="/ppt/tags/tag439.xml" ContentType="application/vnd.openxmlformats-officedocument.presentationml.tags+xml"/>
  <Override PartName="/ppt/tags/tag486.xml" ContentType="application/vnd.openxmlformats-officedocument.presentationml.tags+xml"/>
  <Override PartName="/ppt/tags/tag133.xml" ContentType="application/vnd.openxmlformats-officedocument.presentationml.tags+xml"/>
  <Override PartName="/ppt/tags/tag180.xml" ContentType="application/vnd.openxmlformats-officedocument.presentationml.tags+xml"/>
  <Override PartName="/ppt/tags/tag278.xml" ContentType="application/vnd.openxmlformats-officedocument.presentationml.tags+xml"/>
  <Override PartName="/ppt/tags/tag417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wmf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9" r:id="rId1"/>
    <p:sldMasterId id="2147483741" r:id="rId2"/>
  </p:sldMasterIdLst>
  <p:notesMasterIdLst>
    <p:notesMasterId r:id="rId23"/>
  </p:notesMasterIdLst>
  <p:sldIdLst>
    <p:sldId id="340" r:id="rId3"/>
    <p:sldId id="367" r:id="rId4"/>
    <p:sldId id="369" r:id="rId5"/>
    <p:sldId id="374" r:id="rId6"/>
    <p:sldId id="373" r:id="rId7"/>
    <p:sldId id="441" r:id="rId8"/>
    <p:sldId id="424" r:id="rId9"/>
    <p:sldId id="427" r:id="rId10"/>
    <p:sldId id="423" r:id="rId11"/>
    <p:sldId id="394" r:id="rId12"/>
    <p:sldId id="395" r:id="rId13"/>
    <p:sldId id="425" r:id="rId14"/>
    <p:sldId id="397" r:id="rId15"/>
    <p:sldId id="400" r:id="rId16"/>
    <p:sldId id="401" r:id="rId17"/>
    <p:sldId id="381" r:id="rId18"/>
    <p:sldId id="382" r:id="rId19"/>
    <p:sldId id="386" r:id="rId20"/>
    <p:sldId id="440" r:id="rId21"/>
    <p:sldId id="442" r:id="rId22"/>
  </p:sldIdLst>
  <p:sldSz cx="9144000" cy="6858000" type="screen4x3"/>
  <p:notesSz cx="7010400" cy="9296400"/>
  <p:custDataLst>
    <p:tags r:id="rId24"/>
  </p:custDataLst>
  <p:defaultTextStyle>
    <a:defPPr>
      <a:defRPr lang="ru-RU"/>
    </a:defPPr>
    <a:lvl1pPr algn="l" rtl="0" fontAlgn="base">
      <a:spcBef>
        <a:spcPct val="0"/>
      </a:spcBef>
      <a:spcAft>
        <a:spcPct val="0"/>
      </a:spcAft>
      <a:defRPr sz="11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11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11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11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11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1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11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11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11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</p:showPr>
  <p:clrMru>
    <a:srgbClr val="FFCCFF"/>
    <a:srgbClr val="FF66FF"/>
    <a:srgbClr val="990000"/>
    <a:srgbClr val="FF99CC"/>
    <a:srgbClr val="FF99FF"/>
    <a:srgbClr val="FF66CC"/>
    <a:srgbClr val="CC0000"/>
    <a:srgbClr val="CC6600"/>
  </p:clrMru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 horzBarState="maximized">
    <p:restoredLeft sz="7072" autoAdjust="0"/>
    <p:restoredTop sz="94660"/>
  </p:normalViewPr>
  <p:slideViewPr>
    <p:cSldViewPr snapToGrid="0">
      <p:cViewPr>
        <p:scale>
          <a:sx n="100" d="100"/>
          <a:sy n="100" d="100"/>
        </p:scale>
        <p:origin x="-787" y="-254"/>
      </p:cViewPr>
      <p:guideLst>
        <p:guide orient="horz" pos="1973"/>
        <p:guide orient="horz" pos="110"/>
        <p:guide orient="horz" pos="1662"/>
        <p:guide orient="horz" pos="3752"/>
        <p:guide pos="5664"/>
        <p:guide pos="4398"/>
        <p:guide pos="144"/>
        <p:guide pos="3287"/>
        <p:guide pos="531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viewProps" Target="view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ags" Target="tags/tag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theme" Target="theme/theme1.xml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5.v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image" Target="../media/image13.emf"/></Relationships>
</file>

<file path=ppt/drawings/_rels/vmlDrawing16.v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image" Target="../media/image13.emf"/></Relationships>
</file>

<file path=ppt/drawings/_rels/vmlDrawing17.vml.rels><?xml version="1.0" encoding="UTF-8" standalone="yes"?>
<Relationships xmlns="http://schemas.openxmlformats.org/package/2006/relationships"><Relationship Id="rId2" Type="http://schemas.openxmlformats.org/officeDocument/2006/relationships/image" Target="../media/image22.emf"/><Relationship Id="rId1" Type="http://schemas.openxmlformats.org/officeDocument/2006/relationships/image" Target="../media/image2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emf"/><Relationship Id="rId1" Type="http://schemas.openxmlformats.org/officeDocument/2006/relationships/image" Target="../media/image8.emf"/><Relationship Id="rId5" Type="http://schemas.openxmlformats.org/officeDocument/2006/relationships/image" Target="../media/image12.emf"/><Relationship Id="rId4" Type="http://schemas.openxmlformats.org/officeDocument/2006/relationships/image" Target="../media/image11.emf"/></Relationships>
</file>

<file path=ppt/drawings/_rels/vmlDrawing4.v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image" Target="../media/image13.emf"/></Relationships>
</file>

<file path=ppt/drawings/_rels/vmlDrawing5.v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image" Target="../media/image1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38475" cy="46513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0654" tIns="45327" rIns="90654" bIns="45327" numCol="1" anchor="t" anchorCtr="0" compatLnSpc="1">
            <a:prstTxWarp prst="textNoShape">
              <a:avLst/>
            </a:prstTxWarp>
          </a:bodyPr>
          <a:lstStyle>
            <a:lvl1pPr defTabSz="906463">
              <a:defRPr sz="120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970338" y="0"/>
            <a:ext cx="3038475" cy="46513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0654" tIns="45327" rIns="90654" bIns="45327" numCol="1" anchor="t" anchorCtr="0" compatLnSpc="1">
            <a:prstTxWarp prst="textNoShape">
              <a:avLst/>
            </a:prstTxWarp>
          </a:bodyPr>
          <a:lstStyle>
            <a:lvl1pPr algn="r" defTabSz="906463">
              <a:defRPr sz="120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174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81100" y="698500"/>
            <a:ext cx="4648200" cy="34861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00088" y="4416425"/>
            <a:ext cx="5610225" cy="41814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0654" tIns="45327" rIns="90654" bIns="4532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829675"/>
            <a:ext cx="3038475" cy="46513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0654" tIns="45327" rIns="90654" bIns="45327" numCol="1" anchor="b" anchorCtr="0" compatLnSpc="1">
            <a:prstTxWarp prst="textNoShape">
              <a:avLst/>
            </a:prstTxWarp>
          </a:bodyPr>
          <a:lstStyle>
            <a:lvl1pPr defTabSz="906463">
              <a:defRPr sz="120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970338" y="8829675"/>
            <a:ext cx="3038475" cy="46513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0654" tIns="45327" rIns="90654" bIns="45327" numCol="1" anchor="b" anchorCtr="0" compatLnSpc="1">
            <a:prstTxWarp prst="textNoShape">
              <a:avLst/>
            </a:prstTxWarp>
          </a:bodyPr>
          <a:lstStyle>
            <a:lvl1pPr algn="r" defTabSz="906463">
              <a:defRPr sz="1200"/>
            </a:lvl1pPr>
          </a:lstStyle>
          <a:p>
            <a:pPr>
              <a:defRPr/>
            </a:pPr>
            <a:fld id="{60C37979-6101-42E1-AAFD-7D21AC92900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473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pPr defTabSz="909638"/>
            <a:fld id="{9F204E8C-6B18-4147-BEC4-72F7ADE9705D}" type="slidenum">
              <a:rPr lang="ru-RU" smtClean="0"/>
              <a:pPr defTabSz="909638"/>
              <a:t>4</a:t>
            </a:fld>
            <a:endParaRPr lang="ru-RU" smtClean="0"/>
          </a:p>
        </p:txBody>
      </p:sp>
      <p:sp>
        <p:nvSpPr>
          <p:cNvPr id="10547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547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36625" y="4416425"/>
            <a:ext cx="5137150" cy="4183063"/>
          </a:xfrm>
          <a:noFill/>
        </p:spPr>
        <p:txBody>
          <a:bodyPr/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2286000"/>
            <a:ext cx="7772400" cy="1143000"/>
          </a:xfrm>
        </p:spPr>
        <p:txBody>
          <a:bodyPr/>
          <a:lstStyle>
            <a:lvl1pPr algn="r">
              <a:defRPr/>
            </a:lvl1pPr>
          </a:lstStyle>
          <a:p>
            <a:pPr lvl="0"/>
            <a:r>
              <a:rPr lang="ru-RU" noProof="0" smtClean="0"/>
              <a:t>Образец заголовка</a:t>
            </a:r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600200" y="3886200"/>
            <a:ext cx="6400800" cy="1752600"/>
          </a:xfrm>
          <a:extLst/>
        </p:spPr>
        <p:txBody>
          <a:bodyPr anchor="b"/>
          <a:lstStyle>
            <a:lvl1pPr marL="0" indent="0" algn="ctr">
              <a:buFont typeface="Arial" charset="0"/>
              <a:buNone/>
              <a:defRPr/>
            </a:lvl1pPr>
          </a:lstStyle>
          <a:p>
            <a:pPr lvl="0"/>
            <a:r>
              <a:rPr lang="ru-RU" noProof="0" smtClean="0"/>
              <a:t>Образец подзаголовка</a:t>
            </a:r>
          </a:p>
        </p:txBody>
      </p:sp>
    </p:spTree>
  </p:cSld>
  <p:clrMapOvr>
    <a:masterClrMapping/>
  </p:clrMapOvr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FA9DD06-9975-4414-B01D-CCCF83E2514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15100" y="209550"/>
            <a:ext cx="1943100" cy="588645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85800" y="209550"/>
            <a:ext cx="5676900" cy="588645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54F59A6-3EAF-4DCE-9902-D69BEFFE33C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5800" y="209550"/>
            <a:ext cx="7772400" cy="6096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685800" y="1219200"/>
            <a:ext cx="7772400" cy="4876800"/>
          </a:xfrm>
        </p:spPr>
        <p:txBody>
          <a:bodyPr/>
          <a:lstStyle/>
          <a:p>
            <a:pPr lvl="0"/>
            <a:endParaRPr lang="ru-RU" noProof="0" smtClean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3E78BFF-C715-482B-8930-B42509E6FEF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4CCC713-C6AC-41EE-B70A-6964ED9F3ED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 spd="med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4E096FA-2BDA-4E61-8C4F-E75BDDF319A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 spd="med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685800" y="209550"/>
            <a:ext cx="7772400" cy="6096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685800" y="1200150"/>
            <a:ext cx="3810000" cy="2362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200150"/>
            <a:ext cx="3810000" cy="2362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685800" y="3714750"/>
            <a:ext cx="3810000" cy="2362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8200" y="3714750"/>
            <a:ext cx="3810000" cy="2362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F5F09D6-513B-454F-9C3A-0CA28E89030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 spd="med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chart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09550"/>
            <a:ext cx="7772400" cy="6096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685800" y="1200150"/>
            <a:ext cx="7772400" cy="4876800"/>
          </a:xfrm>
        </p:spPr>
        <p:txBody>
          <a:bodyPr/>
          <a:lstStyle/>
          <a:p>
            <a:pPr lvl="0"/>
            <a:endParaRPr lang="en-US" noProof="0" smtClean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87CB463-73C3-4CD2-BC58-90BB2AE01EC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 spd="med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1"/>
          <p:cNvGrpSpPr>
            <a:grpSpLocks/>
          </p:cNvGrpSpPr>
          <p:nvPr userDrawn="1"/>
        </p:nvGrpSpPr>
        <p:grpSpPr bwMode="auto">
          <a:xfrm>
            <a:off x="358775" y="288925"/>
            <a:ext cx="2498725" cy="609600"/>
            <a:chOff x="1214" y="1741"/>
            <a:chExt cx="2340" cy="571"/>
          </a:xfrm>
        </p:grpSpPr>
        <p:sp>
          <p:nvSpPr>
            <p:cNvPr id="5" name="Rectangle 2"/>
            <p:cNvSpPr>
              <a:spLocks noChangeArrowheads="1"/>
            </p:cNvSpPr>
            <p:nvPr/>
          </p:nvSpPr>
          <p:spPr bwMode="auto">
            <a:xfrm>
              <a:off x="1214" y="1814"/>
              <a:ext cx="80" cy="82"/>
            </a:xfrm>
            <a:prstGeom prst="rect">
              <a:avLst/>
            </a:prstGeom>
            <a:solidFill>
              <a:srgbClr val="17357C"/>
            </a:solidFill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ru-RU" sz="240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6" name="Rectangle 3"/>
            <p:cNvSpPr>
              <a:spLocks noChangeArrowheads="1"/>
            </p:cNvSpPr>
            <p:nvPr/>
          </p:nvSpPr>
          <p:spPr bwMode="auto">
            <a:xfrm>
              <a:off x="1424" y="1821"/>
              <a:ext cx="86" cy="88"/>
            </a:xfrm>
            <a:prstGeom prst="rect">
              <a:avLst/>
            </a:prstGeom>
            <a:solidFill>
              <a:srgbClr val="17357C"/>
            </a:solidFill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ru-RU" sz="240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7" name="Rectangle 4"/>
            <p:cNvSpPr>
              <a:spLocks noChangeArrowheads="1"/>
            </p:cNvSpPr>
            <p:nvPr/>
          </p:nvSpPr>
          <p:spPr bwMode="auto">
            <a:xfrm>
              <a:off x="1535" y="1814"/>
              <a:ext cx="104" cy="107"/>
            </a:xfrm>
            <a:prstGeom prst="rect">
              <a:avLst/>
            </a:prstGeom>
            <a:solidFill>
              <a:srgbClr val="17357C"/>
            </a:solidFill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ru-RU" sz="240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8" name="Rectangle 5"/>
            <p:cNvSpPr>
              <a:spLocks noChangeArrowheads="1"/>
            </p:cNvSpPr>
            <p:nvPr/>
          </p:nvSpPr>
          <p:spPr bwMode="auto">
            <a:xfrm>
              <a:off x="1321" y="1861"/>
              <a:ext cx="59" cy="61"/>
            </a:xfrm>
            <a:prstGeom prst="rect">
              <a:avLst/>
            </a:prstGeom>
            <a:solidFill>
              <a:srgbClr val="007CC3"/>
            </a:solidFill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ru-RU" sz="240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9" name="Rectangle 6"/>
            <p:cNvSpPr>
              <a:spLocks noChangeArrowheads="1"/>
            </p:cNvSpPr>
            <p:nvPr/>
          </p:nvSpPr>
          <p:spPr bwMode="auto">
            <a:xfrm>
              <a:off x="1250" y="1986"/>
              <a:ext cx="61" cy="61"/>
            </a:xfrm>
            <a:prstGeom prst="rect">
              <a:avLst/>
            </a:prstGeom>
            <a:solidFill>
              <a:srgbClr val="007CC3"/>
            </a:solidFill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ru-RU" sz="240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10" name="Rectangle 7"/>
            <p:cNvSpPr>
              <a:spLocks noChangeArrowheads="1"/>
            </p:cNvSpPr>
            <p:nvPr/>
          </p:nvSpPr>
          <p:spPr bwMode="auto">
            <a:xfrm>
              <a:off x="1343" y="1946"/>
              <a:ext cx="147" cy="147"/>
            </a:xfrm>
            <a:prstGeom prst="rect">
              <a:avLst/>
            </a:prstGeom>
            <a:solidFill>
              <a:srgbClr val="17357C"/>
            </a:solidFill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ru-RU" sz="240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11" name="Rectangle 8"/>
            <p:cNvSpPr>
              <a:spLocks noChangeArrowheads="1"/>
            </p:cNvSpPr>
            <p:nvPr/>
          </p:nvSpPr>
          <p:spPr bwMode="auto">
            <a:xfrm>
              <a:off x="1525" y="1977"/>
              <a:ext cx="85" cy="86"/>
            </a:xfrm>
            <a:prstGeom prst="rect">
              <a:avLst/>
            </a:prstGeom>
            <a:solidFill>
              <a:srgbClr val="007CC3"/>
            </a:solidFill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ru-RU" sz="240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12" name="Rectangle 9"/>
            <p:cNvSpPr>
              <a:spLocks noChangeArrowheads="1"/>
            </p:cNvSpPr>
            <p:nvPr/>
          </p:nvSpPr>
          <p:spPr bwMode="auto">
            <a:xfrm>
              <a:off x="1502" y="2096"/>
              <a:ext cx="150" cy="149"/>
            </a:xfrm>
            <a:prstGeom prst="rect">
              <a:avLst/>
            </a:prstGeom>
            <a:solidFill>
              <a:srgbClr val="17357C"/>
            </a:solidFill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ru-RU" sz="240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13" name="Rectangle 10"/>
            <p:cNvSpPr>
              <a:spLocks noChangeArrowheads="1"/>
            </p:cNvSpPr>
            <p:nvPr/>
          </p:nvSpPr>
          <p:spPr bwMode="auto">
            <a:xfrm>
              <a:off x="1354" y="2122"/>
              <a:ext cx="85" cy="85"/>
            </a:xfrm>
            <a:prstGeom prst="rect">
              <a:avLst/>
            </a:prstGeom>
            <a:solidFill>
              <a:srgbClr val="007CC3"/>
            </a:solidFill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ru-RU" sz="240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14" name="Rectangle 11"/>
            <p:cNvSpPr>
              <a:spLocks noChangeArrowheads="1"/>
            </p:cNvSpPr>
            <p:nvPr/>
          </p:nvSpPr>
          <p:spPr bwMode="auto">
            <a:xfrm>
              <a:off x="1214" y="2132"/>
              <a:ext cx="107" cy="109"/>
            </a:xfrm>
            <a:prstGeom prst="rect">
              <a:avLst/>
            </a:prstGeom>
            <a:solidFill>
              <a:srgbClr val="17357C"/>
            </a:solidFill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ru-RU" sz="240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15" name="Rectangle 12"/>
            <p:cNvSpPr>
              <a:spLocks noChangeArrowheads="1"/>
            </p:cNvSpPr>
            <p:nvPr/>
          </p:nvSpPr>
          <p:spPr bwMode="auto">
            <a:xfrm>
              <a:off x="1748" y="1809"/>
              <a:ext cx="128" cy="125"/>
            </a:xfrm>
            <a:prstGeom prst="rect">
              <a:avLst/>
            </a:prstGeom>
            <a:solidFill>
              <a:srgbClr val="17357C"/>
            </a:solidFill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ru-RU" sz="240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16" name="Rectangle 13"/>
            <p:cNvSpPr>
              <a:spLocks noChangeArrowheads="1"/>
            </p:cNvSpPr>
            <p:nvPr/>
          </p:nvSpPr>
          <p:spPr bwMode="auto">
            <a:xfrm>
              <a:off x="1905" y="1809"/>
              <a:ext cx="126" cy="125"/>
            </a:xfrm>
            <a:prstGeom prst="rect">
              <a:avLst/>
            </a:prstGeom>
            <a:solidFill>
              <a:srgbClr val="17357C"/>
            </a:solidFill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ru-RU" sz="240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17" name="Rectangle 14"/>
            <p:cNvSpPr>
              <a:spLocks noChangeArrowheads="1"/>
            </p:cNvSpPr>
            <p:nvPr/>
          </p:nvSpPr>
          <p:spPr bwMode="auto">
            <a:xfrm>
              <a:off x="2061" y="1809"/>
              <a:ext cx="125" cy="125"/>
            </a:xfrm>
            <a:prstGeom prst="rect">
              <a:avLst/>
            </a:prstGeom>
            <a:solidFill>
              <a:srgbClr val="17357C"/>
            </a:solidFill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ru-RU" sz="240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18" name="Rectangle 15"/>
            <p:cNvSpPr>
              <a:spLocks noChangeArrowheads="1"/>
            </p:cNvSpPr>
            <p:nvPr/>
          </p:nvSpPr>
          <p:spPr bwMode="auto">
            <a:xfrm>
              <a:off x="1748" y="1964"/>
              <a:ext cx="128" cy="128"/>
            </a:xfrm>
            <a:prstGeom prst="rect">
              <a:avLst/>
            </a:prstGeom>
            <a:solidFill>
              <a:srgbClr val="17357C"/>
            </a:solidFill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ru-RU" sz="240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19" name="Rectangle 16"/>
            <p:cNvSpPr>
              <a:spLocks noChangeArrowheads="1"/>
            </p:cNvSpPr>
            <p:nvPr/>
          </p:nvSpPr>
          <p:spPr bwMode="auto">
            <a:xfrm>
              <a:off x="1905" y="1964"/>
              <a:ext cx="126" cy="128"/>
            </a:xfrm>
            <a:prstGeom prst="rect">
              <a:avLst/>
            </a:prstGeom>
            <a:solidFill>
              <a:srgbClr val="17357C"/>
            </a:solidFill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ru-RU" sz="240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20" name="Rectangle 17"/>
            <p:cNvSpPr>
              <a:spLocks noChangeArrowheads="1"/>
            </p:cNvSpPr>
            <p:nvPr/>
          </p:nvSpPr>
          <p:spPr bwMode="auto">
            <a:xfrm>
              <a:off x="2061" y="1964"/>
              <a:ext cx="125" cy="128"/>
            </a:xfrm>
            <a:prstGeom prst="rect">
              <a:avLst/>
            </a:prstGeom>
            <a:solidFill>
              <a:srgbClr val="17357C"/>
            </a:solidFill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ru-RU" sz="240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21" name="Rectangle 18"/>
            <p:cNvSpPr>
              <a:spLocks noChangeArrowheads="1"/>
            </p:cNvSpPr>
            <p:nvPr/>
          </p:nvSpPr>
          <p:spPr bwMode="auto">
            <a:xfrm>
              <a:off x="1748" y="2119"/>
              <a:ext cx="128" cy="128"/>
            </a:xfrm>
            <a:prstGeom prst="rect">
              <a:avLst/>
            </a:prstGeom>
            <a:solidFill>
              <a:srgbClr val="17357C"/>
            </a:solidFill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ru-RU" sz="240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22" name="Rectangle 19"/>
            <p:cNvSpPr>
              <a:spLocks noChangeArrowheads="1"/>
            </p:cNvSpPr>
            <p:nvPr/>
          </p:nvSpPr>
          <p:spPr bwMode="auto">
            <a:xfrm>
              <a:off x="1905" y="2119"/>
              <a:ext cx="126" cy="128"/>
            </a:xfrm>
            <a:prstGeom prst="rect">
              <a:avLst/>
            </a:prstGeom>
            <a:solidFill>
              <a:srgbClr val="17357C"/>
            </a:solidFill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ru-RU" sz="240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23" name="Rectangle 20"/>
            <p:cNvSpPr>
              <a:spLocks noChangeArrowheads="1"/>
            </p:cNvSpPr>
            <p:nvPr/>
          </p:nvSpPr>
          <p:spPr bwMode="auto">
            <a:xfrm>
              <a:off x="2061" y="2119"/>
              <a:ext cx="125" cy="128"/>
            </a:xfrm>
            <a:prstGeom prst="rect">
              <a:avLst/>
            </a:prstGeom>
            <a:solidFill>
              <a:srgbClr val="17357C"/>
            </a:solidFill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ru-RU" sz="240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24" name="Rectangle 21"/>
            <p:cNvSpPr>
              <a:spLocks noChangeArrowheads="1"/>
            </p:cNvSpPr>
            <p:nvPr/>
          </p:nvSpPr>
          <p:spPr bwMode="auto">
            <a:xfrm>
              <a:off x="1694" y="1741"/>
              <a:ext cx="12" cy="571"/>
            </a:xfrm>
            <a:prstGeom prst="rect">
              <a:avLst/>
            </a:prstGeom>
            <a:solidFill>
              <a:srgbClr val="848282"/>
            </a:solidFill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ru-RU" sz="240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25" name="Freeform 22"/>
            <p:cNvSpPr>
              <a:spLocks noEditPoints="1"/>
            </p:cNvSpPr>
            <p:nvPr/>
          </p:nvSpPr>
          <p:spPr bwMode="auto">
            <a:xfrm>
              <a:off x="2368" y="1803"/>
              <a:ext cx="1182" cy="339"/>
            </a:xfrm>
            <a:custGeom>
              <a:avLst/>
              <a:gdLst>
                <a:gd name="T0" fmla="*/ 0 w 1182"/>
                <a:gd name="T1" fmla="*/ 230 h 338"/>
                <a:gd name="T2" fmla="*/ 12 w 1182"/>
                <a:gd name="T3" fmla="*/ 300 h 338"/>
                <a:gd name="T4" fmla="*/ 84 w 1182"/>
                <a:gd name="T5" fmla="*/ 338 h 338"/>
                <a:gd name="T6" fmla="*/ 228 w 1182"/>
                <a:gd name="T7" fmla="*/ 255 h 338"/>
                <a:gd name="T8" fmla="*/ 166 w 1182"/>
                <a:gd name="T9" fmla="*/ 147 h 338"/>
                <a:gd name="T10" fmla="*/ 87 w 1182"/>
                <a:gd name="T11" fmla="*/ 97 h 338"/>
                <a:gd name="T12" fmla="*/ 109 w 1182"/>
                <a:gd name="T13" fmla="*/ 25 h 338"/>
                <a:gd name="T14" fmla="*/ 176 w 1182"/>
                <a:gd name="T15" fmla="*/ 55 h 338"/>
                <a:gd name="T16" fmla="*/ 201 w 1182"/>
                <a:gd name="T17" fmla="*/ 92 h 338"/>
                <a:gd name="T18" fmla="*/ 218 w 1182"/>
                <a:gd name="T19" fmla="*/ 20 h 338"/>
                <a:gd name="T20" fmla="*/ 141 w 1182"/>
                <a:gd name="T21" fmla="*/ 0 h 338"/>
                <a:gd name="T22" fmla="*/ 17 w 1182"/>
                <a:gd name="T23" fmla="*/ 72 h 338"/>
                <a:gd name="T24" fmla="*/ 84 w 1182"/>
                <a:gd name="T25" fmla="*/ 190 h 338"/>
                <a:gd name="T26" fmla="*/ 161 w 1182"/>
                <a:gd name="T27" fmla="*/ 260 h 338"/>
                <a:gd name="T28" fmla="*/ 124 w 1182"/>
                <a:gd name="T29" fmla="*/ 310 h 338"/>
                <a:gd name="T30" fmla="*/ 54 w 1182"/>
                <a:gd name="T31" fmla="*/ 283 h 338"/>
                <a:gd name="T32" fmla="*/ 452 w 1182"/>
                <a:gd name="T33" fmla="*/ 35 h 338"/>
                <a:gd name="T34" fmla="*/ 479 w 1182"/>
                <a:gd name="T35" fmla="*/ 80 h 338"/>
                <a:gd name="T36" fmla="*/ 479 w 1182"/>
                <a:gd name="T37" fmla="*/ 190 h 338"/>
                <a:gd name="T38" fmla="*/ 477 w 1182"/>
                <a:gd name="T39" fmla="*/ 275 h 338"/>
                <a:gd name="T40" fmla="*/ 447 w 1182"/>
                <a:gd name="T41" fmla="*/ 303 h 338"/>
                <a:gd name="T42" fmla="*/ 425 w 1182"/>
                <a:gd name="T43" fmla="*/ 325 h 338"/>
                <a:gd name="T44" fmla="*/ 504 w 1182"/>
                <a:gd name="T45" fmla="*/ 330 h 338"/>
                <a:gd name="T46" fmla="*/ 603 w 1182"/>
                <a:gd name="T47" fmla="*/ 330 h 338"/>
                <a:gd name="T48" fmla="*/ 710 w 1182"/>
                <a:gd name="T49" fmla="*/ 280 h 338"/>
                <a:gd name="T50" fmla="*/ 705 w 1182"/>
                <a:gd name="T51" fmla="*/ 175 h 338"/>
                <a:gd name="T52" fmla="*/ 653 w 1182"/>
                <a:gd name="T53" fmla="*/ 145 h 338"/>
                <a:gd name="T54" fmla="*/ 703 w 1182"/>
                <a:gd name="T55" fmla="*/ 60 h 338"/>
                <a:gd name="T56" fmla="*/ 601 w 1182"/>
                <a:gd name="T57" fmla="*/ 7 h 338"/>
                <a:gd name="T58" fmla="*/ 457 w 1182"/>
                <a:gd name="T59" fmla="*/ 7 h 338"/>
                <a:gd name="T60" fmla="*/ 432 w 1182"/>
                <a:gd name="T61" fmla="*/ 27 h 338"/>
                <a:gd name="T62" fmla="*/ 636 w 1182"/>
                <a:gd name="T63" fmla="*/ 77 h 338"/>
                <a:gd name="T64" fmla="*/ 591 w 1182"/>
                <a:gd name="T65" fmla="*/ 142 h 338"/>
                <a:gd name="T66" fmla="*/ 549 w 1182"/>
                <a:gd name="T67" fmla="*/ 140 h 338"/>
                <a:gd name="T68" fmla="*/ 549 w 1182"/>
                <a:gd name="T69" fmla="*/ 62 h 338"/>
                <a:gd name="T70" fmla="*/ 556 w 1182"/>
                <a:gd name="T71" fmla="*/ 35 h 338"/>
                <a:gd name="T72" fmla="*/ 571 w 1182"/>
                <a:gd name="T73" fmla="*/ 300 h 338"/>
                <a:gd name="T74" fmla="*/ 549 w 1182"/>
                <a:gd name="T75" fmla="*/ 255 h 338"/>
                <a:gd name="T76" fmla="*/ 549 w 1182"/>
                <a:gd name="T77" fmla="*/ 170 h 338"/>
                <a:gd name="T78" fmla="*/ 569 w 1182"/>
                <a:gd name="T79" fmla="*/ 170 h 338"/>
                <a:gd name="T80" fmla="*/ 653 w 1182"/>
                <a:gd name="T81" fmla="*/ 238 h 338"/>
                <a:gd name="T82" fmla="*/ 973 w 1182"/>
                <a:gd name="T83" fmla="*/ 223 h 338"/>
                <a:gd name="T84" fmla="*/ 951 w 1182"/>
                <a:gd name="T85" fmla="*/ 240 h 338"/>
                <a:gd name="T86" fmla="*/ 968 w 1182"/>
                <a:gd name="T87" fmla="*/ 315 h 338"/>
                <a:gd name="T88" fmla="*/ 1085 w 1182"/>
                <a:gd name="T89" fmla="*/ 335 h 338"/>
                <a:gd name="T90" fmla="*/ 1180 w 1182"/>
                <a:gd name="T91" fmla="*/ 218 h 338"/>
                <a:gd name="T92" fmla="*/ 1098 w 1182"/>
                <a:gd name="T93" fmla="*/ 135 h 338"/>
                <a:gd name="T94" fmla="*/ 1031 w 1182"/>
                <a:gd name="T95" fmla="*/ 80 h 338"/>
                <a:gd name="T96" fmla="*/ 1088 w 1182"/>
                <a:gd name="T97" fmla="*/ 25 h 338"/>
                <a:gd name="T98" fmla="*/ 1135 w 1182"/>
                <a:gd name="T99" fmla="*/ 77 h 338"/>
                <a:gd name="T100" fmla="*/ 1160 w 1182"/>
                <a:gd name="T101" fmla="*/ 90 h 338"/>
                <a:gd name="T102" fmla="*/ 1162 w 1182"/>
                <a:gd name="T103" fmla="*/ 7 h 338"/>
                <a:gd name="T104" fmla="*/ 1058 w 1182"/>
                <a:gd name="T105" fmla="*/ 0 h 338"/>
                <a:gd name="T106" fmla="*/ 968 w 1182"/>
                <a:gd name="T107" fmla="*/ 115 h 338"/>
                <a:gd name="T108" fmla="*/ 1068 w 1182"/>
                <a:gd name="T109" fmla="*/ 210 h 338"/>
                <a:gd name="T110" fmla="*/ 1112 w 1182"/>
                <a:gd name="T111" fmla="*/ 280 h 338"/>
                <a:gd name="T112" fmla="*/ 1060 w 1182"/>
                <a:gd name="T113" fmla="*/ 310 h 338"/>
                <a:gd name="T114" fmla="*/ 986 w 1182"/>
                <a:gd name="T115" fmla="*/ 248 h 33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1182" h="338">
                  <a:moveTo>
                    <a:pt x="25" y="225"/>
                  </a:moveTo>
                  <a:lnTo>
                    <a:pt x="22" y="223"/>
                  </a:lnTo>
                  <a:lnTo>
                    <a:pt x="20" y="225"/>
                  </a:lnTo>
                  <a:lnTo>
                    <a:pt x="15" y="225"/>
                  </a:lnTo>
                  <a:lnTo>
                    <a:pt x="10" y="225"/>
                  </a:lnTo>
                  <a:lnTo>
                    <a:pt x="7" y="228"/>
                  </a:lnTo>
                  <a:lnTo>
                    <a:pt x="5" y="228"/>
                  </a:lnTo>
                  <a:lnTo>
                    <a:pt x="0" y="230"/>
                  </a:lnTo>
                  <a:lnTo>
                    <a:pt x="0" y="233"/>
                  </a:lnTo>
                  <a:lnTo>
                    <a:pt x="0" y="240"/>
                  </a:lnTo>
                  <a:lnTo>
                    <a:pt x="0" y="248"/>
                  </a:lnTo>
                  <a:lnTo>
                    <a:pt x="2" y="258"/>
                  </a:lnTo>
                  <a:lnTo>
                    <a:pt x="5" y="270"/>
                  </a:lnTo>
                  <a:lnTo>
                    <a:pt x="7" y="280"/>
                  </a:lnTo>
                  <a:lnTo>
                    <a:pt x="10" y="290"/>
                  </a:lnTo>
                  <a:lnTo>
                    <a:pt x="12" y="300"/>
                  </a:lnTo>
                  <a:lnTo>
                    <a:pt x="15" y="310"/>
                  </a:lnTo>
                  <a:lnTo>
                    <a:pt x="17" y="315"/>
                  </a:lnTo>
                  <a:lnTo>
                    <a:pt x="20" y="320"/>
                  </a:lnTo>
                  <a:lnTo>
                    <a:pt x="27" y="323"/>
                  </a:lnTo>
                  <a:lnTo>
                    <a:pt x="40" y="328"/>
                  </a:lnTo>
                  <a:lnTo>
                    <a:pt x="52" y="330"/>
                  </a:lnTo>
                  <a:lnTo>
                    <a:pt x="67" y="335"/>
                  </a:lnTo>
                  <a:lnTo>
                    <a:pt x="84" y="338"/>
                  </a:lnTo>
                  <a:lnTo>
                    <a:pt x="104" y="338"/>
                  </a:lnTo>
                  <a:lnTo>
                    <a:pt x="131" y="335"/>
                  </a:lnTo>
                  <a:lnTo>
                    <a:pt x="159" y="330"/>
                  </a:lnTo>
                  <a:lnTo>
                    <a:pt x="179" y="320"/>
                  </a:lnTo>
                  <a:lnTo>
                    <a:pt x="199" y="308"/>
                  </a:lnTo>
                  <a:lnTo>
                    <a:pt x="211" y="293"/>
                  </a:lnTo>
                  <a:lnTo>
                    <a:pt x="221" y="275"/>
                  </a:lnTo>
                  <a:lnTo>
                    <a:pt x="228" y="255"/>
                  </a:lnTo>
                  <a:lnTo>
                    <a:pt x="231" y="235"/>
                  </a:lnTo>
                  <a:lnTo>
                    <a:pt x="228" y="218"/>
                  </a:lnTo>
                  <a:lnTo>
                    <a:pt x="223" y="203"/>
                  </a:lnTo>
                  <a:lnTo>
                    <a:pt x="216" y="188"/>
                  </a:lnTo>
                  <a:lnTo>
                    <a:pt x="206" y="175"/>
                  </a:lnTo>
                  <a:lnTo>
                    <a:pt x="194" y="165"/>
                  </a:lnTo>
                  <a:lnTo>
                    <a:pt x="176" y="155"/>
                  </a:lnTo>
                  <a:lnTo>
                    <a:pt x="166" y="147"/>
                  </a:lnTo>
                  <a:lnTo>
                    <a:pt x="154" y="142"/>
                  </a:lnTo>
                  <a:lnTo>
                    <a:pt x="144" y="135"/>
                  </a:lnTo>
                  <a:lnTo>
                    <a:pt x="134" y="130"/>
                  </a:lnTo>
                  <a:lnTo>
                    <a:pt x="124" y="125"/>
                  </a:lnTo>
                  <a:lnTo>
                    <a:pt x="112" y="117"/>
                  </a:lnTo>
                  <a:lnTo>
                    <a:pt x="102" y="112"/>
                  </a:lnTo>
                  <a:lnTo>
                    <a:pt x="94" y="105"/>
                  </a:lnTo>
                  <a:lnTo>
                    <a:pt x="87" y="97"/>
                  </a:lnTo>
                  <a:lnTo>
                    <a:pt x="82" y="90"/>
                  </a:lnTo>
                  <a:lnTo>
                    <a:pt x="79" y="80"/>
                  </a:lnTo>
                  <a:lnTo>
                    <a:pt x="79" y="67"/>
                  </a:lnTo>
                  <a:lnTo>
                    <a:pt x="79" y="57"/>
                  </a:lnTo>
                  <a:lnTo>
                    <a:pt x="84" y="47"/>
                  </a:lnTo>
                  <a:lnTo>
                    <a:pt x="89" y="37"/>
                  </a:lnTo>
                  <a:lnTo>
                    <a:pt x="99" y="30"/>
                  </a:lnTo>
                  <a:lnTo>
                    <a:pt x="109" y="25"/>
                  </a:lnTo>
                  <a:lnTo>
                    <a:pt x="124" y="25"/>
                  </a:lnTo>
                  <a:lnTo>
                    <a:pt x="134" y="25"/>
                  </a:lnTo>
                  <a:lnTo>
                    <a:pt x="146" y="27"/>
                  </a:lnTo>
                  <a:lnTo>
                    <a:pt x="154" y="30"/>
                  </a:lnTo>
                  <a:lnTo>
                    <a:pt x="164" y="35"/>
                  </a:lnTo>
                  <a:lnTo>
                    <a:pt x="169" y="40"/>
                  </a:lnTo>
                  <a:lnTo>
                    <a:pt x="174" y="47"/>
                  </a:lnTo>
                  <a:lnTo>
                    <a:pt x="176" y="55"/>
                  </a:lnTo>
                  <a:lnTo>
                    <a:pt x="181" y="65"/>
                  </a:lnTo>
                  <a:lnTo>
                    <a:pt x="184" y="77"/>
                  </a:lnTo>
                  <a:lnTo>
                    <a:pt x="186" y="90"/>
                  </a:lnTo>
                  <a:lnTo>
                    <a:pt x="189" y="92"/>
                  </a:lnTo>
                  <a:lnTo>
                    <a:pt x="191" y="92"/>
                  </a:lnTo>
                  <a:lnTo>
                    <a:pt x="194" y="92"/>
                  </a:lnTo>
                  <a:lnTo>
                    <a:pt x="199" y="92"/>
                  </a:lnTo>
                  <a:lnTo>
                    <a:pt x="201" y="92"/>
                  </a:lnTo>
                  <a:lnTo>
                    <a:pt x="206" y="92"/>
                  </a:lnTo>
                  <a:lnTo>
                    <a:pt x="208" y="90"/>
                  </a:lnTo>
                  <a:lnTo>
                    <a:pt x="211" y="90"/>
                  </a:lnTo>
                  <a:lnTo>
                    <a:pt x="211" y="75"/>
                  </a:lnTo>
                  <a:lnTo>
                    <a:pt x="213" y="60"/>
                  </a:lnTo>
                  <a:lnTo>
                    <a:pt x="213" y="45"/>
                  </a:lnTo>
                  <a:lnTo>
                    <a:pt x="216" y="32"/>
                  </a:lnTo>
                  <a:lnTo>
                    <a:pt x="218" y="20"/>
                  </a:lnTo>
                  <a:lnTo>
                    <a:pt x="218" y="10"/>
                  </a:lnTo>
                  <a:lnTo>
                    <a:pt x="208" y="7"/>
                  </a:lnTo>
                  <a:lnTo>
                    <a:pt x="199" y="7"/>
                  </a:lnTo>
                  <a:lnTo>
                    <a:pt x="189" y="5"/>
                  </a:lnTo>
                  <a:lnTo>
                    <a:pt x="179" y="2"/>
                  </a:lnTo>
                  <a:lnTo>
                    <a:pt x="166" y="2"/>
                  </a:lnTo>
                  <a:lnTo>
                    <a:pt x="156" y="0"/>
                  </a:lnTo>
                  <a:lnTo>
                    <a:pt x="141" y="0"/>
                  </a:lnTo>
                  <a:lnTo>
                    <a:pt x="126" y="0"/>
                  </a:lnTo>
                  <a:lnTo>
                    <a:pt x="104" y="0"/>
                  </a:lnTo>
                  <a:lnTo>
                    <a:pt x="84" y="5"/>
                  </a:lnTo>
                  <a:lnTo>
                    <a:pt x="64" y="12"/>
                  </a:lnTo>
                  <a:lnTo>
                    <a:pt x="47" y="25"/>
                  </a:lnTo>
                  <a:lnTo>
                    <a:pt x="35" y="37"/>
                  </a:lnTo>
                  <a:lnTo>
                    <a:pt x="25" y="55"/>
                  </a:lnTo>
                  <a:lnTo>
                    <a:pt x="17" y="72"/>
                  </a:lnTo>
                  <a:lnTo>
                    <a:pt x="15" y="95"/>
                  </a:lnTo>
                  <a:lnTo>
                    <a:pt x="17" y="115"/>
                  </a:lnTo>
                  <a:lnTo>
                    <a:pt x="22" y="132"/>
                  </a:lnTo>
                  <a:lnTo>
                    <a:pt x="30" y="147"/>
                  </a:lnTo>
                  <a:lnTo>
                    <a:pt x="42" y="160"/>
                  </a:lnTo>
                  <a:lnTo>
                    <a:pt x="54" y="173"/>
                  </a:lnTo>
                  <a:lnTo>
                    <a:pt x="69" y="183"/>
                  </a:lnTo>
                  <a:lnTo>
                    <a:pt x="84" y="190"/>
                  </a:lnTo>
                  <a:lnTo>
                    <a:pt x="99" y="200"/>
                  </a:lnTo>
                  <a:lnTo>
                    <a:pt x="117" y="210"/>
                  </a:lnTo>
                  <a:lnTo>
                    <a:pt x="131" y="220"/>
                  </a:lnTo>
                  <a:lnTo>
                    <a:pt x="141" y="230"/>
                  </a:lnTo>
                  <a:lnTo>
                    <a:pt x="151" y="238"/>
                  </a:lnTo>
                  <a:lnTo>
                    <a:pt x="156" y="245"/>
                  </a:lnTo>
                  <a:lnTo>
                    <a:pt x="159" y="253"/>
                  </a:lnTo>
                  <a:lnTo>
                    <a:pt x="161" y="260"/>
                  </a:lnTo>
                  <a:lnTo>
                    <a:pt x="161" y="270"/>
                  </a:lnTo>
                  <a:lnTo>
                    <a:pt x="161" y="280"/>
                  </a:lnTo>
                  <a:lnTo>
                    <a:pt x="159" y="288"/>
                  </a:lnTo>
                  <a:lnTo>
                    <a:pt x="154" y="295"/>
                  </a:lnTo>
                  <a:lnTo>
                    <a:pt x="146" y="300"/>
                  </a:lnTo>
                  <a:lnTo>
                    <a:pt x="139" y="305"/>
                  </a:lnTo>
                  <a:lnTo>
                    <a:pt x="131" y="308"/>
                  </a:lnTo>
                  <a:lnTo>
                    <a:pt x="124" y="310"/>
                  </a:lnTo>
                  <a:lnTo>
                    <a:pt x="117" y="310"/>
                  </a:lnTo>
                  <a:lnTo>
                    <a:pt x="109" y="310"/>
                  </a:lnTo>
                  <a:lnTo>
                    <a:pt x="99" y="308"/>
                  </a:lnTo>
                  <a:lnTo>
                    <a:pt x="92" y="305"/>
                  </a:lnTo>
                  <a:lnTo>
                    <a:pt x="82" y="303"/>
                  </a:lnTo>
                  <a:lnTo>
                    <a:pt x="74" y="300"/>
                  </a:lnTo>
                  <a:lnTo>
                    <a:pt x="67" y="295"/>
                  </a:lnTo>
                  <a:lnTo>
                    <a:pt x="54" y="283"/>
                  </a:lnTo>
                  <a:lnTo>
                    <a:pt x="42" y="268"/>
                  </a:lnTo>
                  <a:lnTo>
                    <a:pt x="32" y="248"/>
                  </a:lnTo>
                  <a:lnTo>
                    <a:pt x="25" y="225"/>
                  </a:lnTo>
                  <a:close/>
                  <a:moveTo>
                    <a:pt x="432" y="32"/>
                  </a:moveTo>
                  <a:lnTo>
                    <a:pt x="437" y="32"/>
                  </a:lnTo>
                  <a:lnTo>
                    <a:pt x="442" y="32"/>
                  </a:lnTo>
                  <a:lnTo>
                    <a:pt x="447" y="32"/>
                  </a:lnTo>
                  <a:lnTo>
                    <a:pt x="452" y="35"/>
                  </a:lnTo>
                  <a:lnTo>
                    <a:pt x="457" y="35"/>
                  </a:lnTo>
                  <a:lnTo>
                    <a:pt x="462" y="37"/>
                  </a:lnTo>
                  <a:lnTo>
                    <a:pt x="469" y="40"/>
                  </a:lnTo>
                  <a:lnTo>
                    <a:pt x="474" y="45"/>
                  </a:lnTo>
                  <a:lnTo>
                    <a:pt x="477" y="50"/>
                  </a:lnTo>
                  <a:lnTo>
                    <a:pt x="477" y="60"/>
                  </a:lnTo>
                  <a:lnTo>
                    <a:pt x="477" y="70"/>
                  </a:lnTo>
                  <a:lnTo>
                    <a:pt x="479" y="80"/>
                  </a:lnTo>
                  <a:lnTo>
                    <a:pt x="479" y="90"/>
                  </a:lnTo>
                  <a:lnTo>
                    <a:pt x="479" y="100"/>
                  </a:lnTo>
                  <a:lnTo>
                    <a:pt x="479" y="115"/>
                  </a:lnTo>
                  <a:lnTo>
                    <a:pt x="479" y="130"/>
                  </a:lnTo>
                  <a:lnTo>
                    <a:pt x="479" y="145"/>
                  </a:lnTo>
                  <a:lnTo>
                    <a:pt x="479" y="165"/>
                  </a:lnTo>
                  <a:lnTo>
                    <a:pt x="479" y="178"/>
                  </a:lnTo>
                  <a:lnTo>
                    <a:pt x="479" y="190"/>
                  </a:lnTo>
                  <a:lnTo>
                    <a:pt x="479" y="203"/>
                  </a:lnTo>
                  <a:lnTo>
                    <a:pt x="479" y="215"/>
                  </a:lnTo>
                  <a:lnTo>
                    <a:pt x="479" y="230"/>
                  </a:lnTo>
                  <a:lnTo>
                    <a:pt x="479" y="240"/>
                  </a:lnTo>
                  <a:lnTo>
                    <a:pt x="479" y="253"/>
                  </a:lnTo>
                  <a:lnTo>
                    <a:pt x="479" y="260"/>
                  </a:lnTo>
                  <a:lnTo>
                    <a:pt x="477" y="268"/>
                  </a:lnTo>
                  <a:lnTo>
                    <a:pt x="477" y="275"/>
                  </a:lnTo>
                  <a:lnTo>
                    <a:pt x="477" y="283"/>
                  </a:lnTo>
                  <a:lnTo>
                    <a:pt x="474" y="288"/>
                  </a:lnTo>
                  <a:lnTo>
                    <a:pt x="474" y="293"/>
                  </a:lnTo>
                  <a:lnTo>
                    <a:pt x="472" y="295"/>
                  </a:lnTo>
                  <a:lnTo>
                    <a:pt x="467" y="298"/>
                  </a:lnTo>
                  <a:lnTo>
                    <a:pt x="464" y="300"/>
                  </a:lnTo>
                  <a:lnTo>
                    <a:pt x="457" y="303"/>
                  </a:lnTo>
                  <a:lnTo>
                    <a:pt x="447" y="303"/>
                  </a:lnTo>
                  <a:lnTo>
                    <a:pt x="437" y="305"/>
                  </a:lnTo>
                  <a:lnTo>
                    <a:pt x="427" y="305"/>
                  </a:lnTo>
                  <a:lnTo>
                    <a:pt x="425" y="308"/>
                  </a:lnTo>
                  <a:lnTo>
                    <a:pt x="425" y="310"/>
                  </a:lnTo>
                  <a:lnTo>
                    <a:pt x="425" y="313"/>
                  </a:lnTo>
                  <a:lnTo>
                    <a:pt x="425" y="318"/>
                  </a:lnTo>
                  <a:lnTo>
                    <a:pt x="425" y="323"/>
                  </a:lnTo>
                  <a:lnTo>
                    <a:pt x="425" y="325"/>
                  </a:lnTo>
                  <a:lnTo>
                    <a:pt x="425" y="328"/>
                  </a:lnTo>
                  <a:lnTo>
                    <a:pt x="427" y="330"/>
                  </a:lnTo>
                  <a:lnTo>
                    <a:pt x="437" y="330"/>
                  </a:lnTo>
                  <a:lnTo>
                    <a:pt x="447" y="330"/>
                  </a:lnTo>
                  <a:lnTo>
                    <a:pt x="459" y="330"/>
                  </a:lnTo>
                  <a:lnTo>
                    <a:pt x="474" y="330"/>
                  </a:lnTo>
                  <a:lnTo>
                    <a:pt x="489" y="330"/>
                  </a:lnTo>
                  <a:lnTo>
                    <a:pt x="504" y="330"/>
                  </a:lnTo>
                  <a:lnTo>
                    <a:pt x="516" y="330"/>
                  </a:lnTo>
                  <a:lnTo>
                    <a:pt x="531" y="333"/>
                  </a:lnTo>
                  <a:lnTo>
                    <a:pt x="544" y="333"/>
                  </a:lnTo>
                  <a:lnTo>
                    <a:pt x="554" y="333"/>
                  </a:lnTo>
                  <a:lnTo>
                    <a:pt x="564" y="333"/>
                  </a:lnTo>
                  <a:lnTo>
                    <a:pt x="571" y="333"/>
                  </a:lnTo>
                  <a:lnTo>
                    <a:pt x="586" y="333"/>
                  </a:lnTo>
                  <a:lnTo>
                    <a:pt x="603" y="330"/>
                  </a:lnTo>
                  <a:lnTo>
                    <a:pt x="618" y="328"/>
                  </a:lnTo>
                  <a:lnTo>
                    <a:pt x="633" y="325"/>
                  </a:lnTo>
                  <a:lnTo>
                    <a:pt x="648" y="323"/>
                  </a:lnTo>
                  <a:lnTo>
                    <a:pt x="660" y="318"/>
                  </a:lnTo>
                  <a:lnTo>
                    <a:pt x="675" y="310"/>
                  </a:lnTo>
                  <a:lnTo>
                    <a:pt x="690" y="300"/>
                  </a:lnTo>
                  <a:lnTo>
                    <a:pt x="700" y="290"/>
                  </a:lnTo>
                  <a:lnTo>
                    <a:pt x="710" y="280"/>
                  </a:lnTo>
                  <a:lnTo>
                    <a:pt x="718" y="268"/>
                  </a:lnTo>
                  <a:lnTo>
                    <a:pt x="723" y="255"/>
                  </a:lnTo>
                  <a:lnTo>
                    <a:pt x="728" y="243"/>
                  </a:lnTo>
                  <a:lnTo>
                    <a:pt x="728" y="225"/>
                  </a:lnTo>
                  <a:lnTo>
                    <a:pt x="728" y="210"/>
                  </a:lnTo>
                  <a:lnTo>
                    <a:pt x="723" y="195"/>
                  </a:lnTo>
                  <a:lnTo>
                    <a:pt x="715" y="185"/>
                  </a:lnTo>
                  <a:lnTo>
                    <a:pt x="705" y="175"/>
                  </a:lnTo>
                  <a:lnTo>
                    <a:pt x="695" y="165"/>
                  </a:lnTo>
                  <a:lnTo>
                    <a:pt x="683" y="158"/>
                  </a:lnTo>
                  <a:lnTo>
                    <a:pt x="668" y="152"/>
                  </a:lnTo>
                  <a:lnTo>
                    <a:pt x="653" y="147"/>
                  </a:lnTo>
                  <a:lnTo>
                    <a:pt x="653" y="145"/>
                  </a:lnTo>
                  <a:lnTo>
                    <a:pt x="668" y="137"/>
                  </a:lnTo>
                  <a:lnTo>
                    <a:pt x="680" y="130"/>
                  </a:lnTo>
                  <a:lnTo>
                    <a:pt x="690" y="120"/>
                  </a:lnTo>
                  <a:lnTo>
                    <a:pt x="698" y="107"/>
                  </a:lnTo>
                  <a:lnTo>
                    <a:pt x="703" y="95"/>
                  </a:lnTo>
                  <a:lnTo>
                    <a:pt x="705" y="80"/>
                  </a:lnTo>
                  <a:lnTo>
                    <a:pt x="705" y="70"/>
                  </a:lnTo>
                  <a:lnTo>
                    <a:pt x="703" y="60"/>
                  </a:lnTo>
                  <a:lnTo>
                    <a:pt x="700" y="52"/>
                  </a:lnTo>
                  <a:lnTo>
                    <a:pt x="695" y="45"/>
                  </a:lnTo>
                  <a:lnTo>
                    <a:pt x="685" y="32"/>
                  </a:lnTo>
                  <a:lnTo>
                    <a:pt x="673" y="22"/>
                  </a:lnTo>
                  <a:lnTo>
                    <a:pt x="658" y="15"/>
                  </a:lnTo>
                  <a:lnTo>
                    <a:pt x="638" y="10"/>
                  </a:lnTo>
                  <a:lnTo>
                    <a:pt x="621" y="7"/>
                  </a:lnTo>
                  <a:lnTo>
                    <a:pt x="601" y="7"/>
                  </a:lnTo>
                  <a:lnTo>
                    <a:pt x="588" y="7"/>
                  </a:lnTo>
                  <a:lnTo>
                    <a:pt x="576" y="7"/>
                  </a:lnTo>
                  <a:lnTo>
                    <a:pt x="561" y="7"/>
                  </a:lnTo>
                  <a:lnTo>
                    <a:pt x="544" y="7"/>
                  </a:lnTo>
                  <a:lnTo>
                    <a:pt x="526" y="10"/>
                  </a:lnTo>
                  <a:lnTo>
                    <a:pt x="506" y="10"/>
                  </a:lnTo>
                  <a:lnTo>
                    <a:pt x="477" y="7"/>
                  </a:lnTo>
                  <a:lnTo>
                    <a:pt x="457" y="7"/>
                  </a:lnTo>
                  <a:lnTo>
                    <a:pt x="442" y="7"/>
                  </a:lnTo>
                  <a:lnTo>
                    <a:pt x="432" y="7"/>
                  </a:lnTo>
                  <a:lnTo>
                    <a:pt x="432" y="10"/>
                  </a:lnTo>
                  <a:lnTo>
                    <a:pt x="432" y="12"/>
                  </a:lnTo>
                  <a:lnTo>
                    <a:pt x="432" y="15"/>
                  </a:lnTo>
                  <a:lnTo>
                    <a:pt x="432" y="20"/>
                  </a:lnTo>
                  <a:lnTo>
                    <a:pt x="432" y="22"/>
                  </a:lnTo>
                  <a:lnTo>
                    <a:pt x="432" y="27"/>
                  </a:lnTo>
                  <a:lnTo>
                    <a:pt x="432" y="30"/>
                  </a:lnTo>
                  <a:lnTo>
                    <a:pt x="432" y="32"/>
                  </a:lnTo>
                  <a:close/>
                  <a:moveTo>
                    <a:pt x="569" y="35"/>
                  </a:moveTo>
                  <a:lnTo>
                    <a:pt x="588" y="37"/>
                  </a:lnTo>
                  <a:lnTo>
                    <a:pt x="606" y="42"/>
                  </a:lnTo>
                  <a:lnTo>
                    <a:pt x="621" y="50"/>
                  </a:lnTo>
                  <a:lnTo>
                    <a:pt x="631" y="62"/>
                  </a:lnTo>
                  <a:lnTo>
                    <a:pt x="636" y="77"/>
                  </a:lnTo>
                  <a:lnTo>
                    <a:pt x="638" y="95"/>
                  </a:lnTo>
                  <a:lnTo>
                    <a:pt x="636" y="110"/>
                  </a:lnTo>
                  <a:lnTo>
                    <a:pt x="633" y="120"/>
                  </a:lnTo>
                  <a:lnTo>
                    <a:pt x="626" y="130"/>
                  </a:lnTo>
                  <a:lnTo>
                    <a:pt x="618" y="137"/>
                  </a:lnTo>
                  <a:lnTo>
                    <a:pt x="611" y="140"/>
                  </a:lnTo>
                  <a:lnTo>
                    <a:pt x="603" y="140"/>
                  </a:lnTo>
                  <a:lnTo>
                    <a:pt x="591" y="142"/>
                  </a:lnTo>
                  <a:lnTo>
                    <a:pt x="579" y="142"/>
                  </a:lnTo>
                  <a:lnTo>
                    <a:pt x="569" y="142"/>
                  </a:lnTo>
                  <a:lnTo>
                    <a:pt x="561" y="142"/>
                  </a:lnTo>
                  <a:lnTo>
                    <a:pt x="556" y="142"/>
                  </a:lnTo>
                  <a:lnTo>
                    <a:pt x="551" y="142"/>
                  </a:lnTo>
                  <a:lnTo>
                    <a:pt x="549" y="140"/>
                  </a:lnTo>
                  <a:lnTo>
                    <a:pt x="549" y="137"/>
                  </a:lnTo>
                  <a:lnTo>
                    <a:pt x="549" y="127"/>
                  </a:lnTo>
                  <a:lnTo>
                    <a:pt x="549" y="117"/>
                  </a:lnTo>
                  <a:lnTo>
                    <a:pt x="549" y="105"/>
                  </a:lnTo>
                  <a:lnTo>
                    <a:pt x="549" y="95"/>
                  </a:lnTo>
                  <a:lnTo>
                    <a:pt x="549" y="82"/>
                  </a:lnTo>
                  <a:lnTo>
                    <a:pt x="549" y="72"/>
                  </a:lnTo>
                  <a:lnTo>
                    <a:pt x="549" y="62"/>
                  </a:lnTo>
                  <a:lnTo>
                    <a:pt x="549" y="55"/>
                  </a:lnTo>
                  <a:lnTo>
                    <a:pt x="549" y="47"/>
                  </a:lnTo>
                  <a:lnTo>
                    <a:pt x="549" y="42"/>
                  </a:lnTo>
                  <a:lnTo>
                    <a:pt x="551" y="40"/>
                  </a:lnTo>
                  <a:lnTo>
                    <a:pt x="551" y="37"/>
                  </a:lnTo>
                  <a:lnTo>
                    <a:pt x="554" y="35"/>
                  </a:lnTo>
                  <a:lnTo>
                    <a:pt x="556" y="35"/>
                  </a:lnTo>
                  <a:lnTo>
                    <a:pt x="561" y="35"/>
                  </a:lnTo>
                  <a:lnTo>
                    <a:pt x="566" y="35"/>
                  </a:lnTo>
                  <a:lnTo>
                    <a:pt x="569" y="35"/>
                  </a:lnTo>
                  <a:close/>
                  <a:moveTo>
                    <a:pt x="596" y="305"/>
                  </a:moveTo>
                  <a:lnTo>
                    <a:pt x="591" y="305"/>
                  </a:lnTo>
                  <a:lnTo>
                    <a:pt x="583" y="305"/>
                  </a:lnTo>
                  <a:lnTo>
                    <a:pt x="579" y="303"/>
                  </a:lnTo>
                  <a:lnTo>
                    <a:pt x="571" y="300"/>
                  </a:lnTo>
                  <a:lnTo>
                    <a:pt x="564" y="298"/>
                  </a:lnTo>
                  <a:lnTo>
                    <a:pt x="559" y="295"/>
                  </a:lnTo>
                  <a:lnTo>
                    <a:pt x="556" y="293"/>
                  </a:lnTo>
                  <a:lnTo>
                    <a:pt x="554" y="288"/>
                  </a:lnTo>
                  <a:lnTo>
                    <a:pt x="551" y="283"/>
                  </a:lnTo>
                  <a:lnTo>
                    <a:pt x="549" y="275"/>
                  </a:lnTo>
                  <a:lnTo>
                    <a:pt x="549" y="268"/>
                  </a:lnTo>
                  <a:lnTo>
                    <a:pt x="549" y="255"/>
                  </a:lnTo>
                  <a:lnTo>
                    <a:pt x="549" y="245"/>
                  </a:lnTo>
                  <a:lnTo>
                    <a:pt x="549" y="230"/>
                  </a:lnTo>
                  <a:lnTo>
                    <a:pt x="549" y="218"/>
                  </a:lnTo>
                  <a:lnTo>
                    <a:pt x="549" y="203"/>
                  </a:lnTo>
                  <a:lnTo>
                    <a:pt x="549" y="188"/>
                  </a:lnTo>
                  <a:lnTo>
                    <a:pt x="549" y="173"/>
                  </a:lnTo>
                  <a:lnTo>
                    <a:pt x="549" y="170"/>
                  </a:lnTo>
                  <a:lnTo>
                    <a:pt x="551" y="170"/>
                  </a:lnTo>
                  <a:lnTo>
                    <a:pt x="554" y="170"/>
                  </a:lnTo>
                  <a:lnTo>
                    <a:pt x="556" y="170"/>
                  </a:lnTo>
                  <a:lnTo>
                    <a:pt x="561" y="170"/>
                  </a:lnTo>
                  <a:lnTo>
                    <a:pt x="566" y="170"/>
                  </a:lnTo>
                  <a:lnTo>
                    <a:pt x="569" y="170"/>
                  </a:lnTo>
                  <a:lnTo>
                    <a:pt x="588" y="170"/>
                  </a:lnTo>
                  <a:lnTo>
                    <a:pt x="606" y="175"/>
                  </a:lnTo>
                  <a:lnTo>
                    <a:pt x="621" y="180"/>
                  </a:lnTo>
                  <a:lnTo>
                    <a:pt x="631" y="188"/>
                  </a:lnTo>
                  <a:lnTo>
                    <a:pt x="641" y="198"/>
                  </a:lnTo>
                  <a:lnTo>
                    <a:pt x="648" y="210"/>
                  </a:lnTo>
                  <a:lnTo>
                    <a:pt x="651" y="223"/>
                  </a:lnTo>
                  <a:lnTo>
                    <a:pt x="653" y="238"/>
                  </a:lnTo>
                  <a:lnTo>
                    <a:pt x="651" y="260"/>
                  </a:lnTo>
                  <a:lnTo>
                    <a:pt x="646" y="275"/>
                  </a:lnTo>
                  <a:lnTo>
                    <a:pt x="636" y="288"/>
                  </a:lnTo>
                  <a:lnTo>
                    <a:pt x="626" y="298"/>
                  </a:lnTo>
                  <a:lnTo>
                    <a:pt x="611" y="303"/>
                  </a:lnTo>
                  <a:lnTo>
                    <a:pt x="596" y="305"/>
                  </a:lnTo>
                  <a:close/>
                  <a:moveTo>
                    <a:pt x="976" y="225"/>
                  </a:moveTo>
                  <a:lnTo>
                    <a:pt x="973" y="223"/>
                  </a:lnTo>
                  <a:lnTo>
                    <a:pt x="971" y="225"/>
                  </a:lnTo>
                  <a:lnTo>
                    <a:pt x="966" y="225"/>
                  </a:lnTo>
                  <a:lnTo>
                    <a:pt x="963" y="225"/>
                  </a:lnTo>
                  <a:lnTo>
                    <a:pt x="958" y="228"/>
                  </a:lnTo>
                  <a:lnTo>
                    <a:pt x="956" y="228"/>
                  </a:lnTo>
                  <a:lnTo>
                    <a:pt x="954" y="230"/>
                  </a:lnTo>
                  <a:lnTo>
                    <a:pt x="951" y="233"/>
                  </a:lnTo>
                  <a:lnTo>
                    <a:pt x="951" y="240"/>
                  </a:lnTo>
                  <a:lnTo>
                    <a:pt x="954" y="248"/>
                  </a:lnTo>
                  <a:lnTo>
                    <a:pt x="956" y="258"/>
                  </a:lnTo>
                  <a:lnTo>
                    <a:pt x="956" y="270"/>
                  </a:lnTo>
                  <a:lnTo>
                    <a:pt x="958" y="280"/>
                  </a:lnTo>
                  <a:lnTo>
                    <a:pt x="961" y="290"/>
                  </a:lnTo>
                  <a:lnTo>
                    <a:pt x="963" y="300"/>
                  </a:lnTo>
                  <a:lnTo>
                    <a:pt x="966" y="310"/>
                  </a:lnTo>
                  <a:lnTo>
                    <a:pt x="968" y="315"/>
                  </a:lnTo>
                  <a:lnTo>
                    <a:pt x="971" y="320"/>
                  </a:lnTo>
                  <a:lnTo>
                    <a:pt x="981" y="323"/>
                  </a:lnTo>
                  <a:lnTo>
                    <a:pt x="991" y="328"/>
                  </a:lnTo>
                  <a:lnTo>
                    <a:pt x="1006" y="330"/>
                  </a:lnTo>
                  <a:lnTo>
                    <a:pt x="1021" y="335"/>
                  </a:lnTo>
                  <a:lnTo>
                    <a:pt x="1038" y="338"/>
                  </a:lnTo>
                  <a:lnTo>
                    <a:pt x="1055" y="338"/>
                  </a:lnTo>
                  <a:lnTo>
                    <a:pt x="1085" y="335"/>
                  </a:lnTo>
                  <a:lnTo>
                    <a:pt x="1110" y="330"/>
                  </a:lnTo>
                  <a:lnTo>
                    <a:pt x="1132" y="320"/>
                  </a:lnTo>
                  <a:lnTo>
                    <a:pt x="1150" y="308"/>
                  </a:lnTo>
                  <a:lnTo>
                    <a:pt x="1165" y="293"/>
                  </a:lnTo>
                  <a:lnTo>
                    <a:pt x="1175" y="275"/>
                  </a:lnTo>
                  <a:lnTo>
                    <a:pt x="1180" y="255"/>
                  </a:lnTo>
                  <a:lnTo>
                    <a:pt x="1182" y="235"/>
                  </a:lnTo>
                  <a:lnTo>
                    <a:pt x="1180" y="218"/>
                  </a:lnTo>
                  <a:lnTo>
                    <a:pt x="1177" y="203"/>
                  </a:lnTo>
                  <a:lnTo>
                    <a:pt x="1170" y="188"/>
                  </a:lnTo>
                  <a:lnTo>
                    <a:pt x="1157" y="175"/>
                  </a:lnTo>
                  <a:lnTo>
                    <a:pt x="1145" y="165"/>
                  </a:lnTo>
                  <a:lnTo>
                    <a:pt x="1127" y="155"/>
                  </a:lnTo>
                  <a:lnTo>
                    <a:pt x="1117" y="147"/>
                  </a:lnTo>
                  <a:lnTo>
                    <a:pt x="1108" y="142"/>
                  </a:lnTo>
                  <a:lnTo>
                    <a:pt x="1098" y="135"/>
                  </a:lnTo>
                  <a:lnTo>
                    <a:pt x="1085" y="130"/>
                  </a:lnTo>
                  <a:lnTo>
                    <a:pt x="1075" y="125"/>
                  </a:lnTo>
                  <a:lnTo>
                    <a:pt x="1065" y="117"/>
                  </a:lnTo>
                  <a:lnTo>
                    <a:pt x="1055" y="112"/>
                  </a:lnTo>
                  <a:lnTo>
                    <a:pt x="1045" y="105"/>
                  </a:lnTo>
                  <a:lnTo>
                    <a:pt x="1038" y="97"/>
                  </a:lnTo>
                  <a:lnTo>
                    <a:pt x="1033" y="90"/>
                  </a:lnTo>
                  <a:lnTo>
                    <a:pt x="1031" y="80"/>
                  </a:lnTo>
                  <a:lnTo>
                    <a:pt x="1031" y="67"/>
                  </a:lnTo>
                  <a:lnTo>
                    <a:pt x="1031" y="57"/>
                  </a:lnTo>
                  <a:lnTo>
                    <a:pt x="1035" y="47"/>
                  </a:lnTo>
                  <a:lnTo>
                    <a:pt x="1043" y="37"/>
                  </a:lnTo>
                  <a:lnTo>
                    <a:pt x="1050" y="30"/>
                  </a:lnTo>
                  <a:lnTo>
                    <a:pt x="1063" y="25"/>
                  </a:lnTo>
                  <a:lnTo>
                    <a:pt x="1075" y="25"/>
                  </a:lnTo>
                  <a:lnTo>
                    <a:pt x="1088" y="25"/>
                  </a:lnTo>
                  <a:lnTo>
                    <a:pt x="1098" y="27"/>
                  </a:lnTo>
                  <a:lnTo>
                    <a:pt x="1108" y="30"/>
                  </a:lnTo>
                  <a:lnTo>
                    <a:pt x="1115" y="35"/>
                  </a:lnTo>
                  <a:lnTo>
                    <a:pt x="1120" y="40"/>
                  </a:lnTo>
                  <a:lnTo>
                    <a:pt x="1125" y="47"/>
                  </a:lnTo>
                  <a:lnTo>
                    <a:pt x="1130" y="55"/>
                  </a:lnTo>
                  <a:lnTo>
                    <a:pt x="1132" y="65"/>
                  </a:lnTo>
                  <a:lnTo>
                    <a:pt x="1135" y="77"/>
                  </a:lnTo>
                  <a:lnTo>
                    <a:pt x="1140" y="90"/>
                  </a:lnTo>
                  <a:lnTo>
                    <a:pt x="1140" y="92"/>
                  </a:lnTo>
                  <a:lnTo>
                    <a:pt x="1142" y="92"/>
                  </a:lnTo>
                  <a:lnTo>
                    <a:pt x="1147" y="92"/>
                  </a:lnTo>
                  <a:lnTo>
                    <a:pt x="1150" y="92"/>
                  </a:lnTo>
                  <a:lnTo>
                    <a:pt x="1155" y="92"/>
                  </a:lnTo>
                  <a:lnTo>
                    <a:pt x="1157" y="92"/>
                  </a:lnTo>
                  <a:lnTo>
                    <a:pt x="1160" y="90"/>
                  </a:lnTo>
                  <a:lnTo>
                    <a:pt x="1162" y="90"/>
                  </a:lnTo>
                  <a:lnTo>
                    <a:pt x="1165" y="75"/>
                  </a:lnTo>
                  <a:lnTo>
                    <a:pt x="1165" y="60"/>
                  </a:lnTo>
                  <a:lnTo>
                    <a:pt x="1167" y="45"/>
                  </a:lnTo>
                  <a:lnTo>
                    <a:pt x="1167" y="32"/>
                  </a:lnTo>
                  <a:lnTo>
                    <a:pt x="1170" y="20"/>
                  </a:lnTo>
                  <a:lnTo>
                    <a:pt x="1172" y="10"/>
                  </a:lnTo>
                  <a:lnTo>
                    <a:pt x="1162" y="7"/>
                  </a:lnTo>
                  <a:lnTo>
                    <a:pt x="1150" y="7"/>
                  </a:lnTo>
                  <a:lnTo>
                    <a:pt x="1140" y="5"/>
                  </a:lnTo>
                  <a:lnTo>
                    <a:pt x="1130" y="2"/>
                  </a:lnTo>
                  <a:lnTo>
                    <a:pt x="1120" y="2"/>
                  </a:lnTo>
                  <a:lnTo>
                    <a:pt x="1108" y="0"/>
                  </a:lnTo>
                  <a:lnTo>
                    <a:pt x="1095" y="0"/>
                  </a:lnTo>
                  <a:lnTo>
                    <a:pt x="1080" y="0"/>
                  </a:lnTo>
                  <a:lnTo>
                    <a:pt x="1058" y="0"/>
                  </a:lnTo>
                  <a:lnTo>
                    <a:pt x="1035" y="5"/>
                  </a:lnTo>
                  <a:lnTo>
                    <a:pt x="1018" y="12"/>
                  </a:lnTo>
                  <a:lnTo>
                    <a:pt x="1001" y="25"/>
                  </a:lnTo>
                  <a:lnTo>
                    <a:pt x="986" y="37"/>
                  </a:lnTo>
                  <a:lnTo>
                    <a:pt x="976" y="55"/>
                  </a:lnTo>
                  <a:lnTo>
                    <a:pt x="968" y="72"/>
                  </a:lnTo>
                  <a:lnTo>
                    <a:pt x="966" y="95"/>
                  </a:lnTo>
                  <a:lnTo>
                    <a:pt x="968" y="115"/>
                  </a:lnTo>
                  <a:lnTo>
                    <a:pt x="973" y="132"/>
                  </a:lnTo>
                  <a:lnTo>
                    <a:pt x="983" y="147"/>
                  </a:lnTo>
                  <a:lnTo>
                    <a:pt x="993" y="160"/>
                  </a:lnTo>
                  <a:lnTo>
                    <a:pt x="1006" y="173"/>
                  </a:lnTo>
                  <a:lnTo>
                    <a:pt x="1021" y="183"/>
                  </a:lnTo>
                  <a:lnTo>
                    <a:pt x="1035" y="190"/>
                  </a:lnTo>
                  <a:lnTo>
                    <a:pt x="1050" y="200"/>
                  </a:lnTo>
                  <a:lnTo>
                    <a:pt x="1068" y="210"/>
                  </a:lnTo>
                  <a:lnTo>
                    <a:pt x="1083" y="220"/>
                  </a:lnTo>
                  <a:lnTo>
                    <a:pt x="1095" y="230"/>
                  </a:lnTo>
                  <a:lnTo>
                    <a:pt x="1103" y="238"/>
                  </a:lnTo>
                  <a:lnTo>
                    <a:pt x="1108" y="245"/>
                  </a:lnTo>
                  <a:lnTo>
                    <a:pt x="1112" y="253"/>
                  </a:lnTo>
                  <a:lnTo>
                    <a:pt x="1112" y="260"/>
                  </a:lnTo>
                  <a:lnTo>
                    <a:pt x="1115" y="270"/>
                  </a:lnTo>
                  <a:lnTo>
                    <a:pt x="1112" y="280"/>
                  </a:lnTo>
                  <a:lnTo>
                    <a:pt x="1110" y="288"/>
                  </a:lnTo>
                  <a:lnTo>
                    <a:pt x="1105" y="295"/>
                  </a:lnTo>
                  <a:lnTo>
                    <a:pt x="1100" y="300"/>
                  </a:lnTo>
                  <a:lnTo>
                    <a:pt x="1093" y="305"/>
                  </a:lnTo>
                  <a:lnTo>
                    <a:pt x="1085" y="308"/>
                  </a:lnTo>
                  <a:lnTo>
                    <a:pt x="1075" y="310"/>
                  </a:lnTo>
                  <a:lnTo>
                    <a:pt x="1068" y="310"/>
                  </a:lnTo>
                  <a:lnTo>
                    <a:pt x="1060" y="310"/>
                  </a:lnTo>
                  <a:lnTo>
                    <a:pt x="1053" y="308"/>
                  </a:lnTo>
                  <a:lnTo>
                    <a:pt x="1043" y="305"/>
                  </a:lnTo>
                  <a:lnTo>
                    <a:pt x="1035" y="303"/>
                  </a:lnTo>
                  <a:lnTo>
                    <a:pt x="1028" y="300"/>
                  </a:lnTo>
                  <a:lnTo>
                    <a:pt x="1021" y="295"/>
                  </a:lnTo>
                  <a:lnTo>
                    <a:pt x="1006" y="283"/>
                  </a:lnTo>
                  <a:lnTo>
                    <a:pt x="996" y="268"/>
                  </a:lnTo>
                  <a:lnTo>
                    <a:pt x="986" y="248"/>
                  </a:lnTo>
                  <a:lnTo>
                    <a:pt x="976" y="225"/>
                  </a:lnTo>
                  <a:close/>
                </a:path>
              </a:pathLst>
            </a:custGeom>
            <a:solidFill>
              <a:srgbClr val="17357C"/>
            </a:solidFill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26" name="Freeform 23"/>
            <p:cNvSpPr>
              <a:spLocks noEditPoints="1"/>
            </p:cNvSpPr>
            <p:nvPr/>
          </p:nvSpPr>
          <p:spPr bwMode="auto">
            <a:xfrm>
              <a:off x="2362" y="2180"/>
              <a:ext cx="1192" cy="91"/>
            </a:xfrm>
            <a:custGeom>
              <a:avLst/>
              <a:gdLst>
                <a:gd name="T0" fmla="*/ 42 w 1192"/>
                <a:gd name="T1" fmla="*/ 43 h 91"/>
                <a:gd name="T2" fmla="*/ 40 w 1192"/>
                <a:gd name="T3" fmla="*/ 3 h 91"/>
                <a:gd name="T4" fmla="*/ 27 w 1192"/>
                <a:gd name="T5" fmla="*/ 28 h 91"/>
                <a:gd name="T6" fmla="*/ 2 w 1192"/>
                <a:gd name="T7" fmla="*/ 53 h 91"/>
                <a:gd name="T8" fmla="*/ 74 w 1192"/>
                <a:gd name="T9" fmla="*/ 3 h 91"/>
                <a:gd name="T10" fmla="*/ 99 w 1192"/>
                <a:gd name="T11" fmla="*/ 28 h 91"/>
                <a:gd name="T12" fmla="*/ 92 w 1192"/>
                <a:gd name="T13" fmla="*/ 71 h 91"/>
                <a:gd name="T14" fmla="*/ 139 w 1192"/>
                <a:gd name="T15" fmla="*/ 41 h 91"/>
                <a:gd name="T16" fmla="*/ 134 w 1192"/>
                <a:gd name="T17" fmla="*/ 21 h 91"/>
                <a:gd name="T18" fmla="*/ 156 w 1192"/>
                <a:gd name="T19" fmla="*/ 66 h 91"/>
                <a:gd name="T20" fmla="*/ 151 w 1192"/>
                <a:gd name="T21" fmla="*/ 61 h 91"/>
                <a:gd name="T22" fmla="*/ 171 w 1192"/>
                <a:gd name="T23" fmla="*/ 21 h 91"/>
                <a:gd name="T24" fmla="*/ 236 w 1192"/>
                <a:gd name="T25" fmla="*/ 53 h 91"/>
                <a:gd name="T26" fmla="*/ 246 w 1192"/>
                <a:gd name="T27" fmla="*/ 46 h 91"/>
                <a:gd name="T28" fmla="*/ 223 w 1192"/>
                <a:gd name="T29" fmla="*/ 26 h 91"/>
                <a:gd name="T30" fmla="*/ 280 w 1192"/>
                <a:gd name="T31" fmla="*/ 68 h 91"/>
                <a:gd name="T32" fmla="*/ 295 w 1192"/>
                <a:gd name="T33" fmla="*/ 73 h 91"/>
                <a:gd name="T34" fmla="*/ 285 w 1192"/>
                <a:gd name="T35" fmla="*/ 53 h 91"/>
                <a:gd name="T36" fmla="*/ 449 w 1192"/>
                <a:gd name="T37" fmla="*/ 13 h 91"/>
                <a:gd name="T38" fmla="*/ 430 w 1192"/>
                <a:gd name="T39" fmla="*/ 71 h 91"/>
                <a:gd name="T40" fmla="*/ 412 w 1192"/>
                <a:gd name="T41" fmla="*/ 31 h 91"/>
                <a:gd name="T42" fmla="*/ 412 w 1192"/>
                <a:gd name="T43" fmla="*/ 38 h 91"/>
                <a:gd name="T44" fmla="*/ 474 w 1192"/>
                <a:gd name="T45" fmla="*/ 53 h 91"/>
                <a:gd name="T46" fmla="*/ 524 w 1192"/>
                <a:gd name="T47" fmla="*/ 53 h 91"/>
                <a:gd name="T48" fmla="*/ 516 w 1192"/>
                <a:gd name="T49" fmla="*/ 36 h 91"/>
                <a:gd name="T50" fmla="*/ 544 w 1192"/>
                <a:gd name="T51" fmla="*/ 31 h 91"/>
                <a:gd name="T52" fmla="*/ 554 w 1192"/>
                <a:gd name="T53" fmla="*/ 48 h 91"/>
                <a:gd name="T54" fmla="*/ 566 w 1192"/>
                <a:gd name="T55" fmla="*/ 11 h 91"/>
                <a:gd name="T56" fmla="*/ 586 w 1192"/>
                <a:gd name="T57" fmla="*/ 21 h 91"/>
                <a:gd name="T58" fmla="*/ 618 w 1192"/>
                <a:gd name="T59" fmla="*/ 33 h 91"/>
                <a:gd name="T60" fmla="*/ 651 w 1192"/>
                <a:gd name="T61" fmla="*/ 68 h 91"/>
                <a:gd name="T62" fmla="*/ 653 w 1192"/>
                <a:gd name="T63" fmla="*/ 63 h 91"/>
                <a:gd name="T64" fmla="*/ 698 w 1192"/>
                <a:gd name="T65" fmla="*/ 53 h 91"/>
                <a:gd name="T66" fmla="*/ 690 w 1192"/>
                <a:gd name="T67" fmla="*/ 36 h 91"/>
                <a:gd name="T68" fmla="*/ 718 w 1192"/>
                <a:gd name="T69" fmla="*/ 31 h 91"/>
                <a:gd name="T70" fmla="*/ 728 w 1192"/>
                <a:gd name="T71" fmla="*/ 48 h 91"/>
                <a:gd name="T72" fmla="*/ 752 w 1192"/>
                <a:gd name="T73" fmla="*/ 63 h 91"/>
                <a:gd name="T74" fmla="*/ 740 w 1192"/>
                <a:gd name="T75" fmla="*/ 28 h 91"/>
                <a:gd name="T76" fmla="*/ 755 w 1192"/>
                <a:gd name="T77" fmla="*/ 26 h 91"/>
                <a:gd name="T78" fmla="*/ 777 w 1192"/>
                <a:gd name="T79" fmla="*/ 58 h 91"/>
                <a:gd name="T80" fmla="*/ 839 w 1192"/>
                <a:gd name="T81" fmla="*/ 63 h 91"/>
                <a:gd name="T82" fmla="*/ 814 w 1192"/>
                <a:gd name="T83" fmla="*/ 23 h 91"/>
                <a:gd name="T84" fmla="*/ 844 w 1192"/>
                <a:gd name="T85" fmla="*/ 8 h 91"/>
                <a:gd name="T86" fmla="*/ 862 w 1192"/>
                <a:gd name="T87" fmla="*/ 61 h 91"/>
                <a:gd name="T88" fmla="*/ 914 w 1192"/>
                <a:gd name="T89" fmla="*/ 26 h 91"/>
                <a:gd name="T90" fmla="*/ 896 w 1192"/>
                <a:gd name="T91" fmla="*/ 63 h 91"/>
                <a:gd name="T92" fmla="*/ 929 w 1192"/>
                <a:gd name="T93" fmla="*/ 71 h 91"/>
                <a:gd name="T94" fmla="*/ 959 w 1192"/>
                <a:gd name="T95" fmla="*/ 56 h 91"/>
                <a:gd name="T96" fmla="*/ 1018 w 1192"/>
                <a:gd name="T97" fmla="*/ 71 h 91"/>
                <a:gd name="T98" fmla="*/ 1013 w 1192"/>
                <a:gd name="T99" fmla="*/ 26 h 91"/>
                <a:gd name="T100" fmla="*/ 1038 w 1192"/>
                <a:gd name="T101" fmla="*/ 21 h 91"/>
                <a:gd name="T102" fmla="*/ 1070 w 1192"/>
                <a:gd name="T103" fmla="*/ 71 h 91"/>
                <a:gd name="T104" fmla="*/ 1070 w 1192"/>
                <a:gd name="T105" fmla="*/ 26 h 91"/>
                <a:gd name="T106" fmla="*/ 1142 w 1192"/>
                <a:gd name="T107" fmla="*/ 33 h 91"/>
                <a:gd name="T108" fmla="*/ 1152 w 1192"/>
                <a:gd name="T109" fmla="*/ 56 h 91"/>
                <a:gd name="T110" fmla="*/ 1155 w 1192"/>
                <a:gd name="T111" fmla="*/ 41 h 91"/>
                <a:gd name="T112" fmla="*/ 1182 w 1192"/>
                <a:gd name="T113" fmla="*/ 33 h 91"/>
                <a:gd name="T114" fmla="*/ 1190 w 1192"/>
                <a:gd name="T115" fmla="*/ 46 h 91"/>
                <a:gd name="T116" fmla="*/ 360 w 1192"/>
                <a:gd name="T117" fmla="*/ 66 h 91"/>
                <a:gd name="T118" fmla="*/ 357 w 1192"/>
                <a:gd name="T119" fmla="*/ 36 h 91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1192" h="91">
                  <a:moveTo>
                    <a:pt x="0" y="48"/>
                  </a:moveTo>
                  <a:lnTo>
                    <a:pt x="10" y="48"/>
                  </a:lnTo>
                  <a:lnTo>
                    <a:pt x="10" y="51"/>
                  </a:lnTo>
                  <a:lnTo>
                    <a:pt x="12" y="56"/>
                  </a:lnTo>
                  <a:lnTo>
                    <a:pt x="15" y="58"/>
                  </a:lnTo>
                  <a:lnTo>
                    <a:pt x="17" y="61"/>
                  </a:lnTo>
                  <a:lnTo>
                    <a:pt x="22" y="63"/>
                  </a:lnTo>
                  <a:lnTo>
                    <a:pt x="30" y="63"/>
                  </a:lnTo>
                  <a:lnTo>
                    <a:pt x="35" y="63"/>
                  </a:lnTo>
                  <a:lnTo>
                    <a:pt x="37" y="61"/>
                  </a:lnTo>
                  <a:lnTo>
                    <a:pt x="42" y="58"/>
                  </a:lnTo>
                  <a:lnTo>
                    <a:pt x="45" y="58"/>
                  </a:lnTo>
                  <a:lnTo>
                    <a:pt x="45" y="53"/>
                  </a:lnTo>
                  <a:lnTo>
                    <a:pt x="45" y="51"/>
                  </a:lnTo>
                  <a:lnTo>
                    <a:pt x="45" y="48"/>
                  </a:lnTo>
                  <a:lnTo>
                    <a:pt x="45" y="46"/>
                  </a:lnTo>
                  <a:lnTo>
                    <a:pt x="42" y="43"/>
                  </a:lnTo>
                  <a:lnTo>
                    <a:pt x="37" y="41"/>
                  </a:lnTo>
                  <a:lnTo>
                    <a:pt x="32" y="41"/>
                  </a:lnTo>
                  <a:lnTo>
                    <a:pt x="25" y="38"/>
                  </a:lnTo>
                  <a:lnTo>
                    <a:pt x="17" y="36"/>
                  </a:lnTo>
                  <a:lnTo>
                    <a:pt x="12" y="33"/>
                  </a:lnTo>
                  <a:lnTo>
                    <a:pt x="7" y="31"/>
                  </a:lnTo>
                  <a:lnTo>
                    <a:pt x="5" y="28"/>
                  </a:lnTo>
                  <a:lnTo>
                    <a:pt x="2" y="23"/>
                  </a:lnTo>
                  <a:lnTo>
                    <a:pt x="2" y="18"/>
                  </a:lnTo>
                  <a:lnTo>
                    <a:pt x="2" y="13"/>
                  </a:lnTo>
                  <a:lnTo>
                    <a:pt x="5" y="11"/>
                  </a:lnTo>
                  <a:lnTo>
                    <a:pt x="10" y="5"/>
                  </a:lnTo>
                  <a:lnTo>
                    <a:pt x="15" y="3"/>
                  </a:lnTo>
                  <a:lnTo>
                    <a:pt x="20" y="0"/>
                  </a:lnTo>
                  <a:lnTo>
                    <a:pt x="27" y="0"/>
                  </a:lnTo>
                  <a:lnTo>
                    <a:pt x="35" y="0"/>
                  </a:lnTo>
                  <a:lnTo>
                    <a:pt x="40" y="3"/>
                  </a:lnTo>
                  <a:lnTo>
                    <a:pt x="45" y="5"/>
                  </a:lnTo>
                  <a:lnTo>
                    <a:pt x="50" y="11"/>
                  </a:lnTo>
                  <a:lnTo>
                    <a:pt x="52" y="16"/>
                  </a:lnTo>
                  <a:lnTo>
                    <a:pt x="52" y="21"/>
                  </a:lnTo>
                  <a:lnTo>
                    <a:pt x="45" y="21"/>
                  </a:lnTo>
                  <a:lnTo>
                    <a:pt x="42" y="16"/>
                  </a:lnTo>
                  <a:lnTo>
                    <a:pt x="40" y="11"/>
                  </a:lnTo>
                  <a:lnTo>
                    <a:pt x="35" y="8"/>
                  </a:lnTo>
                  <a:lnTo>
                    <a:pt x="27" y="8"/>
                  </a:lnTo>
                  <a:lnTo>
                    <a:pt x="20" y="8"/>
                  </a:lnTo>
                  <a:lnTo>
                    <a:pt x="15" y="11"/>
                  </a:lnTo>
                  <a:lnTo>
                    <a:pt x="12" y="16"/>
                  </a:lnTo>
                  <a:lnTo>
                    <a:pt x="12" y="18"/>
                  </a:lnTo>
                  <a:lnTo>
                    <a:pt x="12" y="21"/>
                  </a:lnTo>
                  <a:lnTo>
                    <a:pt x="15" y="26"/>
                  </a:lnTo>
                  <a:lnTo>
                    <a:pt x="20" y="28"/>
                  </a:lnTo>
                  <a:lnTo>
                    <a:pt x="27" y="28"/>
                  </a:lnTo>
                  <a:lnTo>
                    <a:pt x="37" y="31"/>
                  </a:lnTo>
                  <a:lnTo>
                    <a:pt x="42" y="33"/>
                  </a:lnTo>
                  <a:lnTo>
                    <a:pt x="47" y="36"/>
                  </a:lnTo>
                  <a:lnTo>
                    <a:pt x="52" y="41"/>
                  </a:lnTo>
                  <a:lnTo>
                    <a:pt x="54" y="46"/>
                  </a:lnTo>
                  <a:lnTo>
                    <a:pt x="54" y="51"/>
                  </a:lnTo>
                  <a:lnTo>
                    <a:pt x="54" y="56"/>
                  </a:lnTo>
                  <a:lnTo>
                    <a:pt x="52" y="61"/>
                  </a:lnTo>
                  <a:lnTo>
                    <a:pt x="47" y="66"/>
                  </a:lnTo>
                  <a:lnTo>
                    <a:pt x="42" y="68"/>
                  </a:lnTo>
                  <a:lnTo>
                    <a:pt x="37" y="71"/>
                  </a:lnTo>
                  <a:lnTo>
                    <a:pt x="30" y="71"/>
                  </a:lnTo>
                  <a:lnTo>
                    <a:pt x="20" y="71"/>
                  </a:lnTo>
                  <a:lnTo>
                    <a:pt x="15" y="68"/>
                  </a:lnTo>
                  <a:lnTo>
                    <a:pt x="7" y="66"/>
                  </a:lnTo>
                  <a:lnTo>
                    <a:pt x="5" y="61"/>
                  </a:lnTo>
                  <a:lnTo>
                    <a:pt x="2" y="53"/>
                  </a:lnTo>
                  <a:lnTo>
                    <a:pt x="0" y="48"/>
                  </a:lnTo>
                  <a:close/>
                  <a:moveTo>
                    <a:pt x="84" y="63"/>
                  </a:moveTo>
                  <a:lnTo>
                    <a:pt x="84" y="71"/>
                  </a:lnTo>
                  <a:lnTo>
                    <a:pt x="82" y="71"/>
                  </a:lnTo>
                  <a:lnTo>
                    <a:pt x="79" y="71"/>
                  </a:lnTo>
                  <a:lnTo>
                    <a:pt x="74" y="71"/>
                  </a:lnTo>
                  <a:lnTo>
                    <a:pt x="72" y="68"/>
                  </a:lnTo>
                  <a:lnTo>
                    <a:pt x="69" y="68"/>
                  </a:lnTo>
                  <a:lnTo>
                    <a:pt x="67" y="66"/>
                  </a:lnTo>
                  <a:lnTo>
                    <a:pt x="67" y="61"/>
                  </a:lnTo>
                  <a:lnTo>
                    <a:pt x="67" y="56"/>
                  </a:lnTo>
                  <a:lnTo>
                    <a:pt x="67" y="26"/>
                  </a:lnTo>
                  <a:lnTo>
                    <a:pt x="62" y="26"/>
                  </a:lnTo>
                  <a:lnTo>
                    <a:pt x="62" y="21"/>
                  </a:lnTo>
                  <a:lnTo>
                    <a:pt x="67" y="21"/>
                  </a:lnTo>
                  <a:lnTo>
                    <a:pt x="67" y="8"/>
                  </a:lnTo>
                  <a:lnTo>
                    <a:pt x="74" y="3"/>
                  </a:lnTo>
                  <a:lnTo>
                    <a:pt x="74" y="21"/>
                  </a:lnTo>
                  <a:lnTo>
                    <a:pt x="84" y="21"/>
                  </a:lnTo>
                  <a:lnTo>
                    <a:pt x="84" y="26"/>
                  </a:lnTo>
                  <a:lnTo>
                    <a:pt x="74" y="26"/>
                  </a:lnTo>
                  <a:lnTo>
                    <a:pt x="74" y="56"/>
                  </a:lnTo>
                  <a:lnTo>
                    <a:pt x="74" y="58"/>
                  </a:lnTo>
                  <a:lnTo>
                    <a:pt x="74" y="61"/>
                  </a:lnTo>
                  <a:lnTo>
                    <a:pt x="77" y="61"/>
                  </a:lnTo>
                  <a:lnTo>
                    <a:pt x="79" y="63"/>
                  </a:lnTo>
                  <a:lnTo>
                    <a:pt x="82" y="63"/>
                  </a:lnTo>
                  <a:lnTo>
                    <a:pt x="84" y="63"/>
                  </a:lnTo>
                  <a:close/>
                  <a:moveTo>
                    <a:pt x="92" y="71"/>
                  </a:moveTo>
                  <a:lnTo>
                    <a:pt x="92" y="21"/>
                  </a:lnTo>
                  <a:lnTo>
                    <a:pt x="99" y="21"/>
                  </a:lnTo>
                  <a:lnTo>
                    <a:pt x="99" y="28"/>
                  </a:lnTo>
                  <a:lnTo>
                    <a:pt x="102" y="23"/>
                  </a:lnTo>
                  <a:lnTo>
                    <a:pt x="104" y="21"/>
                  </a:lnTo>
                  <a:lnTo>
                    <a:pt x="107" y="21"/>
                  </a:lnTo>
                  <a:lnTo>
                    <a:pt x="109" y="18"/>
                  </a:lnTo>
                  <a:lnTo>
                    <a:pt x="114" y="21"/>
                  </a:lnTo>
                  <a:lnTo>
                    <a:pt x="119" y="21"/>
                  </a:lnTo>
                  <a:lnTo>
                    <a:pt x="117" y="31"/>
                  </a:lnTo>
                  <a:lnTo>
                    <a:pt x="112" y="28"/>
                  </a:lnTo>
                  <a:lnTo>
                    <a:pt x="109" y="28"/>
                  </a:lnTo>
                  <a:lnTo>
                    <a:pt x="107" y="28"/>
                  </a:lnTo>
                  <a:lnTo>
                    <a:pt x="104" y="31"/>
                  </a:lnTo>
                  <a:lnTo>
                    <a:pt x="102" y="31"/>
                  </a:lnTo>
                  <a:lnTo>
                    <a:pt x="102" y="33"/>
                  </a:lnTo>
                  <a:lnTo>
                    <a:pt x="99" y="38"/>
                  </a:lnTo>
                  <a:lnTo>
                    <a:pt x="99" y="43"/>
                  </a:lnTo>
                  <a:lnTo>
                    <a:pt x="99" y="71"/>
                  </a:lnTo>
                  <a:lnTo>
                    <a:pt x="92" y="71"/>
                  </a:lnTo>
                  <a:close/>
                  <a:moveTo>
                    <a:pt x="156" y="63"/>
                  </a:moveTo>
                  <a:lnTo>
                    <a:pt x="151" y="66"/>
                  </a:lnTo>
                  <a:lnTo>
                    <a:pt x="146" y="68"/>
                  </a:lnTo>
                  <a:lnTo>
                    <a:pt x="141" y="71"/>
                  </a:lnTo>
                  <a:lnTo>
                    <a:pt x="136" y="71"/>
                  </a:lnTo>
                  <a:lnTo>
                    <a:pt x="129" y="71"/>
                  </a:lnTo>
                  <a:lnTo>
                    <a:pt x="124" y="66"/>
                  </a:lnTo>
                  <a:lnTo>
                    <a:pt x="122" y="63"/>
                  </a:lnTo>
                  <a:lnTo>
                    <a:pt x="122" y="56"/>
                  </a:lnTo>
                  <a:lnTo>
                    <a:pt x="122" y="53"/>
                  </a:lnTo>
                  <a:lnTo>
                    <a:pt x="122" y="51"/>
                  </a:lnTo>
                  <a:lnTo>
                    <a:pt x="124" y="48"/>
                  </a:lnTo>
                  <a:lnTo>
                    <a:pt x="127" y="46"/>
                  </a:lnTo>
                  <a:lnTo>
                    <a:pt x="129" y="43"/>
                  </a:lnTo>
                  <a:lnTo>
                    <a:pt x="131" y="43"/>
                  </a:lnTo>
                  <a:lnTo>
                    <a:pt x="136" y="41"/>
                  </a:lnTo>
                  <a:lnTo>
                    <a:pt x="139" y="41"/>
                  </a:lnTo>
                  <a:lnTo>
                    <a:pt x="149" y="41"/>
                  </a:lnTo>
                  <a:lnTo>
                    <a:pt x="154" y="38"/>
                  </a:lnTo>
                  <a:lnTo>
                    <a:pt x="154" y="36"/>
                  </a:lnTo>
                  <a:lnTo>
                    <a:pt x="154" y="31"/>
                  </a:lnTo>
                  <a:lnTo>
                    <a:pt x="151" y="28"/>
                  </a:lnTo>
                  <a:lnTo>
                    <a:pt x="149" y="26"/>
                  </a:lnTo>
                  <a:lnTo>
                    <a:pt x="144" y="26"/>
                  </a:lnTo>
                  <a:lnTo>
                    <a:pt x="139" y="26"/>
                  </a:lnTo>
                  <a:lnTo>
                    <a:pt x="134" y="28"/>
                  </a:lnTo>
                  <a:lnTo>
                    <a:pt x="131" y="31"/>
                  </a:lnTo>
                  <a:lnTo>
                    <a:pt x="129" y="36"/>
                  </a:lnTo>
                  <a:lnTo>
                    <a:pt x="122" y="33"/>
                  </a:lnTo>
                  <a:lnTo>
                    <a:pt x="124" y="31"/>
                  </a:lnTo>
                  <a:lnTo>
                    <a:pt x="127" y="26"/>
                  </a:lnTo>
                  <a:lnTo>
                    <a:pt x="129" y="23"/>
                  </a:lnTo>
                  <a:lnTo>
                    <a:pt x="134" y="21"/>
                  </a:lnTo>
                  <a:lnTo>
                    <a:pt x="139" y="21"/>
                  </a:lnTo>
                  <a:lnTo>
                    <a:pt x="144" y="18"/>
                  </a:lnTo>
                  <a:lnTo>
                    <a:pt x="149" y="21"/>
                  </a:lnTo>
                  <a:lnTo>
                    <a:pt x="154" y="21"/>
                  </a:lnTo>
                  <a:lnTo>
                    <a:pt x="159" y="23"/>
                  </a:lnTo>
                  <a:lnTo>
                    <a:pt x="161" y="23"/>
                  </a:lnTo>
                  <a:lnTo>
                    <a:pt x="161" y="28"/>
                  </a:lnTo>
                  <a:lnTo>
                    <a:pt x="164" y="31"/>
                  </a:lnTo>
                  <a:lnTo>
                    <a:pt x="164" y="33"/>
                  </a:lnTo>
                  <a:lnTo>
                    <a:pt x="164" y="38"/>
                  </a:lnTo>
                  <a:lnTo>
                    <a:pt x="164" y="48"/>
                  </a:lnTo>
                  <a:lnTo>
                    <a:pt x="164" y="58"/>
                  </a:lnTo>
                  <a:lnTo>
                    <a:pt x="164" y="63"/>
                  </a:lnTo>
                  <a:lnTo>
                    <a:pt x="164" y="66"/>
                  </a:lnTo>
                  <a:lnTo>
                    <a:pt x="166" y="71"/>
                  </a:lnTo>
                  <a:lnTo>
                    <a:pt x="156" y="71"/>
                  </a:lnTo>
                  <a:lnTo>
                    <a:pt x="156" y="66"/>
                  </a:lnTo>
                  <a:lnTo>
                    <a:pt x="156" y="63"/>
                  </a:lnTo>
                  <a:close/>
                  <a:moveTo>
                    <a:pt x="154" y="46"/>
                  </a:moveTo>
                  <a:lnTo>
                    <a:pt x="149" y="46"/>
                  </a:lnTo>
                  <a:lnTo>
                    <a:pt x="141" y="48"/>
                  </a:lnTo>
                  <a:lnTo>
                    <a:pt x="136" y="48"/>
                  </a:lnTo>
                  <a:lnTo>
                    <a:pt x="134" y="51"/>
                  </a:lnTo>
                  <a:lnTo>
                    <a:pt x="131" y="51"/>
                  </a:lnTo>
                  <a:lnTo>
                    <a:pt x="131" y="53"/>
                  </a:lnTo>
                  <a:lnTo>
                    <a:pt x="129" y="53"/>
                  </a:lnTo>
                  <a:lnTo>
                    <a:pt x="129" y="56"/>
                  </a:lnTo>
                  <a:lnTo>
                    <a:pt x="129" y="61"/>
                  </a:lnTo>
                  <a:lnTo>
                    <a:pt x="131" y="63"/>
                  </a:lnTo>
                  <a:lnTo>
                    <a:pt x="134" y="63"/>
                  </a:lnTo>
                  <a:lnTo>
                    <a:pt x="139" y="63"/>
                  </a:lnTo>
                  <a:lnTo>
                    <a:pt x="144" y="63"/>
                  </a:lnTo>
                  <a:lnTo>
                    <a:pt x="149" y="63"/>
                  </a:lnTo>
                  <a:lnTo>
                    <a:pt x="151" y="61"/>
                  </a:lnTo>
                  <a:lnTo>
                    <a:pt x="154" y="56"/>
                  </a:lnTo>
                  <a:lnTo>
                    <a:pt x="154" y="53"/>
                  </a:lnTo>
                  <a:lnTo>
                    <a:pt x="154" y="48"/>
                  </a:lnTo>
                  <a:lnTo>
                    <a:pt x="154" y="46"/>
                  </a:lnTo>
                  <a:close/>
                  <a:moveTo>
                    <a:pt x="194" y="63"/>
                  </a:moveTo>
                  <a:lnTo>
                    <a:pt x="196" y="71"/>
                  </a:lnTo>
                  <a:lnTo>
                    <a:pt x="191" y="71"/>
                  </a:lnTo>
                  <a:lnTo>
                    <a:pt x="189" y="71"/>
                  </a:lnTo>
                  <a:lnTo>
                    <a:pt x="186" y="71"/>
                  </a:lnTo>
                  <a:lnTo>
                    <a:pt x="181" y="68"/>
                  </a:lnTo>
                  <a:lnTo>
                    <a:pt x="179" y="66"/>
                  </a:lnTo>
                  <a:lnTo>
                    <a:pt x="179" y="61"/>
                  </a:lnTo>
                  <a:lnTo>
                    <a:pt x="179" y="56"/>
                  </a:lnTo>
                  <a:lnTo>
                    <a:pt x="179" y="26"/>
                  </a:lnTo>
                  <a:lnTo>
                    <a:pt x="171" y="26"/>
                  </a:lnTo>
                  <a:lnTo>
                    <a:pt x="171" y="21"/>
                  </a:lnTo>
                  <a:lnTo>
                    <a:pt x="179" y="21"/>
                  </a:lnTo>
                  <a:lnTo>
                    <a:pt x="179" y="8"/>
                  </a:lnTo>
                  <a:lnTo>
                    <a:pt x="186" y="3"/>
                  </a:lnTo>
                  <a:lnTo>
                    <a:pt x="186" y="21"/>
                  </a:lnTo>
                  <a:lnTo>
                    <a:pt x="194" y="21"/>
                  </a:lnTo>
                  <a:lnTo>
                    <a:pt x="194" y="26"/>
                  </a:lnTo>
                  <a:lnTo>
                    <a:pt x="186" y="26"/>
                  </a:lnTo>
                  <a:lnTo>
                    <a:pt x="186" y="56"/>
                  </a:lnTo>
                  <a:lnTo>
                    <a:pt x="186" y="58"/>
                  </a:lnTo>
                  <a:lnTo>
                    <a:pt x="186" y="61"/>
                  </a:lnTo>
                  <a:lnTo>
                    <a:pt x="189" y="61"/>
                  </a:lnTo>
                  <a:lnTo>
                    <a:pt x="189" y="63"/>
                  </a:lnTo>
                  <a:lnTo>
                    <a:pt x="191" y="63"/>
                  </a:lnTo>
                  <a:lnTo>
                    <a:pt x="194" y="63"/>
                  </a:lnTo>
                  <a:close/>
                  <a:moveTo>
                    <a:pt x="236" y="53"/>
                  </a:moveTo>
                  <a:lnTo>
                    <a:pt x="246" y="56"/>
                  </a:lnTo>
                  <a:lnTo>
                    <a:pt x="241" y="61"/>
                  </a:lnTo>
                  <a:lnTo>
                    <a:pt x="238" y="66"/>
                  </a:lnTo>
                  <a:lnTo>
                    <a:pt x="231" y="71"/>
                  </a:lnTo>
                  <a:lnTo>
                    <a:pt x="223" y="71"/>
                  </a:lnTo>
                  <a:lnTo>
                    <a:pt x="213" y="68"/>
                  </a:lnTo>
                  <a:lnTo>
                    <a:pt x="206" y="63"/>
                  </a:lnTo>
                  <a:lnTo>
                    <a:pt x="201" y="56"/>
                  </a:lnTo>
                  <a:lnTo>
                    <a:pt x="199" y="46"/>
                  </a:lnTo>
                  <a:lnTo>
                    <a:pt x="201" y="33"/>
                  </a:lnTo>
                  <a:lnTo>
                    <a:pt x="206" y="26"/>
                  </a:lnTo>
                  <a:lnTo>
                    <a:pt x="213" y="21"/>
                  </a:lnTo>
                  <a:lnTo>
                    <a:pt x="223" y="18"/>
                  </a:lnTo>
                  <a:lnTo>
                    <a:pt x="231" y="21"/>
                  </a:lnTo>
                  <a:lnTo>
                    <a:pt x="238" y="26"/>
                  </a:lnTo>
                  <a:lnTo>
                    <a:pt x="243" y="33"/>
                  </a:lnTo>
                  <a:lnTo>
                    <a:pt x="246" y="46"/>
                  </a:lnTo>
                  <a:lnTo>
                    <a:pt x="246" y="48"/>
                  </a:lnTo>
                  <a:lnTo>
                    <a:pt x="208" y="48"/>
                  </a:lnTo>
                  <a:lnTo>
                    <a:pt x="208" y="53"/>
                  </a:lnTo>
                  <a:lnTo>
                    <a:pt x="213" y="61"/>
                  </a:lnTo>
                  <a:lnTo>
                    <a:pt x="218" y="63"/>
                  </a:lnTo>
                  <a:lnTo>
                    <a:pt x="223" y="63"/>
                  </a:lnTo>
                  <a:lnTo>
                    <a:pt x="228" y="63"/>
                  </a:lnTo>
                  <a:lnTo>
                    <a:pt x="231" y="61"/>
                  </a:lnTo>
                  <a:lnTo>
                    <a:pt x="233" y="58"/>
                  </a:lnTo>
                  <a:lnTo>
                    <a:pt x="236" y="53"/>
                  </a:lnTo>
                  <a:close/>
                  <a:moveTo>
                    <a:pt x="208" y="41"/>
                  </a:moveTo>
                  <a:lnTo>
                    <a:pt x="236" y="41"/>
                  </a:lnTo>
                  <a:lnTo>
                    <a:pt x="236" y="36"/>
                  </a:lnTo>
                  <a:lnTo>
                    <a:pt x="233" y="31"/>
                  </a:lnTo>
                  <a:lnTo>
                    <a:pt x="228" y="28"/>
                  </a:lnTo>
                  <a:lnTo>
                    <a:pt x="223" y="26"/>
                  </a:lnTo>
                  <a:lnTo>
                    <a:pt x="218" y="28"/>
                  </a:lnTo>
                  <a:lnTo>
                    <a:pt x="213" y="31"/>
                  </a:lnTo>
                  <a:lnTo>
                    <a:pt x="211" y="33"/>
                  </a:lnTo>
                  <a:lnTo>
                    <a:pt x="208" y="41"/>
                  </a:lnTo>
                  <a:close/>
                  <a:moveTo>
                    <a:pt x="253" y="73"/>
                  </a:moveTo>
                  <a:lnTo>
                    <a:pt x="261" y="76"/>
                  </a:lnTo>
                  <a:lnTo>
                    <a:pt x="263" y="78"/>
                  </a:lnTo>
                  <a:lnTo>
                    <a:pt x="266" y="81"/>
                  </a:lnTo>
                  <a:lnTo>
                    <a:pt x="268" y="83"/>
                  </a:lnTo>
                  <a:lnTo>
                    <a:pt x="273" y="83"/>
                  </a:lnTo>
                  <a:lnTo>
                    <a:pt x="278" y="83"/>
                  </a:lnTo>
                  <a:lnTo>
                    <a:pt x="283" y="81"/>
                  </a:lnTo>
                  <a:lnTo>
                    <a:pt x="285" y="78"/>
                  </a:lnTo>
                  <a:lnTo>
                    <a:pt x="285" y="73"/>
                  </a:lnTo>
                  <a:lnTo>
                    <a:pt x="285" y="71"/>
                  </a:lnTo>
                  <a:lnTo>
                    <a:pt x="288" y="63"/>
                  </a:lnTo>
                  <a:lnTo>
                    <a:pt x="280" y="68"/>
                  </a:lnTo>
                  <a:lnTo>
                    <a:pt x="273" y="71"/>
                  </a:lnTo>
                  <a:lnTo>
                    <a:pt x="263" y="68"/>
                  </a:lnTo>
                  <a:lnTo>
                    <a:pt x="258" y="63"/>
                  </a:lnTo>
                  <a:lnTo>
                    <a:pt x="253" y="53"/>
                  </a:lnTo>
                  <a:lnTo>
                    <a:pt x="251" y="46"/>
                  </a:lnTo>
                  <a:lnTo>
                    <a:pt x="253" y="38"/>
                  </a:lnTo>
                  <a:lnTo>
                    <a:pt x="256" y="31"/>
                  </a:lnTo>
                  <a:lnTo>
                    <a:pt x="258" y="26"/>
                  </a:lnTo>
                  <a:lnTo>
                    <a:pt x="261" y="23"/>
                  </a:lnTo>
                  <a:lnTo>
                    <a:pt x="268" y="21"/>
                  </a:lnTo>
                  <a:lnTo>
                    <a:pt x="273" y="18"/>
                  </a:lnTo>
                  <a:lnTo>
                    <a:pt x="280" y="21"/>
                  </a:lnTo>
                  <a:lnTo>
                    <a:pt x="288" y="26"/>
                  </a:lnTo>
                  <a:lnTo>
                    <a:pt x="288" y="21"/>
                  </a:lnTo>
                  <a:lnTo>
                    <a:pt x="295" y="21"/>
                  </a:lnTo>
                  <a:lnTo>
                    <a:pt x="295" y="63"/>
                  </a:lnTo>
                  <a:lnTo>
                    <a:pt x="295" y="73"/>
                  </a:lnTo>
                  <a:lnTo>
                    <a:pt x="293" y="78"/>
                  </a:lnTo>
                  <a:lnTo>
                    <a:pt x="290" y="83"/>
                  </a:lnTo>
                  <a:lnTo>
                    <a:pt x="285" y="86"/>
                  </a:lnTo>
                  <a:lnTo>
                    <a:pt x="280" y="88"/>
                  </a:lnTo>
                  <a:lnTo>
                    <a:pt x="273" y="91"/>
                  </a:lnTo>
                  <a:lnTo>
                    <a:pt x="266" y="88"/>
                  </a:lnTo>
                  <a:lnTo>
                    <a:pt x="258" y="86"/>
                  </a:lnTo>
                  <a:lnTo>
                    <a:pt x="256" y="81"/>
                  </a:lnTo>
                  <a:lnTo>
                    <a:pt x="253" y="73"/>
                  </a:lnTo>
                  <a:close/>
                  <a:moveTo>
                    <a:pt x="261" y="43"/>
                  </a:moveTo>
                  <a:lnTo>
                    <a:pt x="261" y="53"/>
                  </a:lnTo>
                  <a:lnTo>
                    <a:pt x="263" y="58"/>
                  </a:lnTo>
                  <a:lnTo>
                    <a:pt x="268" y="61"/>
                  </a:lnTo>
                  <a:lnTo>
                    <a:pt x="273" y="63"/>
                  </a:lnTo>
                  <a:lnTo>
                    <a:pt x="278" y="61"/>
                  </a:lnTo>
                  <a:lnTo>
                    <a:pt x="283" y="58"/>
                  </a:lnTo>
                  <a:lnTo>
                    <a:pt x="285" y="53"/>
                  </a:lnTo>
                  <a:lnTo>
                    <a:pt x="288" y="43"/>
                  </a:lnTo>
                  <a:lnTo>
                    <a:pt x="285" y="36"/>
                  </a:lnTo>
                  <a:lnTo>
                    <a:pt x="283" y="31"/>
                  </a:lnTo>
                  <a:lnTo>
                    <a:pt x="278" y="28"/>
                  </a:lnTo>
                  <a:lnTo>
                    <a:pt x="273" y="26"/>
                  </a:lnTo>
                  <a:lnTo>
                    <a:pt x="268" y="28"/>
                  </a:lnTo>
                  <a:lnTo>
                    <a:pt x="263" y="31"/>
                  </a:lnTo>
                  <a:lnTo>
                    <a:pt x="261" y="36"/>
                  </a:lnTo>
                  <a:lnTo>
                    <a:pt x="261" y="43"/>
                  </a:lnTo>
                  <a:close/>
                  <a:moveTo>
                    <a:pt x="402" y="71"/>
                  </a:moveTo>
                  <a:lnTo>
                    <a:pt x="402" y="0"/>
                  </a:lnTo>
                  <a:lnTo>
                    <a:pt x="427" y="0"/>
                  </a:lnTo>
                  <a:lnTo>
                    <a:pt x="434" y="3"/>
                  </a:lnTo>
                  <a:lnTo>
                    <a:pt x="439" y="3"/>
                  </a:lnTo>
                  <a:lnTo>
                    <a:pt x="444" y="5"/>
                  </a:lnTo>
                  <a:lnTo>
                    <a:pt x="447" y="11"/>
                  </a:lnTo>
                  <a:lnTo>
                    <a:pt x="449" y="13"/>
                  </a:lnTo>
                  <a:lnTo>
                    <a:pt x="449" y="18"/>
                  </a:lnTo>
                  <a:lnTo>
                    <a:pt x="449" y="23"/>
                  </a:lnTo>
                  <a:lnTo>
                    <a:pt x="449" y="28"/>
                  </a:lnTo>
                  <a:lnTo>
                    <a:pt x="444" y="31"/>
                  </a:lnTo>
                  <a:lnTo>
                    <a:pt x="442" y="33"/>
                  </a:lnTo>
                  <a:lnTo>
                    <a:pt x="447" y="36"/>
                  </a:lnTo>
                  <a:lnTo>
                    <a:pt x="449" y="41"/>
                  </a:lnTo>
                  <a:lnTo>
                    <a:pt x="452" y="43"/>
                  </a:lnTo>
                  <a:lnTo>
                    <a:pt x="454" y="51"/>
                  </a:lnTo>
                  <a:lnTo>
                    <a:pt x="454" y="56"/>
                  </a:lnTo>
                  <a:lnTo>
                    <a:pt x="452" y="58"/>
                  </a:lnTo>
                  <a:lnTo>
                    <a:pt x="449" y="63"/>
                  </a:lnTo>
                  <a:lnTo>
                    <a:pt x="447" y="66"/>
                  </a:lnTo>
                  <a:lnTo>
                    <a:pt x="444" y="68"/>
                  </a:lnTo>
                  <a:lnTo>
                    <a:pt x="439" y="68"/>
                  </a:lnTo>
                  <a:lnTo>
                    <a:pt x="434" y="68"/>
                  </a:lnTo>
                  <a:lnTo>
                    <a:pt x="430" y="71"/>
                  </a:lnTo>
                  <a:lnTo>
                    <a:pt x="402" y="71"/>
                  </a:lnTo>
                  <a:close/>
                  <a:moveTo>
                    <a:pt x="412" y="31"/>
                  </a:moveTo>
                  <a:lnTo>
                    <a:pt x="427" y="31"/>
                  </a:lnTo>
                  <a:lnTo>
                    <a:pt x="432" y="31"/>
                  </a:lnTo>
                  <a:lnTo>
                    <a:pt x="434" y="28"/>
                  </a:lnTo>
                  <a:lnTo>
                    <a:pt x="437" y="28"/>
                  </a:lnTo>
                  <a:lnTo>
                    <a:pt x="439" y="26"/>
                  </a:lnTo>
                  <a:lnTo>
                    <a:pt x="442" y="23"/>
                  </a:lnTo>
                  <a:lnTo>
                    <a:pt x="442" y="21"/>
                  </a:lnTo>
                  <a:lnTo>
                    <a:pt x="442" y="16"/>
                  </a:lnTo>
                  <a:lnTo>
                    <a:pt x="439" y="13"/>
                  </a:lnTo>
                  <a:lnTo>
                    <a:pt x="437" y="11"/>
                  </a:lnTo>
                  <a:lnTo>
                    <a:pt x="434" y="11"/>
                  </a:lnTo>
                  <a:lnTo>
                    <a:pt x="432" y="11"/>
                  </a:lnTo>
                  <a:lnTo>
                    <a:pt x="425" y="11"/>
                  </a:lnTo>
                  <a:lnTo>
                    <a:pt x="412" y="11"/>
                  </a:lnTo>
                  <a:lnTo>
                    <a:pt x="412" y="31"/>
                  </a:lnTo>
                  <a:close/>
                  <a:moveTo>
                    <a:pt x="412" y="61"/>
                  </a:moveTo>
                  <a:lnTo>
                    <a:pt x="430" y="61"/>
                  </a:lnTo>
                  <a:lnTo>
                    <a:pt x="432" y="61"/>
                  </a:lnTo>
                  <a:lnTo>
                    <a:pt x="434" y="61"/>
                  </a:lnTo>
                  <a:lnTo>
                    <a:pt x="437" y="61"/>
                  </a:lnTo>
                  <a:lnTo>
                    <a:pt x="439" y="58"/>
                  </a:lnTo>
                  <a:lnTo>
                    <a:pt x="442" y="58"/>
                  </a:lnTo>
                  <a:lnTo>
                    <a:pt x="444" y="56"/>
                  </a:lnTo>
                  <a:lnTo>
                    <a:pt x="444" y="53"/>
                  </a:lnTo>
                  <a:lnTo>
                    <a:pt x="444" y="51"/>
                  </a:lnTo>
                  <a:lnTo>
                    <a:pt x="444" y="46"/>
                  </a:lnTo>
                  <a:lnTo>
                    <a:pt x="442" y="43"/>
                  </a:lnTo>
                  <a:lnTo>
                    <a:pt x="439" y="41"/>
                  </a:lnTo>
                  <a:lnTo>
                    <a:pt x="437" y="38"/>
                  </a:lnTo>
                  <a:lnTo>
                    <a:pt x="432" y="38"/>
                  </a:lnTo>
                  <a:lnTo>
                    <a:pt x="427" y="38"/>
                  </a:lnTo>
                  <a:lnTo>
                    <a:pt x="412" y="38"/>
                  </a:lnTo>
                  <a:lnTo>
                    <a:pt x="412" y="61"/>
                  </a:lnTo>
                  <a:close/>
                  <a:moveTo>
                    <a:pt x="497" y="71"/>
                  </a:moveTo>
                  <a:lnTo>
                    <a:pt x="497" y="63"/>
                  </a:lnTo>
                  <a:lnTo>
                    <a:pt x="492" y="68"/>
                  </a:lnTo>
                  <a:lnTo>
                    <a:pt x="482" y="71"/>
                  </a:lnTo>
                  <a:lnTo>
                    <a:pt x="477" y="71"/>
                  </a:lnTo>
                  <a:lnTo>
                    <a:pt x="474" y="68"/>
                  </a:lnTo>
                  <a:lnTo>
                    <a:pt x="469" y="68"/>
                  </a:lnTo>
                  <a:lnTo>
                    <a:pt x="469" y="66"/>
                  </a:lnTo>
                  <a:lnTo>
                    <a:pt x="467" y="63"/>
                  </a:lnTo>
                  <a:lnTo>
                    <a:pt x="464" y="58"/>
                  </a:lnTo>
                  <a:lnTo>
                    <a:pt x="464" y="56"/>
                  </a:lnTo>
                  <a:lnTo>
                    <a:pt x="464" y="51"/>
                  </a:lnTo>
                  <a:lnTo>
                    <a:pt x="464" y="21"/>
                  </a:lnTo>
                  <a:lnTo>
                    <a:pt x="474" y="21"/>
                  </a:lnTo>
                  <a:lnTo>
                    <a:pt x="474" y="48"/>
                  </a:lnTo>
                  <a:lnTo>
                    <a:pt x="474" y="53"/>
                  </a:lnTo>
                  <a:lnTo>
                    <a:pt x="474" y="56"/>
                  </a:lnTo>
                  <a:lnTo>
                    <a:pt x="474" y="58"/>
                  </a:lnTo>
                  <a:lnTo>
                    <a:pt x="477" y="61"/>
                  </a:lnTo>
                  <a:lnTo>
                    <a:pt x="479" y="63"/>
                  </a:lnTo>
                  <a:lnTo>
                    <a:pt x="484" y="63"/>
                  </a:lnTo>
                  <a:lnTo>
                    <a:pt x="487" y="63"/>
                  </a:lnTo>
                  <a:lnTo>
                    <a:pt x="492" y="61"/>
                  </a:lnTo>
                  <a:lnTo>
                    <a:pt x="494" y="58"/>
                  </a:lnTo>
                  <a:lnTo>
                    <a:pt x="494" y="56"/>
                  </a:lnTo>
                  <a:lnTo>
                    <a:pt x="497" y="53"/>
                  </a:lnTo>
                  <a:lnTo>
                    <a:pt x="497" y="46"/>
                  </a:lnTo>
                  <a:lnTo>
                    <a:pt x="497" y="21"/>
                  </a:lnTo>
                  <a:lnTo>
                    <a:pt x="504" y="21"/>
                  </a:lnTo>
                  <a:lnTo>
                    <a:pt x="504" y="71"/>
                  </a:lnTo>
                  <a:lnTo>
                    <a:pt x="497" y="71"/>
                  </a:lnTo>
                  <a:close/>
                  <a:moveTo>
                    <a:pt x="514" y="56"/>
                  </a:moveTo>
                  <a:lnTo>
                    <a:pt x="524" y="53"/>
                  </a:lnTo>
                  <a:lnTo>
                    <a:pt x="524" y="58"/>
                  </a:lnTo>
                  <a:lnTo>
                    <a:pt x="526" y="61"/>
                  </a:lnTo>
                  <a:lnTo>
                    <a:pt x="531" y="63"/>
                  </a:lnTo>
                  <a:lnTo>
                    <a:pt x="536" y="63"/>
                  </a:lnTo>
                  <a:lnTo>
                    <a:pt x="541" y="63"/>
                  </a:lnTo>
                  <a:lnTo>
                    <a:pt x="544" y="61"/>
                  </a:lnTo>
                  <a:lnTo>
                    <a:pt x="546" y="58"/>
                  </a:lnTo>
                  <a:lnTo>
                    <a:pt x="546" y="56"/>
                  </a:lnTo>
                  <a:lnTo>
                    <a:pt x="546" y="53"/>
                  </a:lnTo>
                  <a:lnTo>
                    <a:pt x="544" y="51"/>
                  </a:lnTo>
                  <a:lnTo>
                    <a:pt x="541" y="51"/>
                  </a:lnTo>
                  <a:lnTo>
                    <a:pt x="536" y="48"/>
                  </a:lnTo>
                  <a:lnTo>
                    <a:pt x="529" y="46"/>
                  </a:lnTo>
                  <a:lnTo>
                    <a:pt x="524" y="46"/>
                  </a:lnTo>
                  <a:lnTo>
                    <a:pt x="519" y="43"/>
                  </a:lnTo>
                  <a:lnTo>
                    <a:pt x="519" y="41"/>
                  </a:lnTo>
                  <a:lnTo>
                    <a:pt x="516" y="36"/>
                  </a:lnTo>
                  <a:lnTo>
                    <a:pt x="516" y="33"/>
                  </a:lnTo>
                  <a:lnTo>
                    <a:pt x="516" y="31"/>
                  </a:lnTo>
                  <a:lnTo>
                    <a:pt x="516" y="28"/>
                  </a:lnTo>
                  <a:lnTo>
                    <a:pt x="519" y="26"/>
                  </a:lnTo>
                  <a:lnTo>
                    <a:pt x="521" y="23"/>
                  </a:lnTo>
                  <a:lnTo>
                    <a:pt x="524" y="21"/>
                  </a:lnTo>
                  <a:lnTo>
                    <a:pt x="526" y="21"/>
                  </a:lnTo>
                  <a:lnTo>
                    <a:pt x="531" y="18"/>
                  </a:lnTo>
                  <a:lnTo>
                    <a:pt x="534" y="18"/>
                  </a:lnTo>
                  <a:lnTo>
                    <a:pt x="539" y="21"/>
                  </a:lnTo>
                  <a:lnTo>
                    <a:pt x="544" y="21"/>
                  </a:lnTo>
                  <a:lnTo>
                    <a:pt x="549" y="23"/>
                  </a:lnTo>
                  <a:lnTo>
                    <a:pt x="551" y="26"/>
                  </a:lnTo>
                  <a:lnTo>
                    <a:pt x="551" y="28"/>
                  </a:lnTo>
                  <a:lnTo>
                    <a:pt x="554" y="33"/>
                  </a:lnTo>
                  <a:lnTo>
                    <a:pt x="546" y="33"/>
                  </a:lnTo>
                  <a:lnTo>
                    <a:pt x="544" y="31"/>
                  </a:lnTo>
                  <a:lnTo>
                    <a:pt x="541" y="28"/>
                  </a:lnTo>
                  <a:lnTo>
                    <a:pt x="539" y="26"/>
                  </a:lnTo>
                  <a:lnTo>
                    <a:pt x="534" y="26"/>
                  </a:lnTo>
                  <a:lnTo>
                    <a:pt x="529" y="26"/>
                  </a:lnTo>
                  <a:lnTo>
                    <a:pt x="526" y="28"/>
                  </a:lnTo>
                  <a:lnTo>
                    <a:pt x="524" y="31"/>
                  </a:lnTo>
                  <a:lnTo>
                    <a:pt x="524" y="33"/>
                  </a:lnTo>
                  <a:lnTo>
                    <a:pt x="524" y="36"/>
                  </a:lnTo>
                  <a:lnTo>
                    <a:pt x="526" y="36"/>
                  </a:lnTo>
                  <a:lnTo>
                    <a:pt x="529" y="38"/>
                  </a:lnTo>
                  <a:lnTo>
                    <a:pt x="531" y="38"/>
                  </a:lnTo>
                  <a:lnTo>
                    <a:pt x="536" y="41"/>
                  </a:lnTo>
                  <a:lnTo>
                    <a:pt x="544" y="41"/>
                  </a:lnTo>
                  <a:lnTo>
                    <a:pt x="549" y="43"/>
                  </a:lnTo>
                  <a:lnTo>
                    <a:pt x="551" y="46"/>
                  </a:lnTo>
                  <a:lnTo>
                    <a:pt x="554" y="48"/>
                  </a:lnTo>
                  <a:lnTo>
                    <a:pt x="554" y="51"/>
                  </a:lnTo>
                  <a:lnTo>
                    <a:pt x="556" y="56"/>
                  </a:lnTo>
                  <a:lnTo>
                    <a:pt x="554" y="58"/>
                  </a:lnTo>
                  <a:lnTo>
                    <a:pt x="554" y="63"/>
                  </a:lnTo>
                  <a:lnTo>
                    <a:pt x="551" y="66"/>
                  </a:lnTo>
                  <a:lnTo>
                    <a:pt x="546" y="68"/>
                  </a:lnTo>
                  <a:lnTo>
                    <a:pt x="541" y="71"/>
                  </a:lnTo>
                  <a:lnTo>
                    <a:pt x="536" y="71"/>
                  </a:lnTo>
                  <a:lnTo>
                    <a:pt x="526" y="71"/>
                  </a:lnTo>
                  <a:lnTo>
                    <a:pt x="521" y="66"/>
                  </a:lnTo>
                  <a:lnTo>
                    <a:pt x="516" y="61"/>
                  </a:lnTo>
                  <a:lnTo>
                    <a:pt x="514" y="56"/>
                  </a:lnTo>
                  <a:close/>
                  <a:moveTo>
                    <a:pt x="566" y="11"/>
                  </a:moveTo>
                  <a:lnTo>
                    <a:pt x="566" y="0"/>
                  </a:lnTo>
                  <a:lnTo>
                    <a:pt x="574" y="0"/>
                  </a:lnTo>
                  <a:lnTo>
                    <a:pt x="574" y="11"/>
                  </a:lnTo>
                  <a:lnTo>
                    <a:pt x="566" y="11"/>
                  </a:lnTo>
                  <a:close/>
                  <a:moveTo>
                    <a:pt x="566" y="71"/>
                  </a:moveTo>
                  <a:lnTo>
                    <a:pt x="566" y="21"/>
                  </a:lnTo>
                  <a:lnTo>
                    <a:pt x="574" y="21"/>
                  </a:lnTo>
                  <a:lnTo>
                    <a:pt x="574" y="71"/>
                  </a:lnTo>
                  <a:lnTo>
                    <a:pt x="566" y="71"/>
                  </a:lnTo>
                  <a:close/>
                  <a:moveTo>
                    <a:pt x="305" y="11"/>
                  </a:moveTo>
                  <a:lnTo>
                    <a:pt x="305" y="0"/>
                  </a:lnTo>
                  <a:lnTo>
                    <a:pt x="313" y="0"/>
                  </a:lnTo>
                  <a:lnTo>
                    <a:pt x="313" y="11"/>
                  </a:lnTo>
                  <a:lnTo>
                    <a:pt x="305" y="11"/>
                  </a:lnTo>
                  <a:close/>
                  <a:moveTo>
                    <a:pt x="305" y="71"/>
                  </a:moveTo>
                  <a:lnTo>
                    <a:pt x="305" y="21"/>
                  </a:lnTo>
                  <a:lnTo>
                    <a:pt x="313" y="21"/>
                  </a:lnTo>
                  <a:lnTo>
                    <a:pt x="313" y="71"/>
                  </a:lnTo>
                  <a:lnTo>
                    <a:pt x="305" y="71"/>
                  </a:lnTo>
                  <a:close/>
                  <a:moveTo>
                    <a:pt x="586" y="71"/>
                  </a:moveTo>
                  <a:lnTo>
                    <a:pt x="586" y="21"/>
                  </a:lnTo>
                  <a:lnTo>
                    <a:pt x="593" y="21"/>
                  </a:lnTo>
                  <a:lnTo>
                    <a:pt x="593" y="28"/>
                  </a:lnTo>
                  <a:lnTo>
                    <a:pt x="601" y="21"/>
                  </a:lnTo>
                  <a:lnTo>
                    <a:pt x="608" y="18"/>
                  </a:lnTo>
                  <a:lnTo>
                    <a:pt x="613" y="21"/>
                  </a:lnTo>
                  <a:lnTo>
                    <a:pt x="618" y="21"/>
                  </a:lnTo>
                  <a:lnTo>
                    <a:pt x="621" y="23"/>
                  </a:lnTo>
                  <a:lnTo>
                    <a:pt x="623" y="26"/>
                  </a:lnTo>
                  <a:lnTo>
                    <a:pt x="626" y="28"/>
                  </a:lnTo>
                  <a:lnTo>
                    <a:pt x="626" y="31"/>
                  </a:lnTo>
                  <a:lnTo>
                    <a:pt x="626" y="33"/>
                  </a:lnTo>
                  <a:lnTo>
                    <a:pt x="626" y="38"/>
                  </a:lnTo>
                  <a:lnTo>
                    <a:pt x="626" y="71"/>
                  </a:lnTo>
                  <a:lnTo>
                    <a:pt x="618" y="71"/>
                  </a:lnTo>
                  <a:lnTo>
                    <a:pt x="618" y="41"/>
                  </a:lnTo>
                  <a:lnTo>
                    <a:pt x="618" y="36"/>
                  </a:lnTo>
                  <a:lnTo>
                    <a:pt x="618" y="33"/>
                  </a:lnTo>
                  <a:lnTo>
                    <a:pt x="616" y="31"/>
                  </a:lnTo>
                  <a:lnTo>
                    <a:pt x="613" y="28"/>
                  </a:lnTo>
                  <a:lnTo>
                    <a:pt x="611" y="26"/>
                  </a:lnTo>
                  <a:lnTo>
                    <a:pt x="608" y="26"/>
                  </a:lnTo>
                  <a:lnTo>
                    <a:pt x="603" y="28"/>
                  </a:lnTo>
                  <a:lnTo>
                    <a:pt x="598" y="31"/>
                  </a:lnTo>
                  <a:lnTo>
                    <a:pt x="596" y="36"/>
                  </a:lnTo>
                  <a:lnTo>
                    <a:pt x="596" y="43"/>
                  </a:lnTo>
                  <a:lnTo>
                    <a:pt x="596" y="71"/>
                  </a:lnTo>
                  <a:lnTo>
                    <a:pt x="586" y="71"/>
                  </a:lnTo>
                  <a:close/>
                  <a:moveTo>
                    <a:pt x="673" y="53"/>
                  </a:moveTo>
                  <a:lnTo>
                    <a:pt x="680" y="56"/>
                  </a:lnTo>
                  <a:lnTo>
                    <a:pt x="678" y="61"/>
                  </a:lnTo>
                  <a:lnTo>
                    <a:pt x="673" y="66"/>
                  </a:lnTo>
                  <a:lnTo>
                    <a:pt x="668" y="71"/>
                  </a:lnTo>
                  <a:lnTo>
                    <a:pt x="660" y="71"/>
                  </a:lnTo>
                  <a:lnTo>
                    <a:pt x="651" y="68"/>
                  </a:lnTo>
                  <a:lnTo>
                    <a:pt x="643" y="63"/>
                  </a:lnTo>
                  <a:lnTo>
                    <a:pt x="638" y="56"/>
                  </a:lnTo>
                  <a:lnTo>
                    <a:pt x="636" y="46"/>
                  </a:lnTo>
                  <a:lnTo>
                    <a:pt x="638" y="33"/>
                  </a:lnTo>
                  <a:lnTo>
                    <a:pt x="643" y="26"/>
                  </a:lnTo>
                  <a:lnTo>
                    <a:pt x="651" y="21"/>
                  </a:lnTo>
                  <a:lnTo>
                    <a:pt x="660" y="18"/>
                  </a:lnTo>
                  <a:lnTo>
                    <a:pt x="668" y="21"/>
                  </a:lnTo>
                  <a:lnTo>
                    <a:pt x="675" y="26"/>
                  </a:lnTo>
                  <a:lnTo>
                    <a:pt x="680" y="33"/>
                  </a:lnTo>
                  <a:lnTo>
                    <a:pt x="683" y="46"/>
                  </a:lnTo>
                  <a:lnTo>
                    <a:pt x="683" y="48"/>
                  </a:lnTo>
                  <a:lnTo>
                    <a:pt x="646" y="48"/>
                  </a:lnTo>
                  <a:lnTo>
                    <a:pt x="646" y="53"/>
                  </a:lnTo>
                  <a:lnTo>
                    <a:pt x="651" y="61"/>
                  </a:lnTo>
                  <a:lnTo>
                    <a:pt x="653" y="63"/>
                  </a:lnTo>
                  <a:lnTo>
                    <a:pt x="660" y="63"/>
                  </a:lnTo>
                  <a:lnTo>
                    <a:pt x="663" y="63"/>
                  </a:lnTo>
                  <a:lnTo>
                    <a:pt x="668" y="61"/>
                  </a:lnTo>
                  <a:lnTo>
                    <a:pt x="670" y="58"/>
                  </a:lnTo>
                  <a:lnTo>
                    <a:pt x="673" y="53"/>
                  </a:lnTo>
                  <a:close/>
                  <a:moveTo>
                    <a:pt x="646" y="41"/>
                  </a:moveTo>
                  <a:lnTo>
                    <a:pt x="673" y="41"/>
                  </a:lnTo>
                  <a:lnTo>
                    <a:pt x="673" y="36"/>
                  </a:lnTo>
                  <a:lnTo>
                    <a:pt x="670" y="31"/>
                  </a:lnTo>
                  <a:lnTo>
                    <a:pt x="665" y="28"/>
                  </a:lnTo>
                  <a:lnTo>
                    <a:pt x="660" y="26"/>
                  </a:lnTo>
                  <a:lnTo>
                    <a:pt x="653" y="28"/>
                  </a:lnTo>
                  <a:lnTo>
                    <a:pt x="651" y="31"/>
                  </a:lnTo>
                  <a:lnTo>
                    <a:pt x="646" y="33"/>
                  </a:lnTo>
                  <a:lnTo>
                    <a:pt x="646" y="41"/>
                  </a:lnTo>
                  <a:close/>
                  <a:moveTo>
                    <a:pt x="688" y="56"/>
                  </a:moveTo>
                  <a:lnTo>
                    <a:pt x="698" y="53"/>
                  </a:lnTo>
                  <a:lnTo>
                    <a:pt x="698" y="58"/>
                  </a:lnTo>
                  <a:lnTo>
                    <a:pt x="700" y="61"/>
                  </a:lnTo>
                  <a:lnTo>
                    <a:pt x="705" y="63"/>
                  </a:lnTo>
                  <a:lnTo>
                    <a:pt x="710" y="63"/>
                  </a:lnTo>
                  <a:lnTo>
                    <a:pt x="715" y="63"/>
                  </a:lnTo>
                  <a:lnTo>
                    <a:pt x="718" y="61"/>
                  </a:lnTo>
                  <a:lnTo>
                    <a:pt x="720" y="58"/>
                  </a:lnTo>
                  <a:lnTo>
                    <a:pt x="720" y="56"/>
                  </a:lnTo>
                  <a:lnTo>
                    <a:pt x="720" y="53"/>
                  </a:lnTo>
                  <a:lnTo>
                    <a:pt x="718" y="51"/>
                  </a:lnTo>
                  <a:lnTo>
                    <a:pt x="715" y="51"/>
                  </a:lnTo>
                  <a:lnTo>
                    <a:pt x="710" y="48"/>
                  </a:lnTo>
                  <a:lnTo>
                    <a:pt x="703" y="46"/>
                  </a:lnTo>
                  <a:lnTo>
                    <a:pt x="698" y="46"/>
                  </a:lnTo>
                  <a:lnTo>
                    <a:pt x="693" y="43"/>
                  </a:lnTo>
                  <a:lnTo>
                    <a:pt x="693" y="41"/>
                  </a:lnTo>
                  <a:lnTo>
                    <a:pt x="690" y="36"/>
                  </a:lnTo>
                  <a:lnTo>
                    <a:pt x="690" y="33"/>
                  </a:lnTo>
                  <a:lnTo>
                    <a:pt x="690" y="31"/>
                  </a:lnTo>
                  <a:lnTo>
                    <a:pt x="690" y="28"/>
                  </a:lnTo>
                  <a:lnTo>
                    <a:pt x="693" y="26"/>
                  </a:lnTo>
                  <a:lnTo>
                    <a:pt x="695" y="23"/>
                  </a:lnTo>
                  <a:lnTo>
                    <a:pt x="698" y="21"/>
                  </a:lnTo>
                  <a:lnTo>
                    <a:pt x="700" y="21"/>
                  </a:lnTo>
                  <a:lnTo>
                    <a:pt x="705" y="18"/>
                  </a:lnTo>
                  <a:lnTo>
                    <a:pt x="708" y="18"/>
                  </a:lnTo>
                  <a:lnTo>
                    <a:pt x="713" y="21"/>
                  </a:lnTo>
                  <a:lnTo>
                    <a:pt x="718" y="21"/>
                  </a:lnTo>
                  <a:lnTo>
                    <a:pt x="723" y="23"/>
                  </a:lnTo>
                  <a:lnTo>
                    <a:pt x="725" y="26"/>
                  </a:lnTo>
                  <a:lnTo>
                    <a:pt x="728" y="28"/>
                  </a:lnTo>
                  <a:lnTo>
                    <a:pt x="728" y="33"/>
                  </a:lnTo>
                  <a:lnTo>
                    <a:pt x="720" y="33"/>
                  </a:lnTo>
                  <a:lnTo>
                    <a:pt x="718" y="31"/>
                  </a:lnTo>
                  <a:lnTo>
                    <a:pt x="715" y="28"/>
                  </a:lnTo>
                  <a:lnTo>
                    <a:pt x="713" y="26"/>
                  </a:lnTo>
                  <a:lnTo>
                    <a:pt x="708" y="26"/>
                  </a:lnTo>
                  <a:lnTo>
                    <a:pt x="703" y="26"/>
                  </a:lnTo>
                  <a:lnTo>
                    <a:pt x="700" y="28"/>
                  </a:lnTo>
                  <a:lnTo>
                    <a:pt x="698" y="31"/>
                  </a:lnTo>
                  <a:lnTo>
                    <a:pt x="698" y="33"/>
                  </a:lnTo>
                  <a:lnTo>
                    <a:pt x="700" y="36"/>
                  </a:lnTo>
                  <a:lnTo>
                    <a:pt x="703" y="38"/>
                  </a:lnTo>
                  <a:lnTo>
                    <a:pt x="705" y="38"/>
                  </a:lnTo>
                  <a:lnTo>
                    <a:pt x="710" y="41"/>
                  </a:lnTo>
                  <a:lnTo>
                    <a:pt x="718" y="41"/>
                  </a:lnTo>
                  <a:lnTo>
                    <a:pt x="723" y="43"/>
                  </a:lnTo>
                  <a:lnTo>
                    <a:pt x="725" y="46"/>
                  </a:lnTo>
                  <a:lnTo>
                    <a:pt x="728" y="48"/>
                  </a:lnTo>
                  <a:lnTo>
                    <a:pt x="730" y="51"/>
                  </a:lnTo>
                  <a:lnTo>
                    <a:pt x="730" y="56"/>
                  </a:lnTo>
                  <a:lnTo>
                    <a:pt x="728" y="58"/>
                  </a:lnTo>
                  <a:lnTo>
                    <a:pt x="728" y="63"/>
                  </a:lnTo>
                  <a:lnTo>
                    <a:pt x="725" y="66"/>
                  </a:lnTo>
                  <a:lnTo>
                    <a:pt x="720" y="68"/>
                  </a:lnTo>
                  <a:lnTo>
                    <a:pt x="715" y="71"/>
                  </a:lnTo>
                  <a:lnTo>
                    <a:pt x="710" y="71"/>
                  </a:lnTo>
                  <a:lnTo>
                    <a:pt x="700" y="71"/>
                  </a:lnTo>
                  <a:lnTo>
                    <a:pt x="695" y="66"/>
                  </a:lnTo>
                  <a:lnTo>
                    <a:pt x="690" y="61"/>
                  </a:lnTo>
                  <a:lnTo>
                    <a:pt x="688" y="56"/>
                  </a:lnTo>
                  <a:close/>
                  <a:moveTo>
                    <a:pt x="735" y="56"/>
                  </a:moveTo>
                  <a:lnTo>
                    <a:pt x="745" y="53"/>
                  </a:lnTo>
                  <a:lnTo>
                    <a:pt x="745" y="58"/>
                  </a:lnTo>
                  <a:lnTo>
                    <a:pt x="747" y="61"/>
                  </a:lnTo>
                  <a:lnTo>
                    <a:pt x="752" y="63"/>
                  </a:lnTo>
                  <a:lnTo>
                    <a:pt x="757" y="63"/>
                  </a:lnTo>
                  <a:lnTo>
                    <a:pt x="762" y="63"/>
                  </a:lnTo>
                  <a:lnTo>
                    <a:pt x="765" y="61"/>
                  </a:lnTo>
                  <a:lnTo>
                    <a:pt x="767" y="58"/>
                  </a:lnTo>
                  <a:lnTo>
                    <a:pt x="767" y="56"/>
                  </a:lnTo>
                  <a:lnTo>
                    <a:pt x="767" y="53"/>
                  </a:lnTo>
                  <a:lnTo>
                    <a:pt x="765" y="51"/>
                  </a:lnTo>
                  <a:lnTo>
                    <a:pt x="762" y="51"/>
                  </a:lnTo>
                  <a:lnTo>
                    <a:pt x="757" y="48"/>
                  </a:lnTo>
                  <a:lnTo>
                    <a:pt x="750" y="46"/>
                  </a:lnTo>
                  <a:lnTo>
                    <a:pt x="745" y="46"/>
                  </a:lnTo>
                  <a:lnTo>
                    <a:pt x="742" y="43"/>
                  </a:lnTo>
                  <a:lnTo>
                    <a:pt x="740" y="41"/>
                  </a:lnTo>
                  <a:lnTo>
                    <a:pt x="737" y="36"/>
                  </a:lnTo>
                  <a:lnTo>
                    <a:pt x="737" y="33"/>
                  </a:lnTo>
                  <a:lnTo>
                    <a:pt x="737" y="31"/>
                  </a:lnTo>
                  <a:lnTo>
                    <a:pt x="740" y="28"/>
                  </a:lnTo>
                  <a:lnTo>
                    <a:pt x="740" y="26"/>
                  </a:lnTo>
                  <a:lnTo>
                    <a:pt x="742" y="23"/>
                  </a:lnTo>
                  <a:lnTo>
                    <a:pt x="745" y="21"/>
                  </a:lnTo>
                  <a:lnTo>
                    <a:pt x="747" y="21"/>
                  </a:lnTo>
                  <a:lnTo>
                    <a:pt x="752" y="18"/>
                  </a:lnTo>
                  <a:lnTo>
                    <a:pt x="755" y="18"/>
                  </a:lnTo>
                  <a:lnTo>
                    <a:pt x="760" y="21"/>
                  </a:lnTo>
                  <a:lnTo>
                    <a:pt x="765" y="21"/>
                  </a:lnTo>
                  <a:lnTo>
                    <a:pt x="770" y="23"/>
                  </a:lnTo>
                  <a:lnTo>
                    <a:pt x="772" y="26"/>
                  </a:lnTo>
                  <a:lnTo>
                    <a:pt x="775" y="28"/>
                  </a:lnTo>
                  <a:lnTo>
                    <a:pt x="775" y="33"/>
                  </a:lnTo>
                  <a:lnTo>
                    <a:pt x="767" y="33"/>
                  </a:lnTo>
                  <a:lnTo>
                    <a:pt x="765" y="31"/>
                  </a:lnTo>
                  <a:lnTo>
                    <a:pt x="765" y="28"/>
                  </a:lnTo>
                  <a:lnTo>
                    <a:pt x="760" y="26"/>
                  </a:lnTo>
                  <a:lnTo>
                    <a:pt x="755" y="26"/>
                  </a:lnTo>
                  <a:lnTo>
                    <a:pt x="750" y="26"/>
                  </a:lnTo>
                  <a:lnTo>
                    <a:pt x="747" y="28"/>
                  </a:lnTo>
                  <a:lnTo>
                    <a:pt x="745" y="31"/>
                  </a:lnTo>
                  <a:lnTo>
                    <a:pt x="745" y="33"/>
                  </a:lnTo>
                  <a:lnTo>
                    <a:pt x="747" y="36"/>
                  </a:lnTo>
                  <a:lnTo>
                    <a:pt x="750" y="38"/>
                  </a:lnTo>
                  <a:lnTo>
                    <a:pt x="752" y="38"/>
                  </a:lnTo>
                  <a:lnTo>
                    <a:pt x="757" y="41"/>
                  </a:lnTo>
                  <a:lnTo>
                    <a:pt x="765" y="41"/>
                  </a:lnTo>
                  <a:lnTo>
                    <a:pt x="770" y="43"/>
                  </a:lnTo>
                  <a:lnTo>
                    <a:pt x="772" y="46"/>
                  </a:lnTo>
                  <a:lnTo>
                    <a:pt x="775" y="48"/>
                  </a:lnTo>
                  <a:lnTo>
                    <a:pt x="777" y="51"/>
                  </a:lnTo>
                  <a:lnTo>
                    <a:pt x="777" y="56"/>
                  </a:lnTo>
                  <a:lnTo>
                    <a:pt x="777" y="58"/>
                  </a:lnTo>
                  <a:lnTo>
                    <a:pt x="775" y="63"/>
                  </a:lnTo>
                  <a:lnTo>
                    <a:pt x="772" y="66"/>
                  </a:lnTo>
                  <a:lnTo>
                    <a:pt x="767" y="68"/>
                  </a:lnTo>
                  <a:lnTo>
                    <a:pt x="762" y="71"/>
                  </a:lnTo>
                  <a:lnTo>
                    <a:pt x="757" y="71"/>
                  </a:lnTo>
                  <a:lnTo>
                    <a:pt x="747" y="71"/>
                  </a:lnTo>
                  <a:lnTo>
                    <a:pt x="742" y="66"/>
                  </a:lnTo>
                  <a:lnTo>
                    <a:pt x="737" y="61"/>
                  </a:lnTo>
                  <a:lnTo>
                    <a:pt x="735" y="56"/>
                  </a:lnTo>
                  <a:close/>
                  <a:moveTo>
                    <a:pt x="812" y="48"/>
                  </a:moveTo>
                  <a:lnTo>
                    <a:pt x="819" y="48"/>
                  </a:lnTo>
                  <a:lnTo>
                    <a:pt x="819" y="51"/>
                  </a:lnTo>
                  <a:lnTo>
                    <a:pt x="822" y="56"/>
                  </a:lnTo>
                  <a:lnTo>
                    <a:pt x="824" y="58"/>
                  </a:lnTo>
                  <a:lnTo>
                    <a:pt x="829" y="61"/>
                  </a:lnTo>
                  <a:lnTo>
                    <a:pt x="834" y="63"/>
                  </a:lnTo>
                  <a:lnTo>
                    <a:pt x="839" y="63"/>
                  </a:lnTo>
                  <a:lnTo>
                    <a:pt x="844" y="63"/>
                  </a:lnTo>
                  <a:lnTo>
                    <a:pt x="849" y="61"/>
                  </a:lnTo>
                  <a:lnTo>
                    <a:pt x="852" y="58"/>
                  </a:lnTo>
                  <a:lnTo>
                    <a:pt x="854" y="58"/>
                  </a:lnTo>
                  <a:lnTo>
                    <a:pt x="857" y="53"/>
                  </a:lnTo>
                  <a:lnTo>
                    <a:pt x="857" y="51"/>
                  </a:lnTo>
                  <a:lnTo>
                    <a:pt x="857" y="48"/>
                  </a:lnTo>
                  <a:lnTo>
                    <a:pt x="854" y="46"/>
                  </a:lnTo>
                  <a:lnTo>
                    <a:pt x="852" y="43"/>
                  </a:lnTo>
                  <a:lnTo>
                    <a:pt x="849" y="41"/>
                  </a:lnTo>
                  <a:lnTo>
                    <a:pt x="844" y="41"/>
                  </a:lnTo>
                  <a:lnTo>
                    <a:pt x="837" y="38"/>
                  </a:lnTo>
                  <a:lnTo>
                    <a:pt x="829" y="36"/>
                  </a:lnTo>
                  <a:lnTo>
                    <a:pt x="824" y="33"/>
                  </a:lnTo>
                  <a:lnTo>
                    <a:pt x="819" y="31"/>
                  </a:lnTo>
                  <a:lnTo>
                    <a:pt x="817" y="28"/>
                  </a:lnTo>
                  <a:lnTo>
                    <a:pt x="814" y="23"/>
                  </a:lnTo>
                  <a:lnTo>
                    <a:pt x="814" y="18"/>
                  </a:lnTo>
                  <a:lnTo>
                    <a:pt x="814" y="13"/>
                  </a:lnTo>
                  <a:lnTo>
                    <a:pt x="817" y="11"/>
                  </a:lnTo>
                  <a:lnTo>
                    <a:pt x="819" y="5"/>
                  </a:lnTo>
                  <a:lnTo>
                    <a:pt x="824" y="3"/>
                  </a:lnTo>
                  <a:lnTo>
                    <a:pt x="832" y="0"/>
                  </a:lnTo>
                  <a:lnTo>
                    <a:pt x="837" y="0"/>
                  </a:lnTo>
                  <a:lnTo>
                    <a:pt x="844" y="0"/>
                  </a:lnTo>
                  <a:lnTo>
                    <a:pt x="852" y="3"/>
                  </a:lnTo>
                  <a:lnTo>
                    <a:pt x="857" y="5"/>
                  </a:lnTo>
                  <a:lnTo>
                    <a:pt x="859" y="11"/>
                  </a:lnTo>
                  <a:lnTo>
                    <a:pt x="862" y="16"/>
                  </a:lnTo>
                  <a:lnTo>
                    <a:pt x="864" y="21"/>
                  </a:lnTo>
                  <a:lnTo>
                    <a:pt x="854" y="21"/>
                  </a:lnTo>
                  <a:lnTo>
                    <a:pt x="852" y="16"/>
                  </a:lnTo>
                  <a:lnTo>
                    <a:pt x="849" y="11"/>
                  </a:lnTo>
                  <a:lnTo>
                    <a:pt x="844" y="8"/>
                  </a:lnTo>
                  <a:lnTo>
                    <a:pt x="837" y="8"/>
                  </a:lnTo>
                  <a:lnTo>
                    <a:pt x="832" y="8"/>
                  </a:lnTo>
                  <a:lnTo>
                    <a:pt x="827" y="11"/>
                  </a:lnTo>
                  <a:lnTo>
                    <a:pt x="824" y="16"/>
                  </a:lnTo>
                  <a:lnTo>
                    <a:pt x="822" y="18"/>
                  </a:lnTo>
                  <a:lnTo>
                    <a:pt x="822" y="21"/>
                  </a:lnTo>
                  <a:lnTo>
                    <a:pt x="824" y="26"/>
                  </a:lnTo>
                  <a:lnTo>
                    <a:pt x="829" y="28"/>
                  </a:lnTo>
                  <a:lnTo>
                    <a:pt x="839" y="28"/>
                  </a:lnTo>
                  <a:lnTo>
                    <a:pt x="847" y="31"/>
                  </a:lnTo>
                  <a:lnTo>
                    <a:pt x="854" y="33"/>
                  </a:lnTo>
                  <a:lnTo>
                    <a:pt x="859" y="36"/>
                  </a:lnTo>
                  <a:lnTo>
                    <a:pt x="862" y="41"/>
                  </a:lnTo>
                  <a:lnTo>
                    <a:pt x="864" y="46"/>
                  </a:lnTo>
                  <a:lnTo>
                    <a:pt x="864" y="51"/>
                  </a:lnTo>
                  <a:lnTo>
                    <a:pt x="864" y="56"/>
                  </a:lnTo>
                  <a:lnTo>
                    <a:pt x="862" y="61"/>
                  </a:lnTo>
                  <a:lnTo>
                    <a:pt x="859" y="66"/>
                  </a:lnTo>
                  <a:lnTo>
                    <a:pt x="854" y="68"/>
                  </a:lnTo>
                  <a:lnTo>
                    <a:pt x="847" y="71"/>
                  </a:lnTo>
                  <a:lnTo>
                    <a:pt x="839" y="71"/>
                  </a:lnTo>
                  <a:lnTo>
                    <a:pt x="832" y="71"/>
                  </a:lnTo>
                  <a:lnTo>
                    <a:pt x="824" y="68"/>
                  </a:lnTo>
                  <a:lnTo>
                    <a:pt x="819" y="66"/>
                  </a:lnTo>
                  <a:lnTo>
                    <a:pt x="814" y="61"/>
                  </a:lnTo>
                  <a:lnTo>
                    <a:pt x="812" y="53"/>
                  </a:lnTo>
                  <a:lnTo>
                    <a:pt x="812" y="48"/>
                  </a:lnTo>
                  <a:close/>
                  <a:moveTo>
                    <a:pt x="874" y="46"/>
                  </a:moveTo>
                  <a:lnTo>
                    <a:pt x="874" y="33"/>
                  </a:lnTo>
                  <a:lnTo>
                    <a:pt x="882" y="26"/>
                  </a:lnTo>
                  <a:lnTo>
                    <a:pt x="889" y="21"/>
                  </a:lnTo>
                  <a:lnTo>
                    <a:pt x="896" y="18"/>
                  </a:lnTo>
                  <a:lnTo>
                    <a:pt x="906" y="21"/>
                  </a:lnTo>
                  <a:lnTo>
                    <a:pt x="914" y="26"/>
                  </a:lnTo>
                  <a:lnTo>
                    <a:pt x="919" y="33"/>
                  </a:lnTo>
                  <a:lnTo>
                    <a:pt x="919" y="43"/>
                  </a:lnTo>
                  <a:lnTo>
                    <a:pt x="919" y="53"/>
                  </a:lnTo>
                  <a:lnTo>
                    <a:pt x="916" y="58"/>
                  </a:lnTo>
                  <a:lnTo>
                    <a:pt x="914" y="63"/>
                  </a:lnTo>
                  <a:lnTo>
                    <a:pt x="909" y="68"/>
                  </a:lnTo>
                  <a:lnTo>
                    <a:pt x="901" y="71"/>
                  </a:lnTo>
                  <a:lnTo>
                    <a:pt x="896" y="71"/>
                  </a:lnTo>
                  <a:lnTo>
                    <a:pt x="887" y="68"/>
                  </a:lnTo>
                  <a:lnTo>
                    <a:pt x="879" y="63"/>
                  </a:lnTo>
                  <a:lnTo>
                    <a:pt x="874" y="56"/>
                  </a:lnTo>
                  <a:lnTo>
                    <a:pt x="874" y="46"/>
                  </a:lnTo>
                  <a:close/>
                  <a:moveTo>
                    <a:pt x="882" y="46"/>
                  </a:moveTo>
                  <a:lnTo>
                    <a:pt x="882" y="53"/>
                  </a:lnTo>
                  <a:lnTo>
                    <a:pt x="887" y="58"/>
                  </a:lnTo>
                  <a:lnTo>
                    <a:pt x="891" y="63"/>
                  </a:lnTo>
                  <a:lnTo>
                    <a:pt x="896" y="63"/>
                  </a:lnTo>
                  <a:lnTo>
                    <a:pt x="901" y="63"/>
                  </a:lnTo>
                  <a:lnTo>
                    <a:pt x="906" y="58"/>
                  </a:lnTo>
                  <a:lnTo>
                    <a:pt x="909" y="53"/>
                  </a:lnTo>
                  <a:lnTo>
                    <a:pt x="911" y="46"/>
                  </a:lnTo>
                  <a:lnTo>
                    <a:pt x="909" y="36"/>
                  </a:lnTo>
                  <a:lnTo>
                    <a:pt x="906" y="31"/>
                  </a:lnTo>
                  <a:lnTo>
                    <a:pt x="901" y="28"/>
                  </a:lnTo>
                  <a:lnTo>
                    <a:pt x="896" y="26"/>
                  </a:lnTo>
                  <a:lnTo>
                    <a:pt x="891" y="28"/>
                  </a:lnTo>
                  <a:lnTo>
                    <a:pt x="887" y="31"/>
                  </a:lnTo>
                  <a:lnTo>
                    <a:pt x="882" y="36"/>
                  </a:lnTo>
                  <a:lnTo>
                    <a:pt x="882" y="46"/>
                  </a:lnTo>
                  <a:close/>
                  <a:moveTo>
                    <a:pt x="929" y="71"/>
                  </a:moveTo>
                  <a:lnTo>
                    <a:pt x="929" y="0"/>
                  </a:lnTo>
                  <a:lnTo>
                    <a:pt x="936" y="0"/>
                  </a:lnTo>
                  <a:lnTo>
                    <a:pt x="936" y="71"/>
                  </a:lnTo>
                  <a:lnTo>
                    <a:pt x="929" y="71"/>
                  </a:lnTo>
                  <a:close/>
                  <a:moveTo>
                    <a:pt x="983" y="71"/>
                  </a:moveTo>
                  <a:lnTo>
                    <a:pt x="983" y="63"/>
                  </a:lnTo>
                  <a:lnTo>
                    <a:pt x="976" y="68"/>
                  </a:lnTo>
                  <a:lnTo>
                    <a:pt x="966" y="71"/>
                  </a:lnTo>
                  <a:lnTo>
                    <a:pt x="963" y="71"/>
                  </a:lnTo>
                  <a:lnTo>
                    <a:pt x="959" y="68"/>
                  </a:lnTo>
                  <a:lnTo>
                    <a:pt x="956" y="68"/>
                  </a:lnTo>
                  <a:lnTo>
                    <a:pt x="954" y="66"/>
                  </a:lnTo>
                  <a:lnTo>
                    <a:pt x="951" y="63"/>
                  </a:lnTo>
                  <a:lnTo>
                    <a:pt x="951" y="58"/>
                  </a:lnTo>
                  <a:lnTo>
                    <a:pt x="951" y="56"/>
                  </a:lnTo>
                  <a:lnTo>
                    <a:pt x="951" y="51"/>
                  </a:lnTo>
                  <a:lnTo>
                    <a:pt x="951" y="21"/>
                  </a:lnTo>
                  <a:lnTo>
                    <a:pt x="959" y="21"/>
                  </a:lnTo>
                  <a:lnTo>
                    <a:pt x="959" y="48"/>
                  </a:lnTo>
                  <a:lnTo>
                    <a:pt x="959" y="53"/>
                  </a:lnTo>
                  <a:lnTo>
                    <a:pt x="959" y="56"/>
                  </a:lnTo>
                  <a:lnTo>
                    <a:pt x="961" y="58"/>
                  </a:lnTo>
                  <a:lnTo>
                    <a:pt x="961" y="61"/>
                  </a:lnTo>
                  <a:lnTo>
                    <a:pt x="966" y="63"/>
                  </a:lnTo>
                  <a:lnTo>
                    <a:pt x="968" y="63"/>
                  </a:lnTo>
                  <a:lnTo>
                    <a:pt x="971" y="63"/>
                  </a:lnTo>
                  <a:lnTo>
                    <a:pt x="976" y="61"/>
                  </a:lnTo>
                  <a:lnTo>
                    <a:pt x="978" y="58"/>
                  </a:lnTo>
                  <a:lnTo>
                    <a:pt x="981" y="56"/>
                  </a:lnTo>
                  <a:lnTo>
                    <a:pt x="981" y="53"/>
                  </a:lnTo>
                  <a:lnTo>
                    <a:pt x="981" y="46"/>
                  </a:lnTo>
                  <a:lnTo>
                    <a:pt x="981" y="21"/>
                  </a:lnTo>
                  <a:lnTo>
                    <a:pt x="991" y="21"/>
                  </a:lnTo>
                  <a:lnTo>
                    <a:pt x="991" y="71"/>
                  </a:lnTo>
                  <a:lnTo>
                    <a:pt x="983" y="71"/>
                  </a:lnTo>
                  <a:close/>
                  <a:moveTo>
                    <a:pt x="1021" y="63"/>
                  </a:moveTo>
                  <a:lnTo>
                    <a:pt x="1023" y="71"/>
                  </a:lnTo>
                  <a:lnTo>
                    <a:pt x="1018" y="71"/>
                  </a:lnTo>
                  <a:lnTo>
                    <a:pt x="1016" y="71"/>
                  </a:lnTo>
                  <a:lnTo>
                    <a:pt x="1011" y="71"/>
                  </a:lnTo>
                  <a:lnTo>
                    <a:pt x="1008" y="68"/>
                  </a:lnTo>
                  <a:lnTo>
                    <a:pt x="1006" y="68"/>
                  </a:lnTo>
                  <a:lnTo>
                    <a:pt x="1006" y="66"/>
                  </a:lnTo>
                  <a:lnTo>
                    <a:pt x="1006" y="61"/>
                  </a:lnTo>
                  <a:lnTo>
                    <a:pt x="1003" y="56"/>
                  </a:lnTo>
                  <a:lnTo>
                    <a:pt x="1003" y="26"/>
                  </a:lnTo>
                  <a:lnTo>
                    <a:pt x="998" y="26"/>
                  </a:lnTo>
                  <a:lnTo>
                    <a:pt x="998" y="21"/>
                  </a:lnTo>
                  <a:lnTo>
                    <a:pt x="1003" y="21"/>
                  </a:lnTo>
                  <a:lnTo>
                    <a:pt x="1003" y="8"/>
                  </a:lnTo>
                  <a:lnTo>
                    <a:pt x="1013" y="3"/>
                  </a:lnTo>
                  <a:lnTo>
                    <a:pt x="1013" y="21"/>
                  </a:lnTo>
                  <a:lnTo>
                    <a:pt x="1021" y="21"/>
                  </a:lnTo>
                  <a:lnTo>
                    <a:pt x="1021" y="26"/>
                  </a:lnTo>
                  <a:lnTo>
                    <a:pt x="1013" y="26"/>
                  </a:lnTo>
                  <a:lnTo>
                    <a:pt x="1013" y="56"/>
                  </a:lnTo>
                  <a:lnTo>
                    <a:pt x="1013" y="58"/>
                  </a:lnTo>
                  <a:lnTo>
                    <a:pt x="1013" y="61"/>
                  </a:lnTo>
                  <a:lnTo>
                    <a:pt x="1016" y="61"/>
                  </a:lnTo>
                  <a:lnTo>
                    <a:pt x="1016" y="63"/>
                  </a:lnTo>
                  <a:lnTo>
                    <a:pt x="1018" y="63"/>
                  </a:lnTo>
                  <a:lnTo>
                    <a:pt x="1021" y="63"/>
                  </a:lnTo>
                  <a:close/>
                  <a:moveTo>
                    <a:pt x="1028" y="11"/>
                  </a:moveTo>
                  <a:lnTo>
                    <a:pt x="1028" y="0"/>
                  </a:lnTo>
                  <a:lnTo>
                    <a:pt x="1038" y="0"/>
                  </a:lnTo>
                  <a:lnTo>
                    <a:pt x="1038" y="11"/>
                  </a:lnTo>
                  <a:lnTo>
                    <a:pt x="1028" y="11"/>
                  </a:lnTo>
                  <a:close/>
                  <a:moveTo>
                    <a:pt x="1028" y="71"/>
                  </a:moveTo>
                  <a:lnTo>
                    <a:pt x="1028" y="21"/>
                  </a:lnTo>
                  <a:lnTo>
                    <a:pt x="1038" y="21"/>
                  </a:lnTo>
                  <a:lnTo>
                    <a:pt x="1038" y="71"/>
                  </a:lnTo>
                  <a:lnTo>
                    <a:pt x="1028" y="71"/>
                  </a:lnTo>
                  <a:close/>
                  <a:moveTo>
                    <a:pt x="1048" y="46"/>
                  </a:moveTo>
                  <a:lnTo>
                    <a:pt x="1048" y="33"/>
                  </a:lnTo>
                  <a:lnTo>
                    <a:pt x="1055" y="26"/>
                  </a:lnTo>
                  <a:lnTo>
                    <a:pt x="1063" y="21"/>
                  </a:lnTo>
                  <a:lnTo>
                    <a:pt x="1070" y="18"/>
                  </a:lnTo>
                  <a:lnTo>
                    <a:pt x="1080" y="21"/>
                  </a:lnTo>
                  <a:lnTo>
                    <a:pt x="1088" y="26"/>
                  </a:lnTo>
                  <a:lnTo>
                    <a:pt x="1093" y="33"/>
                  </a:lnTo>
                  <a:lnTo>
                    <a:pt x="1093" y="43"/>
                  </a:lnTo>
                  <a:lnTo>
                    <a:pt x="1093" y="53"/>
                  </a:lnTo>
                  <a:lnTo>
                    <a:pt x="1090" y="58"/>
                  </a:lnTo>
                  <a:lnTo>
                    <a:pt x="1088" y="63"/>
                  </a:lnTo>
                  <a:lnTo>
                    <a:pt x="1083" y="68"/>
                  </a:lnTo>
                  <a:lnTo>
                    <a:pt x="1075" y="71"/>
                  </a:lnTo>
                  <a:lnTo>
                    <a:pt x="1070" y="71"/>
                  </a:lnTo>
                  <a:lnTo>
                    <a:pt x="1060" y="68"/>
                  </a:lnTo>
                  <a:lnTo>
                    <a:pt x="1053" y="63"/>
                  </a:lnTo>
                  <a:lnTo>
                    <a:pt x="1048" y="56"/>
                  </a:lnTo>
                  <a:lnTo>
                    <a:pt x="1048" y="46"/>
                  </a:lnTo>
                  <a:close/>
                  <a:moveTo>
                    <a:pt x="1055" y="46"/>
                  </a:moveTo>
                  <a:lnTo>
                    <a:pt x="1058" y="53"/>
                  </a:lnTo>
                  <a:lnTo>
                    <a:pt x="1060" y="58"/>
                  </a:lnTo>
                  <a:lnTo>
                    <a:pt x="1065" y="63"/>
                  </a:lnTo>
                  <a:lnTo>
                    <a:pt x="1070" y="63"/>
                  </a:lnTo>
                  <a:lnTo>
                    <a:pt x="1075" y="63"/>
                  </a:lnTo>
                  <a:lnTo>
                    <a:pt x="1080" y="58"/>
                  </a:lnTo>
                  <a:lnTo>
                    <a:pt x="1083" y="53"/>
                  </a:lnTo>
                  <a:lnTo>
                    <a:pt x="1085" y="46"/>
                  </a:lnTo>
                  <a:lnTo>
                    <a:pt x="1083" y="36"/>
                  </a:lnTo>
                  <a:lnTo>
                    <a:pt x="1080" y="31"/>
                  </a:lnTo>
                  <a:lnTo>
                    <a:pt x="1075" y="28"/>
                  </a:lnTo>
                  <a:lnTo>
                    <a:pt x="1070" y="26"/>
                  </a:lnTo>
                  <a:lnTo>
                    <a:pt x="1065" y="28"/>
                  </a:lnTo>
                  <a:lnTo>
                    <a:pt x="1060" y="31"/>
                  </a:lnTo>
                  <a:lnTo>
                    <a:pt x="1058" y="36"/>
                  </a:lnTo>
                  <a:lnTo>
                    <a:pt x="1055" y="46"/>
                  </a:lnTo>
                  <a:close/>
                  <a:moveTo>
                    <a:pt x="1103" y="71"/>
                  </a:moveTo>
                  <a:lnTo>
                    <a:pt x="1103" y="21"/>
                  </a:lnTo>
                  <a:lnTo>
                    <a:pt x="1110" y="21"/>
                  </a:lnTo>
                  <a:lnTo>
                    <a:pt x="1110" y="28"/>
                  </a:lnTo>
                  <a:lnTo>
                    <a:pt x="1117" y="21"/>
                  </a:lnTo>
                  <a:lnTo>
                    <a:pt x="1125" y="18"/>
                  </a:lnTo>
                  <a:lnTo>
                    <a:pt x="1130" y="21"/>
                  </a:lnTo>
                  <a:lnTo>
                    <a:pt x="1135" y="21"/>
                  </a:lnTo>
                  <a:lnTo>
                    <a:pt x="1137" y="23"/>
                  </a:lnTo>
                  <a:lnTo>
                    <a:pt x="1140" y="26"/>
                  </a:lnTo>
                  <a:lnTo>
                    <a:pt x="1142" y="28"/>
                  </a:lnTo>
                  <a:lnTo>
                    <a:pt x="1142" y="31"/>
                  </a:lnTo>
                  <a:lnTo>
                    <a:pt x="1142" y="33"/>
                  </a:lnTo>
                  <a:lnTo>
                    <a:pt x="1142" y="38"/>
                  </a:lnTo>
                  <a:lnTo>
                    <a:pt x="1142" y="71"/>
                  </a:lnTo>
                  <a:lnTo>
                    <a:pt x="1135" y="71"/>
                  </a:lnTo>
                  <a:lnTo>
                    <a:pt x="1135" y="41"/>
                  </a:lnTo>
                  <a:lnTo>
                    <a:pt x="1135" y="36"/>
                  </a:lnTo>
                  <a:lnTo>
                    <a:pt x="1132" y="33"/>
                  </a:lnTo>
                  <a:lnTo>
                    <a:pt x="1132" y="31"/>
                  </a:lnTo>
                  <a:lnTo>
                    <a:pt x="1130" y="28"/>
                  </a:lnTo>
                  <a:lnTo>
                    <a:pt x="1127" y="26"/>
                  </a:lnTo>
                  <a:lnTo>
                    <a:pt x="1125" y="26"/>
                  </a:lnTo>
                  <a:lnTo>
                    <a:pt x="1120" y="28"/>
                  </a:lnTo>
                  <a:lnTo>
                    <a:pt x="1115" y="31"/>
                  </a:lnTo>
                  <a:lnTo>
                    <a:pt x="1113" y="36"/>
                  </a:lnTo>
                  <a:lnTo>
                    <a:pt x="1113" y="43"/>
                  </a:lnTo>
                  <a:lnTo>
                    <a:pt x="1113" y="71"/>
                  </a:lnTo>
                  <a:lnTo>
                    <a:pt x="1103" y="71"/>
                  </a:lnTo>
                  <a:close/>
                  <a:moveTo>
                    <a:pt x="1152" y="56"/>
                  </a:moveTo>
                  <a:lnTo>
                    <a:pt x="1160" y="53"/>
                  </a:lnTo>
                  <a:lnTo>
                    <a:pt x="1162" y="58"/>
                  </a:lnTo>
                  <a:lnTo>
                    <a:pt x="1165" y="61"/>
                  </a:lnTo>
                  <a:lnTo>
                    <a:pt x="1167" y="63"/>
                  </a:lnTo>
                  <a:lnTo>
                    <a:pt x="1172" y="63"/>
                  </a:lnTo>
                  <a:lnTo>
                    <a:pt x="1180" y="63"/>
                  </a:lnTo>
                  <a:lnTo>
                    <a:pt x="1182" y="61"/>
                  </a:lnTo>
                  <a:lnTo>
                    <a:pt x="1185" y="58"/>
                  </a:lnTo>
                  <a:lnTo>
                    <a:pt x="1185" y="56"/>
                  </a:lnTo>
                  <a:lnTo>
                    <a:pt x="1185" y="53"/>
                  </a:lnTo>
                  <a:lnTo>
                    <a:pt x="1182" y="51"/>
                  </a:lnTo>
                  <a:lnTo>
                    <a:pt x="1180" y="51"/>
                  </a:lnTo>
                  <a:lnTo>
                    <a:pt x="1175" y="48"/>
                  </a:lnTo>
                  <a:lnTo>
                    <a:pt x="1167" y="46"/>
                  </a:lnTo>
                  <a:lnTo>
                    <a:pt x="1162" y="46"/>
                  </a:lnTo>
                  <a:lnTo>
                    <a:pt x="1157" y="43"/>
                  </a:lnTo>
                  <a:lnTo>
                    <a:pt x="1155" y="41"/>
                  </a:lnTo>
                  <a:lnTo>
                    <a:pt x="1155" y="36"/>
                  </a:lnTo>
                  <a:lnTo>
                    <a:pt x="1155" y="33"/>
                  </a:lnTo>
                  <a:lnTo>
                    <a:pt x="1155" y="31"/>
                  </a:lnTo>
                  <a:lnTo>
                    <a:pt x="1155" y="28"/>
                  </a:lnTo>
                  <a:lnTo>
                    <a:pt x="1157" y="26"/>
                  </a:lnTo>
                  <a:lnTo>
                    <a:pt x="1160" y="23"/>
                  </a:lnTo>
                  <a:lnTo>
                    <a:pt x="1162" y="21"/>
                  </a:lnTo>
                  <a:lnTo>
                    <a:pt x="1165" y="21"/>
                  </a:lnTo>
                  <a:lnTo>
                    <a:pt x="1167" y="18"/>
                  </a:lnTo>
                  <a:lnTo>
                    <a:pt x="1172" y="18"/>
                  </a:lnTo>
                  <a:lnTo>
                    <a:pt x="1177" y="21"/>
                  </a:lnTo>
                  <a:lnTo>
                    <a:pt x="1182" y="21"/>
                  </a:lnTo>
                  <a:lnTo>
                    <a:pt x="1187" y="23"/>
                  </a:lnTo>
                  <a:lnTo>
                    <a:pt x="1190" y="26"/>
                  </a:lnTo>
                  <a:lnTo>
                    <a:pt x="1190" y="28"/>
                  </a:lnTo>
                  <a:lnTo>
                    <a:pt x="1192" y="33"/>
                  </a:lnTo>
                  <a:lnTo>
                    <a:pt x="1182" y="33"/>
                  </a:lnTo>
                  <a:lnTo>
                    <a:pt x="1182" y="31"/>
                  </a:lnTo>
                  <a:lnTo>
                    <a:pt x="1180" y="28"/>
                  </a:lnTo>
                  <a:lnTo>
                    <a:pt x="1177" y="26"/>
                  </a:lnTo>
                  <a:lnTo>
                    <a:pt x="1172" y="26"/>
                  </a:lnTo>
                  <a:lnTo>
                    <a:pt x="1167" y="26"/>
                  </a:lnTo>
                  <a:lnTo>
                    <a:pt x="1165" y="28"/>
                  </a:lnTo>
                  <a:lnTo>
                    <a:pt x="1162" y="31"/>
                  </a:lnTo>
                  <a:lnTo>
                    <a:pt x="1162" y="33"/>
                  </a:lnTo>
                  <a:lnTo>
                    <a:pt x="1162" y="36"/>
                  </a:lnTo>
                  <a:lnTo>
                    <a:pt x="1165" y="36"/>
                  </a:lnTo>
                  <a:lnTo>
                    <a:pt x="1167" y="38"/>
                  </a:lnTo>
                  <a:lnTo>
                    <a:pt x="1170" y="38"/>
                  </a:lnTo>
                  <a:lnTo>
                    <a:pt x="1175" y="41"/>
                  </a:lnTo>
                  <a:lnTo>
                    <a:pt x="1182" y="41"/>
                  </a:lnTo>
                  <a:lnTo>
                    <a:pt x="1185" y="43"/>
                  </a:lnTo>
                  <a:lnTo>
                    <a:pt x="1190" y="46"/>
                  </a:lnTo>
                  <a:lnTo>
                    <a:pt x="1192" y="48"/>
                  </a:lnTo>
                  <a:lnTo>
                    <a:pt x="1192" y="51"/>
                  </a:lnTo>
                  <a:lnTo>
                    <a:pt x="1192" y="56"/>
                  </a:lnTo>
                  <a:lnTo>
                    <a:pt x="1192" y="58"/>
                  </a:lnTo>
                  <a:lnTo>
                    <a:pt x="1192" y="63"/>
                  </a:lnTo>
                  <a:lnTo>
                    <a:pt x="1187" y="66"/>
                  </a:lnTo>
                  <a:lnTo>
                    <a:pt x="1185" y="68"/>
                  </a:lnTo>
                  <a:lnTo>
                    <a:pt x="1180" y="71"/>
                  </a:lnTo>
                  <a:lnTo>
                    <a:pt x="1175" y="71"/>
                  </a:lnTo>
                  <a:lnTo>
                    <a:pt x="1165" y="71"/>
                  </a:lnTo>
                  <a:lnTo>
                    <a:pt x="1160" y="66"/>
                  </a:lnTo>
                  <a:lnTo>
                    <a:pt x="1155" y="61"/>
                  </a:lnTo>
                  <a:lnTo>
                    <a:pt x="1152" y="56"/>
                  </a:lnTo>
                  <a:close/>
                  <a:moveTo>
                    <a:pt x="357" y="51"/>
                  </a:moveTo>
                  <a:lnTo>
                    <a:pt x="365" y="53"/>
                  </a:lnTo>
                  <a:lnTo>
                    <a:pt x="362" y="61"/>
                  </a:lnTo>
                  <a:lnTo>
                    <a:pt x="360" y="66"/>
                  </a:lnTo>
                  <a:lnTo>
                    <a:pt x="353" y="71"/>
                  </a:lnTo>
                  <a:lnTo>
                    <a:pt x="345" y="71"/>
                  </a:lnTo>
                  <a:lnTo>
                    <a:pt x="335" y="68"/>
                  </a:lnTo>
                  <a:lnTo>
                    <a:pt x="330" y="63"/>
                  </a:lnTo>
                  <a:lnTo>
                    <a:pt x="325" y="56"/>
                  </a:lnTo>
                  <a:lnTo>
                    <a:pt x="323" y="46"/>
                  </a:lnTo>
                  <a:lnTo>
                    <a:pt x="323" y="38"/>
                  </a:lnTo>
                  <a:lnTo>
                    <a:pt x="325" y="31"/>
                  </a:lnTo>
                  <a:lnTo>
                    <a:pt x="330" y="26"/>
                  </a:lnTo>
                  <a:lnTo>
                    <a:pt x="333" y="23"/>
                  </a:lnTo>
                  <a:lnTo>
                    <a:pt x="340" y="21"/>
                  </a:lnTo>
                  <a:lnTo>
                    <a:pt x="345" y="18"/>
                  </a:lnTo>
                  <a:lnTo>
                    <a:pt x="353" y="21"/>
                  </a:lnTo>
                  <a:lnTo>
                    <a:pt x="357" y="23"/>
                  </a:lnTo>
                  <a:lnTo>
                    <a:pt x="362" y="28"/>
                  </a:lnTo>
                  <a:lnTo>
                    <a:pt x="365" y="36"/>
                  </a:lnTo>
                  <a:lnTo>
                    <a:pt x="357" y="36"/>
                  </a:lnTo>
                  <a:lnTo>
                    <a:pt x="355" y="31"/>
                  </a:lnTo>
                  <a:lnTo>
                    <a:pt x="353" y="28"/>
                  </a:lnTo>
                  <a:lnTo>
                    <a:pt x="350" y="26"/>
                  </a:lnTo>
                  <a:lnTo>
                    <a:pt x="345" y="26"/>
                  </a:lnTo>
                  <a:lnTo>
                    <a:pt x="340" y="28"/>
                  </a:lnTo>
                  <a:lnTo>
                    <a:pt x="335" y="31"/>
                  </a:lnTo>
                  <a:lnTo>
                    <a:pt x="333" y="36"/>
                  </a:lnTo>
                  <a:lnTo>
                    <a:pt x="333" y="46"/>
                  </a:lnTo>
                  <a:lnTo>
                    <a:pt x="333" y="53"/>
                  </a:lnTo>
                  <a:lnTo>
                    <a:pt x="335" y="58"/>
                  </a:lnTo>
                  <a:lnTo>
                    <a:pt x="340" y="63"/>
                  </a:lnTo>
                  <a:lnTo>
                    <a:pt x="345" y="63"/>
                  </a:lnTo>
                  <a:lnTo>
                    <a:pt x="350" y="63"/>
                  </a:lnTo>
                  <a:lnTo>
                    <a:pt x="353" y="61"/>
                  </a:lnTo>
                  <a:lnTo>
                    <a:pt x="355" y="58"/>
                  </a:lnTo>
                  <a:lnTo>
                    <a:pt x="357" y="51"/>
                  </a:lnTo>
                  <a:close/>
                </a:path>
              </a:pathLst>
            </a:custGeom>
            <a:solidFill>
              <a:srgbClr val="17357C"/>
            </a:solidFill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27" name="Rectangle 24"/>
            <p:cNvSpPr>
              <a:spLocks noChangeArrowheads="1"/>
            </p:cNvSpPr>
            <p:nvPr/>
          </p:nvSpPr>
          <p:spPr bwMode="auto">
            <a:xfrm>
              <a:off x="1214" y="1814"/>
              <a:ext cx="80" cy="82"/>
            </a:xfrm>
            <a:prstGeom prst="rect">
              <a:avLst/>
            </a:prstGeom>
            <a:solidFill>
              <a:srgbClr val="17357C"/>
            </a:solidFill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ru-RU" sz="240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</p:grpSp>
      <p:sp>
        <p:nvSpPr>
          <p:cNvPr id="10243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85800" y="2286000"/>
            <a:ext cx="7772400" cy="1143000"/>
          </a:xfrm>
        </p:spPr>
        <p:txBody>
          <a:bodyPr/>
          <a:lstStyle>
            <a:lvl1pPr algn="r"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10244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600200" y="3886200"/>
            <a:ext cx="6400800" cy="1752600"/>
          </a:xfrm>
          <a:ln/>
        </p:spPr>
        <p:txBody>
          <a:bodyPr anchor="b"/>
          <a:lstStyle>
            <a:lvl1pPr marL="0" indent="0" algn="ctr">
              <a:buFont typeface="Arial" charset="0"/>
              <a:buNone/>
              <a:defRPr/>
            </a:lvl1pPr>
          </a:lstStyle>
          <a:p>
            <a:r>
              <a:rPr lang="ru-RU"/>
              <a:t>Образец подзаголовка</a:t>
            </a: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682C1F2-FAB7-46E1-A577-66ED3953B8D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85800" y="1219200"/>
            <a:ext cx="3810000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219200"/>
            <a:ext cx="3810000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15100" y="209550"/>
            <a:ext cx="1943100" cy="588645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85800" y="209550"/>
            <a:ext cx="5676900" cy="588645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5800" y="209550"/>
            <a:ext cx="7772400" cy="6096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685800" y="1219200"/>
            <a:ext cx="7772400" cy="4876800"/>
          </a:xfrm>
        </p:spPr>
        <p:txBody>
          <a:bodyPr/>
          <a:lstStyle/>
          <a:p>
            <a:pPr lvl="0"/>
            <a:endParaRPr lang="ru-RU" noProof="0" dirty="0" smtClean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A6C1BDB-F784-44D4-9C0D-8484750E1C6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85800" y="1219200"/>
            <a:ext cx="3810000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219200"/>
            <a:ext cx="3810000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A2C1E04-33F1-4428-BB73-917CFBAB4AB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61528A-0495-4456-9243-76CADB89BC6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C67D200-D349-40B6-A50B-DB1269EECA3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219E6CB-B984-4941-8378-DD7A3123FFA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CB0AFA-5F01-40CD-B0BE-354D381DDF2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BAD272-A8E6-47D4-A33B-D69EEC07BA4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7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6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5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9" name="Rectangle 3"/>
          <p:cNvSpPr>
            <a:spLocks noGrp="1" noChangeArrowheads="1"/>
          </p:cNvSpPr>
          <p:nvPr>
            <p:ph type="body" idx="1"/>
            <p:custDataLst>
              <p:tags r:id="rId19"/>
            </p:custDataLst>
          </p:nvPr>
        </p:nvSpPr>
        <p:spPr bwMode="auto">
          <a:xfrm>
            <a:off x="685800" y="1219200"/>
            <a:ext cx="7772400" cy="487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17" tIns="45709" rIns="91417" bIns="4570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1027" name="Line 8"/>
          <p:cNvSpPr>
            <a:spLocks noChangeShapeType="1"/>
          </p:cNvSpPr>
          <p:nvPr>
            <p:custDataLst>
              <p:tags r:id="rId20"/>
            </p:custDataLst>
          </p:nvPr>
        </p:nvSpPr>
        <p:spPr bwMode="auto">
          <a:xfrm>
            <a:off x="0" y="1047750"/>
            <a:ext cx="9144000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 type="none" w="sm" len="sm"/>
            <a:tailEnd type="none" w="sm" len="sm"/>
          </a:ln>
          <a:extLst/>
        </p:spPr>
        <p:txBody>
          <a:bodyPr lIns="594000" tIns="0" rIns="216000" bIns="0" anchor="ctr"/>
          <a:lstStyle/>
          <a:p>
            <a:pPr>
              <a:defRPr/>
            </a:pPr>
            <a:endParaRPr lang="ru-RU"/>
          </a:p>
        </p:txBody>
      </p:sp>
      <p:sp>
        <p:nvSpPr>
          <p:cNvPr id="1431" name="Rectangle 5"/>
          <p:cNvSpPr>
            <a:spLocks noGrp="1" noChangeArrowheads="1"/>
          </p:cNvSpPr>
          <p:nvPr>
            <p:ph type="title"/>
            <p:custDataLst>
              <p:tags r:id="rId21"/>
            </p:custDataLst>
          </p:nvPr>
        </p:nvSpPr>
        <p:spPr bwMode="auto">
          <a:xfrm>
            <a:off x="685800" y="209550"/>
            <a:ext cx="7772400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17" tIns="45709" rIns="91417" bIns="45709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029" name="Line 7"/>
          <p:cNvSpPr>
            <a:spLocks noChangeShapeType="1"/>
          </p:cNvSpPr>
          <p:nvPr>
            <p:custDataLst>
              <p:tags r:id="rId22"/>
            </p:custDataLst>
          </p:nvPr>
        </p:nvSpPr>
        <p:spPr bwMode="auto">
          <a:xfrm>
            <a:off x="0" y="6248400"/>
            <a:ext cx="9144000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 type="none" w="sm" len="sm"/>
            <a:tailEnd type="none" w="sm" len="sm"/>
          </a:ln>
          <a:effectLst/>
          <a:extLst/>
        </p:spPr>
        <p:txBody>
          <a:bodyPr lIns="594000" tIns="0" rIns="216000" bIns="0" anchor="ctr"/>
          <a:lstStyle/>
          <a:p>
            <a:pPr>
              <a:defRPr/>
            </a:pPr>
            <a:endParaRPr lang="ru-RU"/>
          </a:p>
        </p:txBody>
      </p:sp>
      <p:sp>
        <p:nvSpPr>
          <p:cNvPr id="710662" name="Rectangle 6"/>
          <p:cNvSpPr>
            <a:spLocks noGrp="1" noChangeArrowheads="1"/>
          </p:cNvSpPr>
          <p:nvPr>
            <p:ph type="sldNum" sz="quarter" idx="4"/>
            <p:custDataLst>
              <p:tags r:id="rId23"/>
            </p:custDataLst>
          </p:nvPr>
        </p:nvSpPr>
        <p:spPr bwMode="auto">
          <a:xfrm>
            <a:off x="4343400" y="6062663"/>
            <a:ext cx="457200" cy="360362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vert="horz" wrap="square" lIns="46789" tIns="45709" rIns="46789" bIns="45709" numCol="1" anchor="ctr" anchorCtr="1" compatLnSpc="1">
            <a:prstTxWarp prst="textNoShape">
              <a:avLst/>
            </a:prstTxWarp>
          </a:bodyPr>
          <a:lstStyle>
            <a:lvl1pPr algn="ctr">
              <a:defRPr sz="140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79771302-FE8D-4904-9C03-83BBAD4BABF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graphicFrame>
        <p:nvGraphicFramePr>
          <p:cNvPr id="1427" name="AutoShape 403"/>
          <p:cNvGraphicFramePr>
            <a:graphicFrameLocks/>
          </p:cNvGraphicFramePr>
          <p:nvPr>
            <p:custDataLst>
              <p:tags r:id="rId2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427" name="think-cell Slide" r:id="rId25" imgW="0" imgH="0" progId="">
              <p:embed/>
            </p:oleObj>
          </a:graphicData>
        </a:graphic>
      </p:graphicFrame>
      <p:grpSp>
        <p:nvGrpSpPr>
          <p:cNvPr id="1434" name="Group 1"/>
          <p:cNvGrpSpPr>
            <a:grpSpLocks/>
          </p:cNvGrpSpPr>
          <p:nvPr userDrawn="1"/>
        </p:nvGrpSpPr>
        <p:grpSpPr bwMode="auto">
          <a:xfrm>
            <a:off x="6815138" y="6419850"/>
            <a:ext cx="1635125" cy="398463"/>
            <a:chOff x="1214" y="1741"/>
            <a:chExt cx="2340" cy="571"/>
          </a:xfrm>
        </p:grpSpPr>
        <p:sp>
          <p:nvSpPr>
            <p:cNvPr id="1033" name="Rectangle 2"/>
            <p:cNvSpPr>
              <a:spLocks noChangeArrowheads="1"/>
            </p:cNvSpPr>
            <p:nvPr/>
          </p:nvSpPr>
          <p:spPr bwMode="auto">
            <a:xfrm>
              <a:off x="1214" y="1814"/>
              <a:ext cx="80" cy="82"/>
            </a:xfrm>
            <a:prstGeom prst="rect">
              <a:avLst/>
            </a:prstGeom>
            <a:solidFill>
              <a:srgbClr val="17357C"/>
            </a:solidFill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ru-RU" sz="240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1034" name="Rectangle 3"/>
            <p:cNvSpPr>
              <a:spLocks noChangeArrowheads="1"/>
            </p:cNvSpPr>
            <p:nvPr/>
          </p:nvSpPr>
          <p:spPr bwMode="auto">
            <a:xfrm>
              <a:off x="1423" y="1821"/>
              <a:ext cx="86" cy="89"/>
            </a:xfrm>
            <a:prstGeom prst="rect">
              <a:avLst/>
            </a:prstGeom>
            <a:solidFill>
              <a:srgbClr val="17357C"/>
            </a:solidFill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ru-RU" sz="240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1035" name="Rectangle 4"/>
            <p:cNvSpPr>
              <a:spLocks noChangeArrowheads="1"/>
            </p:cNvSpPr>
            <p:nvPr/>
          </p:nvSpPr>
          <p:spPr bwMode="auto">
            <a:xfrm>
              <a:off x="1534" y="1814"/>
              <a:ext cx="105" cy="107"/>
            </a:xfrm>
            <a:prstGeom prst="rect">
              <a:avLst/>
            </a:prstGeom>
            <a:solidFill>
              <a:srgbClr val="17357C"/>
            </a:solidFill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ru-RU" sz="240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1036" name="Rectangle 5"/>
            <p:cNvSpPr>
              <a:spLocks noChangeArrowheads="1"/>
            </p:cNvSpPr>
            <p:nvPr/>
          </p:nvSpPr>
          <p:spPr bwMode="auto">
            <a:xfrm>
              <a:off x="1321" y="1862"/>
              <a:ext cx="61" cy="61"/>
            </a:xfrm>
            <a:prstGeom prst="rect">
              <a:avLst/>
            </a:prstGeom>
            <a:solidFill>
              <a:srgbClr val="007CC3"/>
            </a:solidFill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ru-RU" sz="240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1037" name="Rectangle 6"/>
            <p:cNvSpPr>
              <a:spLocks noChangeArrowheads="1"/>
            </p:cNvSpPr>
            <p:nvPr/>
          </p:nvSpPr>
          <p:spPr bwMode="auto">
            <a:xfrm>
              <a:off x="1248" y="1987"/>
              <a:ext cx="64" cy="61"/>
            </a:xfrm>
            <a:prstGeom prst="rect">
              <a:avLst/>
            </a:prstGeom>
            <a:solidFill>
              <a:srgbClr val="007CC3"/>
            </a:solidFill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ru-RU" sz="240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1038" name="Rectangle 7"/>
            <p:cNvSpPr>
              <a:spLocks noChangeArrowheads="1"/>
            </p:cNvSpPr>
            <p:nvPr/>
          </p:nvSpPr>
          <p:spPr bwMode="auto">
            <a:xfrm>
              <a:off x="1343" y="1946"/>
              <a:ext cx="145" cy="148"/>
            </a:xfrm>
            <a:prstGeom prst="rect">
              <a:avLst/>
            </a:prstGeom>
            <a:solidFill>
              <a:srgbClr val="17357C"/>
            </a:solidFill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ru-RU" sz="240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1039" name="Rectangle 8"/>
            <p:cNvSpPr>
              <a:spLocks noChangeArrowheads="1"/>
            </p:cNvSpPr>
            <p:nvPr/>
          </p:nvSpPr>
          <p:spPr bwMode="auto">
            <a:xfrm>
              <a:off x="1525" y="1978"/>
              <a:ext cx="84" cy="86"/>
            </a:xfrm>
            <a:prstGeom prst="rect">
              <a:avLst/>
            </a:prstGeom>
            <a:solidFill>
              <a:srgbClr val="007CC3"/>
            </a:solidFill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ru-RU" sz="240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1040" name="Rectangle 9"/>
            <p:cNvSpPr>
              <a:spLocks noChangeArrowheads="1"/>
            </p:cNvSpPr>
            <p:nvPr/>
          </p:nvSpPr>
          <p:spPr bwMode="auto">
            <a:xfrm>
              <a:off x="1503" y="2096"/>
              <a:ext cx="150" cy="150"/>
            </a:xfrm>
            <a:prstGeom prst="rect">
              <a:avLst/>
            </a:prstGeom>
            <a:solidFill>
              <a:srgbClr val="17357C"/>
            </a:solidFill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ru-RU" sz="240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1041" name="Rectangle 10"/>
            <p:cNvSpPr>
              <a:spLocks noChangeArrowheads="1"/>
            </p:cNvSpPr>
            <p:nvPr/>
          </p:nvSpPr>
          <p:spPr bwMode="auto">
            <a:xfrm>
              <a:off x="1355" y="2121"/>
              <a:ext cx="84" cy="86"/>
            </a:xfrm>
            <a:prstGeom prst="rect">
              <a:avLst/>
            </a:prstGeom>
            <a:solidFill>
              <a:srgbClr val="007CC3"/>
            </a:solidFill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ru-RU" sz="240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1042" name="Rectangle 11"/>
            <p:cNvSpPr>
              <a:spLocks noChangeArrowheads="1"/>
            </p:cNvSpPr>
            <p:nvPr/>
          </p:nvSpPr>
          <p:spPr bwMode="auto">
            <a:xfrm>
              <a:off x="1214" y="2132"/>
              <a:ext cx="107" cy="107"/>
            </a:xfrm>
            <a:prstGeom prst="rect">
              <a:avLst/>
            </a:prstGeom>
            <a:solidFill>
              <a:srgbClr val="17357C"/>
            </a:solidFill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ru-RU" sz="240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1043" name="Rectangle 12"/>
            <p:cNvSpPr>
              <a:spLocks noChangeArrowheads="1"/>
            </p:cNvSpPr>
            <p:nvPr/>
          </p:nvSpPr>
          <p:spPr bwMode="auto">
            <a:xfrm>
              <a:off x="1748" y="1809"/>
              <a:ext cx="127" cy="127"/>
            </a:xfrm>
            <a:prstGeom prst="rect">
              <a:avLst/>
            </a:prstGeom>
            <a:solidFill>
              <a:srgbClr val="17357C"/>
            </a:solidFill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ru-RU" sz="240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1044" name="Rectangle 13"/>
            <p:cNvSpPr>
              <a:spLocks noChangeArrowheads="1"/>
            </p:cNvSpPr>
            <p:nvPr/>
          </p:nvSpPr>
          <p:spPr bwMode="auto">
            <a:xfrm>
              <a:off x="1905" y="1809"/>
              <a:ext cx="127" cy="127"/>
            </a:xfrm>
            <a:prstGeom prst="rect">
              <a:avLst/>
            </a:prstGeom>
            <a:solidFill>
              <a:srgbClr val="17357C"/>
            </a:solidFill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ru-RU" sz="240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1045" name="Rectangle 14"/>
            <p:cNvSpPr>
              <a:spLocks noChangeArrowheads="1"/>
            </p:cNvSpPr>
            <p:nvPr/>
          </p:nvSpPr>
          <p:spPr bwMode="auto">
            <a:xfrm>
              <a:off x="2061" y="1809"/>
              <a:ext cx="127" cy="127"/>
            </a:xfrm>
            <a:prstGeom prst="rect">
              <a:avLst/>
            </a:prstGeom>
            <a:solidFill>
              <a:srgbClr val="17357C"/>
            </a:solidFill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ru-RU" sz="240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1046" name="Rectangle 15"/>
            <p:cNvSpPr>
              <a:spLocks noChangeArrowheads="1"/>
            </p:cNvSpPr>
            <p:nvPr/>
          </p:nvSpPr>
          <p:spPr bwMode="auto">
            <a:xfrm>
              <a:off x="1748" y="1964"/>
              <a:ext cx="127" cy="127"/>
            </a:xfrm>
            <a:prstGeom prst="rect">
              <a:avLst/>
            </a:prstGeom>
            <a:solidFill>
              <a:srgbClr val="17357C"/>
            </a:solidFill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ru-RU" sz="240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1047" name="Rectangle 16"/>
            <p:cNvSpPr>
              <a:spLocks noChangeArrowheads="1"/>
            </p:cNvSpPr>
            <p:nvPr/>
          </p:nvSpPr>
          <p:spPr bwMode="auto">
            <a:xfrm>
              <a:off x="1905" y="1964"/>
              <a:ext cx="127" cy="127"/>
            </a:xfrm>
            <a:prstGeom prst="rect">
              <a:avLst/>
            </a:prstGeom>
            <a:solidFill>
              <a:srgbClr val="17357C"/>
            </a:solidFill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ru-RU" sz="240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1048" name="Rectangle 17"/>
            <p:cNvSpPr>
              <a:spLocks noChangeArrowheads="1"/>
            </p:cNvSpPr>
            <p:nvPr/>
          </p:nvSpPr>
          <p:spPr bwMode="auto">
            <a:xfrm>
              <a:off x="2061" y="1964"/>
              <a:ext cx="127" cy="127"/>
            </a:xfrm>
            <a:prstGeom prst="rect">
              <a:avLst/>
            </a:prstGeom>
            <a:solidFill>
              <a:srgbClr val="17357C"/>
            </a:solidFill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ru-RU" sz="240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1049" name="Rectangle 18"/>
            <p:cNvSpPr>
              <a:spLocks noChangeArrowheads="1"/>
            </p:cNvSpPr>
            <p:nvPr/>
          </p:nvSpPr>
          <p:spPr bwMode="auto">
            <a:xfrm>
              <a:off x="1748" y="2119"/>
              <a:ext cx="127" cy="127"/>
            </a:xfrm>
            <a:prstGeom prst="rect">
              <a:avLst/>
            </a:prstGeom>
            <a:solidFill>
              <a:srgbClr val="17357C"/>
            </a:solidFill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ru-RU" sz="240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1050" name="Rectangle 19"/>
            <p:cNvSpPr>
              <a:spLocks noChangeArrowheads="1"/>
            </p:cNvSpPr>
            <p:nvPr/>
          </p:nvSpPr>
          <p:spPr bwMode="auto">
            <a:xfrm>
              <a:off x="1905" y="2119"/>
              <a:ext cx="127" cy="127"/>
            </a:xfrm>
            <a:prstGeom prst="rect">
              <a:avLst/>
            </a:prstGeom>
            <a:solidFill>
              <a:srgbClr val="17357C"/>
            </a:solidFill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ru-RU" sz="240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1051" name="Rectangle 20"/>
            <p:cNvSpPr>
              <a:spLocks noChangeArrowheads="1"/>
            </p:cNvSpPr>
            <p:nvPr/>
          </p:nvSpPr>
          <p:spPr bwMode="auto">
            <a:xfrm>
              <a:off x="2061" y="2119"/>
              <a:ext cx="127" cy="127"/>
            </a:xfrm>
            <a:prstGeom prst="rect">
              <a:avLst/>
            </a:prstGeom>
            <a:solidFill>
              <a:srgbClr val="17357C"/>
            </a:solidFill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ru-RU" sz="240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1052" name="Rectangle 21"/>
            <p:cNvSpPr>
              <a:spLocks noChangeArrowheads="1"/>
            </p:cNvSpPr>
            <p:nvPr/>
          </p:nvSpPr>
          <p:spPr bwMode="auto">
            <a:xfrm>
              <a:off x="1693" y="1741"/>
              <a:ext cx="14" cy="571"/>
            </a:xfrm>
            <a:prstGeom prst="rect">
              <a:avLst/>
            </a:prstGeom>
            <a:solidFill>
              <a:srgbClr val="848282"/>
            </a:solidFill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ru-RU" sz="240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1053" name="Freeform 22"/>
            <p:cNvSpPr>
              <a:spLocks noEditPoints="1"/>
            </p:cNvSpPr>
            <p:nvPr/>
          </p:nvSpPr>
          <p:spPr bwMode="auto">
            <a:xfrm>
              <a:off x="2368" y="1805"/>
              <a:ext cx="1181" cy="337"/>
            </a:xfrm>
            <a:custGeom>
              <a:avLst/>
              <a:gdLst>
                <a:gd name="T0" fmla="*/ 0 w 1182"/>
                <a:gd name="T1" fmla="*/ 230 h 338"/>
                <a:gd name="T2" fmla="*/ 12 w 1182"/>
                <a:gd name="T3" fmla="*/ 300 h 338"/>
                <a:gd name="T4" fmla="*/ 84 w 1182"/>
                <a:gd name="T5" fmla="*/ 338 h 338"/>
                <a:gd name="T6" fmla="*/ 228 w 1182"/>
                <a:gd name="T7" fmla="*/ 255 h 338"/>
                <a:gd name="T8" fmla="*/ 166 w 1182"/>
                <a:gd name="T9" fmla="*/ 147 h 338"/>
                <a:gd name="T10" fmla="*/ 87 w 1182"/>
                <a:gd name="T11" fmla="*/ 97 h 338"/>
                <a:gd name="T12" fmla="*/ 109 w 1182"/>
                <a:gd name="T13" fmla="*/ 25 h 338"/>
                <a:gd name="T14" fmla="*/ 176 w 1182"/>
                <a:gd name="T15" fmla="*/ 55 h 338"/>
                <a:gd name="T16" fmla="*/ 201 w 1182"/>
                <a:gd name="T17" fmla="*/ 92 h 338"/>
                <a:gd name="T18" fmla="*/ 218 w 1182"/>
                <a:gd name="T19" fmla="*/ 20 h 338"/>
                <a:gd name="T20" fmla="*/ 141 w 1182"/>
                <a:gd name="T21" fmla="*/ 0 h 338"/>
                <a:gd name="T22" fmla="*/ 17 w 1182"/>
                <a:gd name="T23" fmla="*/ 72 h 338"/>
                <a:gd name="T24" fmla="*/ 84 w 1182"/>
                <a:gd name="T25" fmla="*/ 190 h 338"/>
                <a:gd name="T26" fmla="*/ 161 w 1182"/>
                <a:gd name="T27" fmla="*/ 260 h 338"/>
                <a:gd name="T28" fmla="*/ 124 w 1182"/>
                <a:gd name="T29" fmla="*/ 310 h 338"/>
                <a:gd name="T30" fmla="*/ 54 w 1182"/>
                <a:gd name="T31" fmla="*/ 283 h 338"/>
                <a:gd name="T32" fmla="*/ 452 w 1182"/>
                <a:gd name="T33" fmla="*/ 35 h 338"/>
                <a:gd name="T34" fmla="*/ 479 w 1182"/>
                <a:gd name="T35" fmla="*/ 80 h 338"/>
                <a:gd name="T36" fmla="*/ 479 w 1182"/>
                <a:gd name="T37" fmla="*/ 190 h 338"/>
                <a:gd name="T38" fmla="*/ 477 w 1182"/>
                <a:gd name="T39" fmla="*/ 275 h 338"/>
                <a:gd name="T40" fmla="*/ 447 w 1182"/>
                <a:gd name="T41" fmla="*/ 303 h 338"/>
                <a:gd name="T42" fmla="*/ 425 w 1182"/>
                <a:gd name="T43" fmla="*/ 325 h 338"/>
                <a:gd name="T44" fmla="*/ 504 w 1182"/>
                <a:gd name="T45" fmla="*/ 330 h 338"/>
                <a:gd name="T46" fmla="*/ 603 w 1182"/>
                <a:gd name="T47" fmla="*/ 330 h 338"/>
                <a:gd name="T48" fmla="*/ 710 w 1182"/>
                <a:gd name="T49" fmla="*/ 280 h 338"/>
                <a:gd name="T50" fmla="*/ 705 w 1182"/>
                <a:gd name="T51" fmla="*/ 175 h 338"/>
                <a:gd name="T52" fmla="*/ 653 w 1182"/>
                <a:gd name="T53" fmla="*/ 145 h 338"/>
                <a:gd name="T54" fmla="*/ 703 w 1182"/>
                <a:gd name="T55" fmla="*/ 60 h 338"/>
                <a:gd name="T56" fmla="*/ 601 w 1182"/>
                <a:gd name="T57" fmla="*/ 7 h 338"/>
                <a:gd name="T58" fmla="*/ 457 w 1182"/>
                <a:gd name="T59" fmla="*/ 7 h 338"/>
                <a:gd name="T60" fmla="*/ 432 w 1182"/>
                <a:gd name="T61" fmla="*/ 27 h 338"/>
                <a:gd name="T62" fmla="*/ 636 w 1182"/>
                <a:gd name="T63" fmla="*/ 77 h 338"/>
                <a:gd name="T64" fmla="*/ 591 w 1182"/>
                <a:gd name="T65" fmla="*/ 142 h 338"/>
                <a:gd name="T66" fmla="*/ 549 w 1182"/>
                <a:gd name="T67" fmla="*/ 140 h 338"/>
                <a:gd name="T68" fmla="*/ 549 w 1182"/>
                <a:gd name="T69" fmla="*/ 62 h 338"/>
                <a:gd name="T70" fmla="*/ 556 w 1182"/>
                <a:gd name="T71" fmla="*/ 35 h 338"/>
                <a:gd name="T72" fmla="*/ 571 w 1182"/>
                <a:gd name="T73" fmla="*/ 300 h 338"/>
                <a:gd name="T74" fmla="*/ 549 w 1182"/>
                <a:gd name="T75" fmla="*/ 255 h 338"/>
                <a:gd name="T76" fmla="*/ 549 w 1182"/>
                <a:gd name="T77" fmla="*/ 170 h 338"/>
                <a:gd name="T78" fmla="*/ 569 w 1182"/>
                <a:gd name="T79" fmla="*/ 170 h 338"/>
                <a:gd name="T80" fmla="*/ 653 w 1182"/>
                <a:gd name="T81" fmla="*/ 238 h 338"/>
                <a:gd name="T82" fmla="*/ 973 w 1182"/>
                <a:gd name="T83" fmla="*/ 223 h 338"/>
                <a:gd name="T84" fmla="*/ 951 w 1182"/>
                <a:gd name="T85" fmla="*/ 240 h 338"/>
                <a:gd name="T86" fmla="*/ 968 w 1182"/>
                <a:gd name="T87" fmla="*/ 315 h 338"/>
                <a:gd name="T88" fmla="*/ 1085 w 1182"/>
                <a:gd name="T89" fmla="*/ 335 h 338"/>
                <a:gd name="T90" fmla="*/ 1180 w 1182"/>
                <a:gd name="T91" fmla="*/ 218 h 338"/>
                <a:gd name="T92" fmla="*/ 1098 w 1182"/>
                <a:gd name="T93" fmla="*/ 135 h 338"/>
                <a:gd name="T94" fmla="*/ 1031 w 1182"/>
                <a:gd name="T95" fmla="*/ 80 h 338"/>
                <a:gd name="T96" fmla="*/ 1088 w 1182"/>
                <a:gd name="T97" fmla="*/ 25 h 338"/>
                <a:gd name="T98" fmla="*/ 1135 w 1182"/>
                <a:gd name="T99" fmla="*/ 77 h 338"/>
                <a:gd name="T100" fmla="*/ 1160 w 1182"/>
                <a:gd name="T101" fmla="*/ 90 h 338"/>
                <a:gd name="T102" fmla="*/ 1162 w 1182"/>
                <a:gd name="T103" fmla="*/ 7 h 338"/>
                <a:gd name="T104" fmla="*/ 1058 w 1182"/>
                <a:gd name="T105" fmla="*/ 0 h 338"/>
                <a:gd name="T106" fmla="*/ 968 w 1182"/>
                <a:gd name="T107" fmla="*/ 115 h 338"/>
                <a:gd name="T108" fmla="*/ 1068 w 1182"/>
                <a:gd name="T109" fmla="*/ 210 h 338"/>
                <a:gd name="T110" fmla="*/ 1112 w 1182"/>
                <a:gd name="T111" fmla="*/ 280 h 338"/>
                <a:gd name="T112" fmla="*/ 1060 w 1182"/>
                <a:gd name="T113" fmla="*/ 310 h 338"/>
                <a:gd name="T114" fmla="*/ 986 w 1182"/>
                <a:gd name="T115" fmla="*/ 248 h 33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1182" h="338">
                  <a:moveTo>
                    <a:pt x="25" y="225"/>
                  </a:moveTo>
                  <a:lnTo>
                    <a:pt x="22" y="223"/>
                  </a:lnTo>
                  <a:lnTo>
                    <a:pt x="20" y="225"/>
                  </a:lnTo>
                  <a:lnTo>
                    <a:pt x="15" y="225"/>
                  </a:lnTo>
                  <a:lnTo>
                    <a:pt x="10" y="225"/>
                  </a:lnTo>
                  <a:lnTo>
                    <a:pt x="7" y="228"/>
                  </a:lnTo>
                  <a:lnTo>
                    <a:pt x="5" y="228"/>
                  </a:lnTo>
                  <a:lnTo>
                    <a:pt x="0" y="230"/>
                  </a:lnTo>
                  <a:lnTo>
                    <a:pt x="0" y="233"/>
                  </a:lnTo>
                  <a:lnTo>
                    <a:pt x="0" y="240"/>
                  </a:lnTo>
                  <a:lnTo>
                    <a:pt x="0" y="248"/>
                  </a:lnTo>
                  <a:lnTo>
                    <a:pt x="2" y="258"/>
                  </a:lnTo>
                  <a:lnTo>
                    <a:pt x="5" y="270"/>
                  </a:lnTo>
                  <a:lnTo>
                    <a:pt x="7" y="280"/>
                  </a:lnTo>
                  <a:lnTo>
                    <a:pt x="10" y="290"/>
                  </a:lnTo>
                  <a:lnTo>
                    <a:pt x="12" y="300"/>
                  </a:lnTo>
                  <a:lnTo>
                    <a:pt x="15" y="310"/>
                  </a:lnTo>
                  <a:lnTo>
                    <a:pt x="17" y="315"/>
                  </a:lnTo>
                  <a:lnTo>
                    <a:pt x="20" y="320"/>
                  </a:lnTo>
                  <a:lnTo>
                    <a:pt x="27" y="323"/>
                  </a:lnTo>
                  <a:lnTo>
                    <a:pt x="40" y="328"/>
                  </a:lnTo>
                  <a:lnTo>
                    <a:pt x="52" y="330"/>
                  </a:lnTo>
                  <a:lnTo>
                    <a:pt x="67" y="335"/>
                  </a:lnTo>
                  <a:lnTo>
                    <a:pt x="84" y="338"/>
                  </a:lnTo>
                  <a:lnTo>
                    <a:pt x="104" y="338"/>
                  </a:lnTo>
                  <a:lnTo>
                    <a:pt x="131" y="335"/>
                  </a:lnTo>
                  <a:lnTo>
                    <a:pt x="159" y="330"/>
                  </a:lnTo>
                  <a:lnTo>
                    <a:pt x="179" y="320"/>
                  </a:lnTo>
                  <a:lnTo>
                    <a:pt x="199" y="308"/>
                  </a:lnTo>
                  <a:lnTo>
                    <a:pt x="211" y="293"/>
                  </a:lnTo>
                  <a:lnTo>
                    <a:pt x="221" y="275"/>
                  </a:lnTo>
                  <a:lnTo>
                    <a:pt x="228" y="255"/>
                  </a:lnTo>
                  <a:lnTo>
                    <a:pt x="231" y="235"/>
                  </a:lnTo>
                  <a:lnTo>
                    <a:pt x="228" y="218"/>
                  </a:lnTo>
                  <a:lnTo>
                    <a:pt x="223" y="203"/>
                  </a:lnTo>
                  <a:lnTo>
                    <a:pt x="216" y="188"/>
                  </a:lnTo>
                  <a:lnTo>
                    <a:pt x="206" y="175"/>
                  </a:lnTo>
                  <a:lnTo>
                    <a:pt x="194" y="165"/>
                  </a:lnTo>
                  <a:lnTo>
                    <a:pt x="176" y="155"/>
                  </a:lnTo>
                  <a:lnTo>
                    <a:pt x="166" y="147"/>
                  </a:lnTo>
                  <a:lnTo>
                    <a:pt x="154" y="142"/>
                  </a:lnTo>
                  <a:lnTo>
                    <a:pt x="144" y="135"/>
                  </a:lnTo>
                  <a:lnTo>
                    <a:pt x="134" y="130"/>
                  </a:lnTo>
                  <a:lnTo>
                    <a:pt x="124" y="125"/>
                  </a:lnTo>
                  <a:lnTo>
                    <a:pt x="112" y="117"/>
                  </a:lnTo>
                  <a:lnTo>
                    <a:pt x="102" y="112"/>
                  </a:lnTo>
                  <a:lnTo>
                    <a:pt x="94" y="105"/>
                  </a:lnTo>
                  <a:lnTo>
                    <a:pt x="87" y="97"/>
                  </a:lnTo>
                  <a:lnTo>
                    <a:pt x="82" y="90"/>
                  </a:lnTo>
                  <a:lnTo>
                    <a:pt x="79" y="80"/>
                  </a:lnTo>
                  <a:lnTo>
                    <a:pt x="79" y="67"/>
                  </a:lnTo>
                  <a:lnTo>
                    <a:pt x="79" y="57"/>
                  </a:lnTo>
                  <a:lnTo>
                    <a:pt x="84" y="47"/>
                  </a:lnTo>
                  <a:lnTo>
                    <a:pt x="89" y="37"/>
                  </a:lnTo>
                  <a:lnTo>
                    <a:pt x="99" y="30"/>
                  </a:lnTo>
                  <a:lnTo>
                    <a:pt x="109" y="25"/>
                  </a:lnTo>
                  <a:lnTo>
                    <a:pt x="124" y="25"/>
                  </a:lnTo>
                  <a:lnTo>
                    <a:pt x="134" y="25"/>
                  </a:lnTo>
                  <a:lnTo>
                    <a:pt x="146" y="27"/>
                  </a:lnTo>
                  <a:lnTo>
                    <a:pt x="154" y="30"/>
                  </a:lnTo>
                  <a:lnTo>
                    <a:pt x="164" y="35"/>
                  </a:lnTo>
                  <a:lnTo>
                    <a:pt x="169" y="40"/>
                  </a:lnTo>
                  <a:lnTo>
                    <a:pt x="174" y="47"/>
                  </a:lnTo>
                  <a:lnTo>
                    <a:pt x="176" y="55"/>
                  </a:lnTo>
                  <a:lnTo>
                    <a:pt x="181" y="65"/>
                  </a:lnTo>
                  <a:lnTo>
                    <a:pt x="184" y="77"/>
                  </a:lnTo>
                  <a:lnTo>
                    <a:pt x="186" y="90"/>
                  </a:lnTo>
                  <a:lnTo>
                    <a:pt x="189" y="92"/>
                  </a:lnTo>
                  <a:lnTo>
                    <a:pt x="191" y="92"/>
                  </a:lnTo>
                  <a:lnTo>
                    <a:pt x="194" y="92"/>
                  </a:lnTo>
                  <a:lnTo>
                    <a:pt x="199" y="92"/>
                  </a:lnTo>
                  <a:lnTo>
                    <a:pt x="201" y="92"/>
                  </a:lnTo>
                  <a:lnTo>
                    <a:pt x="206" y="92"/>
                  </a:lnTo>
                  <a:lnTo>
                    <a:pt x="208" y="90"/>
                  </a:lnTo>
                  <a:lnTo>
                    <a:pt x="211" y="90"/>
                  </a:lnTo>
                  <a:lnTo>
                    <a:pt x="211" y="75"/>
                  </a:lnTo>
                  <a:lnTo>
                    <a:pt x="213" y="60"/>
                  </a:lnTo>
                  <a:lnTo>
                    <a:pt x="213" y="45"/>
                  </a:lnTo>
                  <a:lnTo>
                    <a:pt x="216" y="32"/>
                  </a:lnTo>
                  <a:lnTo>
                    <a:pt x="218" y="20"/>
                  </a:lnTo>
                  <a:lnTo>
                    <a:pt x="218" y="10"/>
                  </a:lnTo>
                  <a:lnTo>
                    <a:pt x="208" y="7"/>
                  </a:lnTo>
                  <a:lnTo>
                    <a:pt x="199" y="7"/>
                  </a:lnTo>
                  <a:lnTo>
                    <a:pt x="189" y="5"/>
                  </a:lnTo>
                  <a:lnTo>
                    <a:pt x="179" y="2"/>
                  </a:lnTo>
                  <a:lnTo>
                    <a:pt x="166" y="2"/>
                  </a:lnTo>
                  <a:lnTo>
                    <a:pt x="156" y="0"/>
                  </a:lnTo>
                  <a:lnTo>
                    <a:pt x="141" y="0"/>
                  </a:lnTo>
                  <a:lnTo>
                    <a:pt x="126" y="0"/>
                  </a:lnTo>
                  <a:lnTo>
                    <a:pt x="104" y="0"/>
                  </a:lnTo>
                  <a:lnTo>
                    <a:pt x="84" y="5"/>
                  </a:lnTo>
                  <a:lnTo>
                    <a:pt x="64" y="12"/>
                  </a:lnTo>
                  <a:lnTo>
                    <a:pt x="47" y="25"/>
                  </a:lnTo>
                  <a:lnTo>
                    <a:pt x="35" y="37"/>
                  </a:lnTo>
                  <a:lnTo>
                    <a:pt x="25" y="55"/>
                  </a:lnTo>
                  <a:lnTo>
                    <a:pt x="17" y="72"/>
                  </a:lnTo>
                  <a:lnTo>
                    <a:pt x="15" y="95"/>
                  </a:lnTo>
                  <a:lnTo>
                    <a:pt x="17" y="115"/>
                  </a:lnTo>
                  <a:lnTo>
                    <a:pt x="22" y="132"/>
                  </a:lnTo>
                  <a:lnTo>
                    <a:pt x="30" y="147"/>
                  </a:lnTo>
                  <a:lnTo>
                    <a:pt x="42" y="160"/>
                  </a:lnTo>
                  <a:lnTo>
                    <a:pt x="54" y="173"/>
                  </a:lnTo>
                  <a:lnTo>
                    <a:pt x="69" y="183"/>
                  </a:lnTo>
                  <a:lnTo>
                    <a:pt x="84" y="190"/>
                  </a:lnTo>
                  <a:lnTo>
                    <a:pt x="99" y="200"/>
                  </a:lnTo>
                  <a:lnTo>
                    <a:pt x="117" y="210"/>
                  </a:lnTo>
                  <a:lnTo>
                    <a:pt x="131" y="220"/>
                  </a:lnTo>
                  <a:lnTo>
                    <a:pt x="141" y="230"/>
                  </a:lnTo>
                  <a:lnTo>
                    <a:pt x="151" y="238"/>
                  </a:lnTo>
                  <a:lnTo>
                    <a:pt x="156" y="245"/>
                  </a:lnTo>
                  <a:lnTo>
                    <a:pt x="159" y="253"/>
                  </a:lnTo>
                  <a:lnTo>
                    <a:pt x="161" y="260"/>
                  </a:lnTo>
                  <a:lnTo>
                    <a:pt x="161" y="270"/>
                  </a:lnTo>
                  <a:lnTo>
                    <a:pt x="161" y="280"/>
                  </a:lnTo>
                  <a:lnTo>
                    <a:pt x="159" y="288"/>
                  </a:lnTo>
                  <a:lnTo>
                    <a:pt x="154" y="295"/>
                  </a:lnTo>
                  <a:lnTo>
                    <a:pt x="146" y="300"/>
                  </a:lnTo>
                  <a:lnTo>
                    <a:pt x="139" y="305"/>
                  </a:lnTo>
                  <a:lnTo>
                    <a:pt x="131" y="308"/>
                  </a:lnTo>
                  <a:lnTo>
                    <a:pt x="124" y="310"/>
                  </a:lnTo>
                  <a:lnTo>
                    <a:pt x="117" y="310"/>
                  </a:lnTo>
                  <a:lnTo>
                    <a:pt x="109" y="310"/>
                  </a:lnTo>
                  <a:lnTo>
                    <a:pt x="99" y="308"/>
                  </a:lnTo>
                  <a:lnTo>
                    <a:pt x="92" y="305"/>
                  </a:lnTo>
                  <a:lnTo>
                    <a:pt x="82" y="303"/>
                  </a:lnTo>
                  <a:lnTo>
                    <a:pt x="74" y="300"/>
                  </a:lnTo>
                  <a:lnTo>
                    <a:pt x="67" y="295"/>
                  </a:lnTo>
                  <a:lnTo>
                    <a:pt x="54" y="283"/>
                  </a:lnTo>
                  <a:lnTo>
                    <a:pt x="42" y="268"/>
                  </a:lnTo>
                  <a:lnTo>
                    <a:pt x="32" y="248"/>
                  </a:lnTo>
                  <a:lnTo>
                    <a:pt x="25" y="225"/>
                  </a:lnTo>
                  <a:close/>
                  <a:moveTo>
                    <a:pt x="432" y="32"/>
                  </a:moveTo>
                  <a:lnTo>
                    <a:pt x="437" y="32"/>
                  </a:lnTo>
                  <a:lnTo>
                    <a:pt x="442" y="32"/>
                  </a:lnTo>
                  <a:lnTo>
                    <a:pt x="447" y="32"/>
                  </a:lnTo>
                  <a:lnTo>
                    <a:pt x="452" y="35"/>
                  </a:lnTo>
                  <a:lnTo>
                    <a:pt x="457" y="35"/>
                  </a:lnTo>
                  <a:lnTo>
                    <a:pt x="462" y="37"/>
                  </a:lnTo>
                  <a:lnTo>
                    <a:pt x="469" y="40"/>
                  </a:lnTo>
                  <a:lnTo>
                    <a:pt x="474" y="45"/>
                  </a:lnTo>
                  <a:lnTo>
                    <a:pt x="477" y="50"/>
                  </a:lnTo>
                  <a:lnTo>
                    <a:pt x="477" y="60"/>
                  </a:lnTo>
                  <a:lnTo>
                    <a:pt x="477" y="70"/>
                  </a:lnTo>
                  <a:lnTo>
                    <a:pt x="479" y="80"/>
                  </a:lnTo>
                  <a:lnTo>
                    <a:pt x="479" y="90"/>
                  </a:lnTo>
                  <a:lnTo>
                    <a:pt x="479" y="100"/>
                  </a:lnTo>
                  <a:lnTo>
                    <a:pt x="479" y="115"/>
                  </a:lnTo>
                  <a:lnTo>
                    <a:pt x="479" y="130"/>
                  </a:lnTo>
                  <a:lnTo>
                    <a:pt x="479" y="145"/>
                  </a:lnTo>
                  <a:lnTo>
                    <a:pt x="479" y="165"/>
                  </a:lnTo>
                  <a:lnTo>
                    <a:pt x="479" y="178"/>
                  </a:lnTo>
                  <a:lnTo>
                    <a:pt x="479" y="190"/>
                  </a:lnTo>
                  <a:lnTo>
                    <a:pt x="479" y="203"/>
                  </a:lnTo>
                  <a:lnTo>
                    <a:pt x="479" y="215"/>
                  </a:lnTo>
                  <a:lnTo>
                    <a:pt x="479" y="230"/>
                  </a:lnTo>
                  <a:lnTo>
                    <a:pt x="479" y="240"/>
                  </a:lnTo>
                  <a:lnTo>
                    <a:pt x="479" y="253"/>
                  </a:lnTo>
                  <a:lnTo>
                    <a:pt x="479" y="260"/>
                  </a:lnTo>
                  <a:lnTo>
                    <a:pt x="477" y="268"/>
                  </a:lnTo>
                  <a:lnTo>
                    <a:pt x="477" y="275"/>
                  </a:lnTo>
                  <a:lnTo>
                    <a:pt x="477" y="283"/>
                  </a:lnTo>
                  <a:lnTo>
                    <a:pt x="474" y="288"/>
                  </a:lnTo>
                  <a:lnTo>
                    <a:pt x="474" y="293"/>
                  </a:lnTo>
                  <a:lnTo>
                    <a:pt x="472" y="295"/>
                  </a:lnTo>
                  <a:lnTo>
                    <a:pt x="467" y="298"/>
                  </a:lnTo>
                  <a:lnTo>
                    <a:pt x="464" y="300"/>
                  </a:lnTo>
                  <a:lnTo>
                    <a:pt x="457" y="303"/>
                  </a:lnTo>
                  <a:lnTo>
                    <a:pt x="447" y="303"/>
                  </a:lnTo>
                  <a:lnTo>
                    <a:pt x="437" y="305"/>
                  </a:lnTo>
                  <a:lnTo>
                    <a:pt x="427" y="305"/>
                  </a:lnTo>
                  <a:lnTo>
                    <a:pt x="425" y="308"/>
                  </a:lnTo>
                  <a:lnTo>
                    <a:pt x="425" y="310"/>
                  </a:lnTo>
                  <a:lnTo>
                    <a:pt x="425" y="313"/>
                  </a:lnTo>
                  <a:lnTo>
                    <a:pt x="425" y="318"/>
                  </a:lnTo>
                  <a:lnTo>
                    <a:pt x="425" y="323"/>
                  </a:lnTo>
                  <a:lnTo>
                    <a:pt x="425" y="325"/>
                  </a:lnTo>
                  <a:lnTo>
                    <a:pt x="425" y="328"/>
                  </a:lnTo>
                  <a:lnTo>
                    <a:pt x="427" y="330"/>
                  </a:lnTo>
                  <a:lnTo>
                    <a:pt x="437" y="330"/>
                  </a:lnTo>
                  <a:lnTo>
                    <a:pt x="447" y="330"/>
                  </a:lnTo>
                  <a:lnTo>
                    <a:pt x="459" y="330"/>
                  </a:lnTo>
                  <a:lnTo>
                    <a:pt x="474" y="330"/>
                  </a:lnTo>
                  <a:lnTo>
                    <a:pt x="489" y="330"/>
                  </a:lnTo>
                  <a:lnTo>
                    <a:pt x="504" y="330"/>
                  </a:lnTo>
                  <a:lnTo>
                    <a:pt x="516" y="330"/>
                  </a:lnTo>
                  <a:lnTo>
                    <a:pt x="531" y="333"/>
                  </a:lnTo>
                  <a:lnTo>
                    <a:pt x="544" y="333"/>
                  </a:lnTo>
                  <a:lnTo>
                    <a:pt x="554" y="333"/>
                  </a:lnTo>
                  <a:lnTo>
                    <a:pt x="564" y="333"/>
                  </a:lnTo>
                  <a:lnTo>
                    <a:pt x="571" y="333"/>
                  </a:lnTo>
                  <a:lnTo>
                    <a:pt x="586" y="333"/>
                  </a:lnTo>
                  <a:lnTo>
                    <a:pt x="603" y="330"/>
                  </a:lnTo>
                  <a:lnTo>
                    <a:pt x="618" y="328"/>
                  </a:lnTo>
                  <a:lnTo>
                    <a:pt x="633" y="325"/>
                  </a:lnTo>
                  <a:lnTo>
                    <a:pt x="648" y="323"/>
                  </a:lnTo>
                  <a:lnTo>
                    <a:pt x="660" y="318"/>
                  </a:lnTo>
                  <a:lnTo>
                    <a:pt x="675" y="310"/>
                  </a:lnTo>
                  <a:lnTo>
                    <a:pt x="690" y="300"/>
                  </a:lnTo>
                  <a:lnTo>
                    <a:pt x="700" y="290"/>
                  </a:lnTo>
                  <a:lnTo>
                    <a:pt x="710" y="280"/>
                  </a:lnTo>
                  <a:lnTo>
                    <a:pt x="718" y="268"/>
                  </a:lnTo>
                  <a:lnTo>
                    <a:pt x="723" y="255"/>
                  </a:lnTo>
                  <a:lnTo>
                    <a:pt x="728" y="243"/>
                  </a:lnTo>
                  <a:lnTo>
                    <a:pt x="728" y="225"/>
                  </a:lnTo>
                  <a:lnTo>
                    <a:pt x="728" y="210"/>
                  </a:lnTo>
                  <a:lnTo>
                    <a:pt x="723" y="195"/>
                  </a:lnTo>
                  <a:lnTo>
                    <a:pt x="715" y="185"/>
                  </a:lnTo>
                  <a:lnTo>
                    <a:pt x="705" y="175"/>
                  </a:lnTo>
                  <a:lnTo>
                    <a:pt x="695" y="165"/>
                  </a:lnTo>
                  <a:lnTo>
                    <a:pt x="683" y="158"/>
                  </a:lnTo>
                  <a:lnTo>
                    <a:pt x="668" y="152"/>
                  </a:lnTo>
                  <a:lnTo>
                    <a:pt x="653" y="147"/>
                  </a:lnTo>
                  <a:lnTo>
                    <a:pt x="653" y="145"/>
                  </a:lnTo>
                  <a:lnTo>
                    <a:pt x="668" y="137"/>
                  </a:lnTo>
                  <a:lnTo>
                    <a:pt x="680" y="130"/>
                  </a:lnTo>
                  <a:lnTo>
                    <a:pt x="690" y="120"/>
                  </a:lnTo>
                  <a:lnTo>
                    <a:pt x="698" y="107"/>
                  </a:lnTo>
                  <a:lnTo>
                    <a:pt x="703" y="95"/>
                  </a:lnTo>
                  <a:lnTo>
                    <a:pt x="705" y="80"/>
                  </a:lnTo>
                  <a:lnTo>
                    <a:pt x="705" y="70"/>
                  </a:lnTo>
                  <a:lnTo>
                    <a:pt x="703" y="60"/>
                  </a:lnTo>
                  <a:lnTo>
                    <a:pt x="700" y="52"/>
                  </a:lnTo>
                  <a:lnTo>
                    <a:pt x="695" y="45"/>
                  </a:lnTo>
                  <a:lnTo>
                    <a:pt x="685" y="32"/>
                  </a:lnTo>
                  <a:lnTo>
                    <a:pt x="673" y="22"/>
                  </a:lnTo>
                  <a:lnTo>
                    <a:pt x="658" y="15"/>
                  </a:lnTo>
                  <a:lnTo>
                    <a:pt x="638" y="10"/>
                  </a:lnTo>
                  <a:lnTo>
                    <a:pt x="621" y="7"/>
                  </a:lnTo>
                  <a:lnTo>
                    <a:pt x="601" y="7"/>
                  </a:lnTo>
                  <a:lnTo>
                    <a:pt x="588" y="7"/>
                  </a:lnTo>
                  <a:lnTo>
                    <a:pt x="576" y="7"/>
                  </a:lnTo>
                  <a:lnTo>
                    <a:pt x="561" y="7"/>
                  </a:lnTo>
                  <a:lnTo>
                    <a:pt x="544" y="7"/>
                  </a:lnTo>
                  <a:lnTo>
                    <a:pt x="526" y="10"/>
                  </a:lnTo>
                  <a:lnTo>
                    <a:pt x="506" y="10"/>
                  </a:lnTo>
                  <a:lnTo>
                    <a:pt x="477" y="7"/>
                  </a:lnTo>
                  <a:lnTo>
                    <a:pt x="457" y="7"/>
                  </a:lnTo>
                  <a:lnTo>
                    <a:pt x="442" y="7"/>
                  </a:lnTo>
                  <a:lnTo>
                    <a:pt x="432" y="7"/>
                  </a:lnTo>
                  <a:lnTo>
                    <a:pt x="432" y="10"/>
                  </a:lnTo>
                  <a:lnTo>
                    <a:pt x="432" y="12"/>
                  </a:lnTo>
                  <a:lnTo>
                    <a:pt x="432" y="15"/>
                  </a:lnTo>
                  <a:lnTo>
                    <a:pt x="432" y="20"/>
                  </a:lnTo>
                  <a:lnTo>
                    <a:pt x="432" y="22"/>
                  </a:lnTo>
                  <a:lnTo>
                    <a:pt x="432" y="27"/>
                  </a:lnTo>
                  <a:lnTo>
                    <a:pt x="432" y="30"/>
                  </a:lnTo>
                  <a:lnTo>
                    <a:pt x="432" y="32"/>
                  </a:lnTo>
                  <a:close/>
                  <a:moveTo>
                    <a:pt x="569" y="35"/>
                  </a:moveTo>
                  <a:lnTo>
                    <a:pt x="588" y="37"/>
                  </a:lnTo>
                  <a:lnTo>
                    <a:pt x="606" y="42"/>
                  </a:lnTo>
                  <a:lnTo>
                    <a:pt x="621" y="50"/>
                  </a:lnTo>
                  <a:lnTo>
                    <a:pt x="631" y="62"/>
                  </a:lnTo>
                  <a:lnTo>
                    <a:pt x="636" y="77"/>
                  </a:lnTo>
                  <a:lnTo>
                    <a:pt x="638" y="95"/>
                  </a:lnTo>
                  <a:lnTo>
                    <a:pt x="636" y="110"/>
                  </a:lnTo>
                  <a:lnTo>
                    <a:pt x="633" y="120"/>
                  </a:lnTo>
                  <a:lnTo>
                    <a:pt x="626" y="130"/>
                  </a:lnTo>
                  <a:lnTo>
                    <a:pt x="618" y="137"/>
                  </a:lnTo>
                  <a:lnTo>
                    <a:pt x="611" y="140"/>
                  </a:lnTo>
                  <a:lnTo>
                    <a:pt x="603" y="140"/>
                  </a:lnTo>
                  <a:lnTo>
                    <a:pt x="591" y="142"/>
                  </a:lnTo>
                  <a:lnTo>
                    <a:pt x="579" y="142"/>
                  </a:lnTo>
                  <a:lnTo>
                    <a:pt x="569" y="142"/>
                  </a:lnTo>
                  <a:lnTo>
                    <a:pt x="561" y="142"/>
                  </a:lnTo>
                  <a:lnTo>
                    <a:pt x="556" y="142"/>
                  </a:lnTo>
                  <a:lnTo>
                    <a:pt x="551" y="142"/>
                  </a:lnTo>
                  <a:lnTo>
                    <a:pt x="549" y="140"/>
                  </a:lnTo>
                  <a:lnTo>
                    <a:pt x="549" y="137"/>
                  </a:lnTo>
                  <a:lnTo>
                    <a:pt x="549" y="127"/>
                  </a:lnTo>
                  <a:lnTo>
                    <a:pt x="549" y="117"/>
                  </a:lnTo>
                  <a:lnTo>
                    <a:pt x="549" y="105"/>
                  </a:lnTo>
                  <a:lnTo>
                    <a:pt x="549" y="95"/>
                  </a:lnTo>
                  <a:lnTo>
                    <a:pt x="549" y="82"/>
                  </a:lnTo>
                  <a:lnTo>
                    <a:pt x="549" y="72"/>
                  </a:lnTo>
                  <a:lnTo>
                    <a:pt x="549" y="62"/>
                  </a:lnTo>
                  <a:lnTo>
                    <a:pt x="549" y="55"/>
                  </a:lnTo>
                  <a:lnTo>
                    <a:pt x="549" y="47"/>
                  </a:lnTo>
                  <a:lnTo>
                    <a:pt x="549" y="42"/>
                  </a:lnTo>
                  <a:lnTo>
                    <a:pt x="551" y="40"/>
                  </a:lnTo>
                  <a:lnTo>
                    <a:pt x="551" y="37"/>
                  </a:lnTo>
                  <a:lnTo>
                    <a:pt x="554" y="35"/>
                  </a:lnTo>
                  <a:lnTo>
                    <a:pt x="556" y="35"/>
                  </a:lnTo>
                  <a:lnTo>
                    <a:pt x="561" y="35"/>
                  </a:lnTo>
                  <a:lnTo>
                    <a:pt x="566" y="35"/>
                  </a:lnTo>
                  <a:lnTo>
                    <a:pt x="569" y="35"/>
                  </a:lnTo>
                  <a:close/>
                  <a:moveTo>
                    <a:pt x="596" y="305"/>
                  </a:moveTo>
                  <a:lnTo>
                    <a:pt x="591" y="305"/>
                  </a:lnTo>
                  <a:lnTo>
                    <a:pt x="583" y="305"/>
                  </a:lnTo>
                  <a:lnTo>
                    <a:pt x="579" y="303"/>
                  </a:lnTo>
                  <a:lnTo>
                    <a:pt x="571" y="300"/>
                  </a:lnTo>
                  <a:lnTo>
                    <a:pt x="564" y="298"/>
                  </a:lnTo>
                  <a:lnTo>
                    <a:pt x="559" y="295"/>
                  </a:lnTo>
                  <a:lnTo>
                    <a:pt x="556" y="293"/>
                  </a:lnTo>
                  <a:lnTo>
                    <a:pt x="554" y="288"/>
                  </a:lnTo>
                  <a:lnTo>
                    <a:pt x="551" y="283"/>
                  </a:lnTo>
                  <a:lnTo>
                    <a:pt x="549" y="275"/>
                  </a:lnTo>
                  <a:lnTo>
                    <a:pt x="549" y="268"/>
                  </a:lnTo>
                  <a:lnTo>
                    <a:pt x="549" y="255"/>
                  </a:lnTo>
                  <a:lnTo>
                    <a:pt x="549" y="245"/>
                  </a:lnTo>
                  <a:lnTo>
                    <a:pt x="549" y="230"/>
                  </a:lnTo>
                  <a:lnTo>
                    <a:pt x="549" y="218"/>
                  </a:lnTo>
                  <a:lnTo>
                    <a:pt x="549" y="203"/>
                  </a:lnTo>
                  <a:lnTo>
                    <a:pt x="549" y="188"/>
                  </a:lnTo>
                  <a:lnTo>
                    <a:pt x="549" y="173"/>
                  </a:lnTo>
                  <a:lnTo>
                    <a:pt x="549" y="170"/>
                  </a:lnTo>
                  <a:lnTo>
                    <a:pt x="551" y="170"/>
                  </a:lnTo>
                  <a:lnTo>
                    <a:pt x="554" y="170"/>
                  </a:lnTo>
                  <a:lnTo>
                    <a:pt x="556" y="170"/>
                  </a:lnTo>
                  <a:lnTo>
                    <a:pt x="561" y="170"/>
                  </a:lnTo>
                  <a:lnTo>
                    <a:pt x="566" y="170"/>
                  </a:lnTo>
                  <a:lnTo>
                    <a:pt x="569" y="170"/>
                  </a:lnTo>
                  <a:lnTo>
                    <a:pt x="588" y="170"/>
                  </a:lnTo>
                  <a:lnTo>
                    <a:pt x="606" y="175"/>
                  </a:lnTo>
                  <a:lnTo>
                    <a:pt x="621" y="180"/>
                  </a:lnTo>
                  <a:lnTo>
                    <a:pt x="631" y="188"/>
                  </a:lnTo>
                  <a:lnTo>
                    <a:pt x="641" y="198"/>
                  </a:lnTo>
                  <a:lnTo>
                    <a:pt x="648" y="210"/>
                  </a:lnTo>
                  <a:lnTo>
                    <a:pt x="651" y="223"/>
                  </a:lnTo>
                  <a:lnTo>
                    <a:pt x="653" y="238"/>
                  </a:lnTo>
                  <a:lnTo>
                    <a:pt x="651" y="260"/>
                  </a:lnTo>
                  <a:lnTo>
                    <a:pt x="646" y="275"/>
                  </a:lnTo>
                  <a:lnTo>
                    <a:pt x="636" y="288"/>
                  </a:lnTo>
                  <a:lnTo>
                    <a:pt x="626" y="298"/>
                  </a:lnTo>
                  <a:lnTo>
                    <a:pt x="611" y="303"/>
                  </a:lnTo>
                  <a:lnTo>
                    <a:pt x="596" y="305"/>
                  </a:lnTo>
                  <a:close/>
                  <a:moveTo>
                    <a:pt x="976" y="225"/>
                  </a:moveTo>
                  <a:lnTo>
                    <a:pt x="973" y="223"/>
                  </a:lnTo>
                  <a:lnTo>
                    <a:pt x="971" y="225"/>
                  </a:lnTo>
                  <a:lnTo>
                    <a:pt x="966" y="225"/>
                  </a:lnTo>
                  <a:lnTo>
                    <a:pt x="963" y="225"/>
                  </a:lnTo>
                  <a:lnTo>
                    <a:pt x="958" y="228"/>
                  </a:lnTo>
                  <a:lnTo>
                    <a:pt x="956" y="228"/>
                  </a:lnTo>
                  <a:lnTo>
                    <a:pt x="954" y="230"/>
                  </a:lnTo>
                  <a:lnTo>
                    <a:pt x="951" y="233"/>
                  </a:lnTo>
                  <a:lnTo>
                    <a:pt x="951" y="240"/>
                  </a:lnTo>
                  <a:lnTo>
                    <a:pt x="954" y="248"/>
                  </a:lnTo>
                  <a:lnTo>
                    <a:pt x="956" y="258"/>
                  </a:lnTo>
                  <a:lnTo>
                    <a:pt x="956" y="270"/>
                  </a:lnTo>
                  <a:lnTo>
                    <a:pt x="958" y="280"/>
                  </a:lnTo>
                  <a:lnTo>
                    <a:pt x="961" y="290"/>
                  </a:lnTo>
                  <a:lnTo>
                    <a:pt x="963" y="300"/>
                  </a:lnTo>
                  <a:lnTo>
                    <a:pt x="966" y="310"/>
                  </a:lnTo>
                  <a:lnTo>
                    <a:pt x="968" y="315"/>
                  </a:lnTo>
                  <a:lnTo>
                    <a:pt x="971" y="320"/>
                  </a:lnTo>
                  <a:lnTo>
                    <a:pt x="981" y="323"/>
                  </a:lnTo>
                  <a:lnTo>
                    <a:pt x="991" y="328"/>
                  </a:lnTo>
                  <a:lnTo>
                    <a:pt x="1006" y="330"/>
                  </a:lnTo>
                  <a:lnTo>
                    <a:pt x="1021" y="335"/>
                  </a:lnTo>
                  <a:lnTo>
                    <a:pt x="1038" y="338"/>
                  </a:lnTo>
                  <a:lnTo>
                    <a:pt x="1055" y="338"/>
                  </a:lnTo>
                  <a:lnTo>
                    <a:pt x="1085" y="335"/>
                  </a:lnTo>
                  <a:lnTo>
                    <a:pt x="1110" y="330"/>
                  </a:lnTo>
                  <a:lnTo>
                    <a:pt x="1132" y="320"/>
                  </a:lnTo>
                  <a:lnTo>
                    <a:pt x="1150" y="308"/>
                  </a:lnTo>
                  <a:lnTo>
                    <a:pt x="1165" y="293"/>
                  </a:lnTo>
                  <a:lnTo>
                    <a:pt x="1175" y="275"/>
                  </a:lnTo>
                  <a:lnTo>
                    <a:pt x="1180" y="255"/>
                  </a:lnTo>
                  <a:lnTo>
                    <a:pt x="1182" y="235"/>
                  </a:lnTo>
                  <a:lnTo>
                    <a:pt x="1180" y="218"/>
                  </a:lnTo>
                  <a:lnTo>
                    <a:pt x="1177" y="203"/>
                  </a:lnTo>
                  <a:lnTo>
                    <a:pt x="1170" y="188"/>
                  </a:lnTo>
                  <a:lnTo>
                    <a:pt x="1157" y="175"/>
                  </a:lnTo>
                  <a:lnTo>
                    <a:pt x="1145" y="165"/>
                  </a:lnTo>
                  <a:lnTo>
                    <a:pt x="1127" y="155"/>
                  </a:lnTo>
                  <a:lnTo>
                    <a:pt x="1117" y="147"/>
                  </a:lnTo>
                  <a:lnTo>
                    <a:pt x="1108" y="142"/>
                  </a:lnTo>
                  <a:lnTo>
                    <a:pt x="1098" y="135"/>
                  </a:lnTo>
                  <a:lnTo>
                    <a:pt x="1085" y="130"/>
                  </a:lnTo>
                  <a:lnTo>
                    <a:pt x="1075" y="125"/>
                  </a:lnTo>
                  <a:lnTo>
                    <a:pt x="1065" y="117"/>
                  </a:lnTo>
                  <a:lnTo>
                    <a:pt x="1055" y="112"/>
                  </a:lnTo>
                  <a:lnTo>
                    <a:pt x="1045" y="105"/>
                  </a:lnTo>
                  <a:lnTo>
                    <a:pt x="1038" y="97"/>
                  </a:lnTo>
                  <a:lnTo>
                    <a:pt x="1033" y="90"/>
                  </a:lnTo>
                  <a:lnTo>
                    <a:pt x="1031" y="80"/>
                  </a:lnTo>
                  <a:lnTo>
                    <a:pt x="1031" y="67"/>
                  </a:lnTo>
                  <a:lnTo>
                    <a:pt x="1031" y="57"/>
                  </a:lnTo>
                  <a:lnTo>
                    <a:pt x="1035" y="47"/>
                  </a:lnTo>
                  <a:lnTo>
                    <a:pt x="1043" y="37"/>
                  </a:lnTo>
                  <a:lnTo>
                    <a:pt x="1050" y="30"/>
                  </a:lnTo>
                  <a:lnTo>
                    <a:pt x="1063" y="25"/>
                  </a:lnTo>
                  <a:lnTo>
                    <a:pt x="1075" y="25"/>
                  </a:lnTo>
                  <a:lnTo>
                    <a:pt x="1088" y="25"/>
                  </a:lnTo>
                  <a:lnTo>
                    <a:pt x="1098" y="27"/>
                  </a:lnTo>
                  <a:lnTo>
                    <a:pt x="1108" y="30"/>
                  </a:lnTo>
                  <a:lnTo>
                    <a:pt x="1115" y="35"/>
                  </a:lnTo>
                  <a:lnTo>
                    <a:pt x="1120" y="40"/>
                  </a:lnTo>
                  <a:lnTo>
                    <a:pt x="1125" y="47"/>
                  </a:lnTo>
                  <a:lnTo>
                    <a:pt x="1130" y="55"/>
                  </a:lnTo>
                  <a:lnTo>
                    <a:pt x="1132" y="65"/>
                  </a:lnTo>
                  <a:lnTo>
                    <a:pt x="1135" y="77"/>
                  </a:lnTo>
                  <a:lnTo>
                    <a:pt x="1140" y="90"/>
                  </a:lnTo>
                  <a:lnTo>
                    <a:pt x="1140" y="92"/>
                  </a:lnTo>
                  <a:lnTo>
                    <a:pt x="1142" y="92"/>
                  </a:lnTo>
                  <a:lnTo>
                    <a:pt x="1147" y="92"/>
                  </a:lnTo>
                  <a:lnTo>
                    <a:pt x="1150" y="92"/>
                  </a:lnTo>
                  <a:lnTo>
                    <a:pt x="1155" y="92"/>
                  </a:lnTo>
                  <a:lnTo>
                    <a:pt x="1157" y="92"/>
                  </a:lnTo>
                  <a:lnTo>
                    <a:pt x="1160" y="90"/>
                  </a:lnTo>
                  <a:lnTo>
                    <a:pt x="1162" y="90"/>
                  </a:lnTo>
                  <a:lnTo>
                    <a:pt x="1165" y="75"/>
                  </a:lnTo>
                  <a:lnTo>
                    <a:pt x="1165" y="60"/>
                  </a:lnTo>
                  <a:lnTo>
                    <a:pt x="1167" y="45"/>
                  </a:lnTo>
                  <a:lnTo>
                    <a:pt x="1167" y="32"/>
                  </a:lnTo>
                  <a:lnTo>
                    <a:pt x="1170" y="20"/>
                  </a:lnTo>
                  <a:lnTo>
                    <a:pt x="1172" y="10"/>
                  </a:lnTo>
                  <a:lnTo>
                    <a:pt x="1162" y="7"/>
                  </a:lnTo>
                  <a:lnTo>
                    <a:pt x="1150" y="7"/>
                  </a:lnTo>
                  <a:lnTo>
                    <a:pt x="1140" y="5"/>
                  </a:lnTo>
                  <a:lnTo>
                    <a:pt x="1130" y="2"/>
                  </a:lnTo>
                  <a:lnTo>
                    <a:pt x="1120" y="2"/>
                  </a:lnTo>
                  <a:lnTo>
                    <a:pt x="1108" y="0"/>
                  </a:lnTo>
                  <a:lnTo>
                    <a:pt x="1095" y="0"/>
                  </a:lnTo>
                  <a:lnTo>
                    <a:pt x="1080" y="0"/>
                  </a:lnTo>
                  <a:lnTo>
                    <a:pt x="1058" y="0"/>
                  </a:lnTo>
                  <a:lnTo>
                    <a:pt x="1035" y="5"/>
                  </a:lnTo>
                  <a:lnTo>
                    <a:pt x="1018" y="12"/>
                  </a:lnTo>
                  <a:lnTo>
                    <a:pt x="1001" y="25"/>
                  </a:lnTo>
                  <a:lnTo>
                    <a:pt x="986" y="37"/>
                  </a:lnTo>
                  <a:lnTo>
                    <a:pt x="976" y="55"/>
                  </a:lnTo>
                  <a:lnTo>
                    <a:pt x="968" y="72"/>
                  </a:lnTo>
                  <a:lnTo>
                    <a:pt x="966" y="95"/>
                  </a:lnTo>
                  <a:lnTo>
                    <a:pt x="968" y="115"/>
                  </a:lnTo>
                  <a:lnTo>
                    <a:pt x="973" y="132"/>
                  </a:lnTo>
                  <a:lnTo>
                    <a:pt x="983" y="147"/>
                  </a:lnTo>
                  <a:lnTo>
                    <a:pt x="993" y="160"/>
                  </a:lnTo>
                  <a:lnTo>
                    <a:pt x="1006" y="173"/>
                  </a:lnTo>
                  <a:lnTo>
                    <a:pt x="1021" y="183"/>
                  </a:lnTo>
                  <a:lnTo>
                    <a:pt x="1035" y="190"/>
                  </a:lnTo>
                  <a:lnTo>
                    <a:pt x="1050" y="200"/>
                  </a:lnTo>
                  <a:lnTo>
                    <a:pt x="1068" y="210"/>
                  </a:lnTo>
                  <a:lnTo>
                    <a:pt x="1083" y="220"/>
                  </a:lnTo>
                  <a:lnTo>
                    <a:pt x="1095" y="230"/>
                  </a:lnTo>
                  <a:lnTo>
                    <a:pt x="1103" y="238"/>
                  </a:lnTo>
                  <a:lnTo>
                    <a:pt x="1108" y="245"/>
                  </a:lnTo>
                  <a:lnTo>
                    <a:pt x="1112" y="253"/>
                  </a:lnTo>
                  <a:lnTo>
                    <a:pt x="1112" y="260"/>
                  </a:lnTo>
                  <a:lnTo>
                    <a:pt x="1115" y="270"/>
                  </a:lnTo>
                  <a:lnTo>
                    <a:pt x="1112" y="280"/>
                  </a:lnTo>
                  <a:lnTo>
                    <a:pt x="1110" y="288"/>
                  </a:lnTo>
                  <a:lnTo>
                    <a:pt x="1105" y="295"/>
                  </a:lnTo>
                  <a:lnTo>
                    <a:pt x="1100" y="300"/>
                  </a:lnTo>
                  <a:lnTo>
                    <a:pt x="1093" y="305"/>
                  </a:lnTo>
                  <a:lnTo>
                    <a:pt x="1085" y="308"/>
                  </a:lnTo>
                  <a:lnTo>
                    <a:pt x="1075" y="310"/>
                  </a:lnTo>
                  <a:lnTo>
                    <a:pt x="1068" y="310"/>
                  </a:lnTo>
                  <a:lnTo>
                    <a:pt x="1060" y="310"/>
                  </a:lnTo>
                  <a:lnTo>
                    <a:pt x="1053" y="308"/>
                  </a:lnTo>
                  <a:lnTo>
                    <a:pt x="1043" y="305"/>
                  </a:lnTo>
                  <a:lnTo>
                    <a:pt x="1035" y="303"/>
                  </a:lnTo>
                  <a:lnTo>
                    <a:pt x="1028" y="300"/>
                  </a:lnTo>
                  <a:lnTo>
                    <a:pt x="1021" y="295"/>
                  </a:lnTo>
                  <a:lnTo>
                    <a:pt x="1006" y="283"/>
                  </a:lnTo>
                  <a:lnTo>
                    <a:pt x="996" y="268"/>
                  </a:lnTo>
                  <a:lnTo>
                    <a:pt x="986" y="248"/>
                  </a:lnTo>
                  <a:lnTo>
                    <a:pt x="976" y="225"/>
                  </a:lnTo>
                  <a:close/>
                </a:path>
              </a:pathLst>
            </a:custGeom>
            <a:solidFill>
              <a:srgbClr val="17357C"/>
            </a:solidFill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1054" name="Freeform 23"/>
            <p:cNvSpPr>
              <a:spLocks noEditPoints="1"/>
            </p:cNvSpPr>
            <p:nvPr/>
          </p:nvSpPr>
          <p:spPr bwMode="auto">
            <a:xfrm>
              <a:off x="2361" y="2180"/>
              <a:ext cx="1193" cy="91"/>
            </a:xfrm>
            <a:custGeom>
              <a:avLst/>
              <a:gdLst>
                <a:gd name="T0" fmla="*/ 42 w 1192"/>
                <a:gd name="T1" fmla="*/ 43 h 91"/>
                <a:gd name="T2" fmla="*/ 40 w 1192"/>
                <a:gd name="T3" fmla="*/ 3 h 91"/>
                <a:gd name="T4" fmla="*/ 27 w 1192"/>
                <a:gd name="T5" fmla="*/ 28 h 91"/>
                <a:gd name="T6" fmla="*/ 2 w 1192"/>
                <a:gd name="T7" fmla="*/ 53 h 91"/>
                <a:gd name="T8" fmla="*/ 74 w 1192"/>
                <a:gd name="T9" fmla="*/ 3 h 91"/>
                <a:gd name="T10" fmla="*/ 99 w 1192"/>
                <a:gd name="T11" fmla="*/ 28 h 91"/>
                <a:gd name="T12" fmla="*/ 92 w 1192"/>
                <a:gd name="T13" fmla="*/ 71 h 91"/>
                <a:gd name="T14" fmla="*/ 139 w 1192"/>
                <a:gd name="T15" fmla="*/ 41 h 91"/>
                <a:gd name="T16" fmla="*/ 134 w 1192"/>
                <a:gd name="T17" fmla="*/ 21 h 91"/>
                <a:gd name="T18" fmla="*/ 156 w 1192"/>
                <a:gd name="T19" fmla="*/ 66 h 91"/>
                <a:gd name="T20" fmla="*/ 151 w 1192"/>
                <a:gd name="T21" fmla="*/ 61 h 91"/>
                <a:gd name="T22" fmla="*/ 171 w 1192"/>
                <a:gd name="T23" fmla="*/ 21 h 91"/>
                <a:gd name="T24" fmla="*/ 236 w 1192"/>
                <a:gd name="T25" fmla="*/ 53 h 91"/>
                <a:gd name="T26" fmla="*/ 246 w 1192"/>
                <a:gd name="T27" fmla="*/ 46 h 91"/>
                <a:gd name="T28" fmla="*/ 223 w 1192"/>
                <a:gd name="T29" fmla="*/ 26 h 91"/>
                <a:gd name="T30" fmla="*/ 280 w 1192"/>
                <a:gd name="T31" fmla="*/ 68 h 91"/>
                <a:gd name="T32" fmla="*/ 295 w 1192"/>
                <a:gd name="T33" fmla="*/ 73 h 91"/>
                <a:gd name="T34" fmla="*/ 285 w 1192"/>
                <a:gd name="T35" fmla="*/ 53 h 91"/>
                <a:gd name="T36" fmla="*/ 449 w 1192"/>
                <a:gd name="T37" fmla="*/ 13 h 91"/>
                <a:gd name="T38" fmla="*/ 430 w 1192"/>
                <a:gd name="T39" fmla="*/ 71 h 91"/>
                <a:gd name="T40" fmla="*/ 412 w 1192"/>
                <a:gd name="T41" fmla="*/ 31 h 91"/>
                <a:gd name="T42" fmla="*/ 412 w 1192"/>
                <a:gd name="T43" fmla="*/ 38 h 91"/>
                <a:gd name="T44" fmla="*/ 474 w 1192"/>
                <a:gd name="T45" fmla="*/ 53 h 91"/>
                <a:gd name="T46" fmla="*/ 524 w 1192"/>
                <a:gd name="T47" fmla="*/ 53 h 91"/>
                <a:gd name="T48" fmla="*/ 516 w 1192"/>
                <a:gd name="T49" fmla="*/ 36 h 91"/>
                <a:gd name="T50" fmla="*/ 544 w 1192"/>
                <a:gd name="T51" fmla="*/ 31 h 91"/>
                <a:gd name="T52" fmla="*/ 554 w 1192"/>
                <a:gd name="T53" fmla="*/ 48 h 91"/>
                <a:gd name="T54" fmla="*/ 566 w 1192"/>
                <a:gd name="T55" fmla="*/ 11 h 91"/>
                <a:gd name="T56" fmla="*/ 586 w 1192"/>
                <a:gd name="T57" fmla="*/ 21 h 91"/>
                <a:gd name="T58" fmla="*/ 618 w 1192"/>
                <a:gd name="T59" fmla="*/ 33 h 91"/>
                <a:gd name="T60" fmla="*/ 651 w 1192"/>
                <a:gd name="T61" fmla="*/ 68 h 91"/>
                <a:gd name="T62" fmla="*/ 653 w 1192"/>
                <a:gd name="T63" fmla="*/ 63 h 91"/>
                <a:gd name="T64" fmla="*/ 698 w 1192"/>
                <a:gd name="T65" fmla="*/ 53 h 91"/>
                <a:gd name="T66" fmla="*/ 690 w 1192"/>
                <a:gd name="T67" fmla="*/ 36 h 91"/>
                <a:gd name="T68" fmla="*/ 718 w 1192"/>
                <a:gd name="T69" fmla="*/ 31 h 91"/>
                <a:gd name="T70" fmla="*/ 728 w 1192"/>
                <a:gd name="T71" fmla="*/ 48 h 91"/>
                <a:gd name="T72" fmla="*/ 752 w 1192"/>
                <a:gd name="T73" fmla="*/ 63 h 91"/>
                <a:gd name="T74" fmla="*/ 740 w 1192"/>
                <a:gd name="T75" fmla="*/ 28 h 91"/>
                <a:gd name="T76" fmla="*/ 755 w 1192"/>
                <a:gd name="T77" fmla="*/ 26 h 91"/>
                <a:gd name="T78" fmla="*/ 777 w 1192"/>
                <a:gd name="T79" fmla="*/ 58 h 91"/>
                <a:gd name="T80" fmla="*/ 839 w 1192"/>
                <a:gd name="T81" fmla="*/ 63 h 91"/>
                <a:gd name="T82" fmla="*/ 814 w 1192"/>
                <a:gd name="T83" fmla="*/ 23 h 91"/>
                <a:gd name="T84" fmla="*/ 844 w 1192"/>
                <a:gd name="T85" fmla="*/ 8 h 91"/>
                <a:gd name="T86" fmla="*/ 862 w 1192"/>
                <a:gd name="T87" fmla="*/ 61 h 91"/>
                <a:gd name="T88" fmla="*/ 914 w 1192"/>
                <a:gd name="T89" fmla="*/ 26 h 91"/>
                <a:gd name="T90" fmla="*/ 896 w 1192"/>
                <a:gd name="T91" fmla="*/ 63 h 91"/>
                <a:gd name="T92" fmla="*/ 929 w 1192"/>
                <a:gd name="T93" fmla="*/ 71 h 91"/>
                <a:gd name="T94" fmla="*/ 959 w 1192"/>
                <a:gd name="T95" fmla="*/ 56 h 91"/>
                <a:gd name="T96" fmla="*/ 1018 w 1192"/>
                <a:gd name="T97" fmla="*/ 71 h 91"/>
                <a:gd name="T98" fmla="*/ 1013 w 1192"/>
                <a:gd name="T99" fmla="*/ 26 h 91"/>
                <a:gd name="T100" fmla="*/ 1038 w 1192"/>
                <a:gd name="T101" fmla="*/ 21 h 91"/>
                <a:gd name="T102" fmla="*/ 1070 w 1192"/>
                <a:gd name="T103" fmla="*/ 71 h 91"/>
                <a:gd name="T104" fmla="*/ 1070 w 1192"/>
                <a:gd name="T105" fmla="*/ 26 h 91"/>
                <a:gd name="T106" fmla="*/ 1142 w 1192"/>
                <a:gd name="T107" fmla="*/ 33 h 91"/>
                <a:gd name="T108" fmla="*/ 1152 w 1192"/>
                <a:gd name="T109" fmla="*/ 56 h 91"/>
                <a:gd name="T110" fmla="*/ 1155 w 1192"/>
                <a:gd name="T111" fmla="*/ 41 h 91"/>
                <a:gd name="T112" fmla="*/ 1182 w 1192"/>
                <a:gd name="T113" fmla="*/ 33 h 91"/>
                <a:gd name="T114" fmla="*/ 1190 w 1192"/>
                <a:gd name="T115" fmla="*/ 46 h 91"/>
                <a:gd name="T116" fmla="*/ 360 w 1192"/>
                <a:gd name="T117" fmla="*/ 66 h 91"/>
                <a:gd name="T118" fmla="*/ 357 w 1192"/>
                <a:gd name="T119" fmla="*/ 36 h 91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1192" h="91">
                  <a:moveTo>
                    <a:pt x="0" y="48"/>
                  </a:moveTo>
                  <a:lnTo>
                    <a:pt x="10" y="48"/>
                  </a:lnTo>
                  <a:lnTo>
                    <a:pt x="10" y="51"/>
                  </a:lnTo>
                  <a:lnTo>
                    <a:pt x="12" y="56"/>
                  </a:lnTo>
                  <a:lnTo>
                    <a:pt x="15" y="58"/>
                  </a:lnTo>
                  <a:lnTo>
                    <a:pt x="17" y="61"/>
                  </a:lnTo>
                  <a:lnTo>
                    <a:pt x="22" y="63"/>
                  </a:lnTo>
                  <a:lnTo>
                    <a:pt x="30" y="63"/>
                  </a:lnTo>
                  <a:lnTo>
                    <a:pt x="35" y="63"/>
                  </a:lnTo>
                  <a:lnTo>
                    <a:pt x="37" y="61"/>
                  </a:lnTo>
                  <a:lnTo>
                    <a:pt x="42" y="58"/>
                  </a:lnTo>
                  <a:lnTo>
                    <a:pt x="45" y="58"/>
                  </a:lnTo>
                  <a:lnTo>
                    <a:pt x="45" y="53"/>
                  </a:lnTo>
                  <a:lnTo>
                    <a:pt x="45" y="51"/>
                  </a:lnTo>
                  <a:lnTo>
                    <a:pt x="45" y="48"/>
                  </a:lnTo>
                  <a:lnTo>
                    <a:pt x="45" y="46"/>
                  </a:lnTo>
                  <a:lnTo>
                    <a:pt x="42" y="43"/>
                  </a:lnTo>
                  <a:lnTo>
                    <a:pt x="37" y="41"/>
                  </a:lnTo>
                  <a:lnTo>
                    <a:pt x="32" y="41"/>
                  </a:lnTo>
                  <a:lnTo>
                    <a:pt x="25" y="38"/>
                  </a:lnTo>
                  <a:lnTo>
                    <a:pt x="17" y="36"/>
                  </a:lnTo>
                  <a:lnTo>
                    <a:pt x="12" y="33"/>
                  </a:lnTo>
                  <a:lnTo>
                    <a:pt x="7" y="31"/>
                  </a:lnTo>
                  <a:lnTo>
                    <a:pt x="5" y="28"/>
                  </a:lnTo>
                  <a:lnTo>
                    <a:pt x="2" y="23"/>
                  </a:lnTo>
                  <a:lnTo>
                    <a:pt x="2" y="18"/>
                  </a:lnTo>
                  <a:lnTo>
                    <a:pt x="2" y="13"/>
                  </a:lnTo>
                  <a:lnTo>
                    <a:pt x="5" y="11"/>
                  </a:lnTo>
                  <a:lnTo>
                    <a:pt x="10" y="5"/>
                  </a:lnTo>
                  <a:lnTo>
                    <a:pt x="15" y="3"/>
                  </a:lnTo>
                  <a:lnTo>
                    <a:pt x="20" y="0"/>
                  </a:lnTo>
                  <a:lnTo>
                    <a:pt x="27" y="0"/>
                  </a:lnTo>
                  <a:lnTo>
                    <a:pt x="35" y="0"/>
                  </a:lnTo>
                  <a:lnTo>
                    <a:pt x="40" y="3"/>
                  </a:lnTo>
                  <a:lnTo>
                    <a:pt x="45" y="5"/>
                  </a:lnTo>
                  <a:lnTo>
                    <a:pt x="50" y="11"/>
                  </a:lnTo>
                  <a:lnTo>
                    <a:pt x="52" y="16"/>
                  </a:lnTo>
                  <a:lnTo>
                    <a:pt x="52" y="21"/>
                  </a:lnTo>
                  <a:lnTo>
                    <a:pt x="45" y="21"/>
                  </a:lnTo>
                  <a:lnTo>
                    <a:pt x="42" y="16"/>
                  </a:lnTo>
                  <a:lnTo>
                    <a:pt x="40" y="11"/>
                  </a:lnTo>
                  <a:lnTo>
                    <a:pt x="35" y="8"/>
                  </a:lnTo>
                  <a:lnTo>
                    <a:pt x="27" y="8"/>
                  </a:lnTo>
                  <a:lnTo>
                    <a:pt x="20" y="8"/>
                  </a:lnTo>
                  <a:lnTo>
                    <a:pt x="15" y="11"/>
                  </a:lnTo>
                  <a:lnTo>
                    <a:pt x="12" y="16"/>
                  </a:lnTo>
                  <a:lnTo>
                    <a:pt x="12" y="18"/>
                  </a:lnTo>
                  <a:lnTo>
                    <a:pt x="12" y="21"/>
                  </a:lnTo>
                  <a:lnTo>
                    <a:pt x="15" y="26"/>
                  </a:lnTo>
                  <a:lnTo>
                    <a:pt x="20" y="28"/>
                  </a:lnTo>
                  <a:lnTo>
                    <a:pt x="27" y="28"/>
                  </a:lnTo>
                  <a:lnTo>
                    <a:pt x="37" y="31"/>
                  </a:lnTo>
                  <a:lnTo>
                    <a:pt x="42" y="33"/>
                  </a:lnTo>
                  <a:lnTo>
                    <a:pt x="47" y="36"/>
                  </a:lnTo>
                  <a:lnTo>
                    <a:pt x="52" y="41"/>
                  </a:lnTo>
                  <a:lnTo>
                    <a:pt x="54" y="46"/>
                  </a:lnTo>
                  <a:lnTo>
                    <a:pt x="54" y="51"/>
                  </a:lnTo>
                  <a:lnTo>
                    <a:pt x="54" y="56"/>
                  </a:lnTo>
                  <a:lnTo>
                    <a:pt x="52" y="61"/>
                  </a:lnTo>
                  <a:lnTo>
                    <a:pt x="47" y="66"/>
                  </a:lnTo>
                  <a:lnTo>
                    <a:pt x="42" y="68"/>
                  </a:lnTo>
                  <a:lnTo>
                    <a:pt x="37" y="71"/>
                  </a:lnTo>
                  <a:lnTo>
                    <a:pt x="30" y="71"/>
                  </a:lnTo>
                  <a:lnTo>
                    <a:pt x="20" y="71"/>
                  </a:lnTo>
                  <a:lnTo>
                    <a:pt x="15" y="68"/>
                  </a:lnTo>
                  <a:lnTo>
                    <a:pt x="7" y="66"/>
                  </a:lnTo>
                  <a:lnTo>
                    <a:pt x="5" y="61"/>
                  </a:lnTo>
                  <a:lnTo>
                    <a:pt x="2" y="53"/>
                  </a:lnTo>
                  <a:lnTo>
                    <a:pt x="0" y="48"/>
                  </a:lnTo>
                  <a:close/>
                  <a:moveTo>
                    <a:pt x="84" y="63"/>
                  </a:moveTo>
                  <a:lnTo>
                    <a:pt x="84" y="71"/>
                  </a:lnTo>
                  <a:lnTo>
                    <a:pt x="82" y="71"/>
                  </a:lnTo>
                  <a:lnTo>
                    <a:pt x="79" y="71"/>
                  </a:lnTo>
                  <a:lnTo>
                    <a:pt x="74" y="71"/>
                  </a:lnTo>
                  <a:lnTo>
                    <a:pt x="72" y="68"/>
                  </a:lnTo>
                  <a:lnTo>
                    <a:pt x="69" y="68"/>
                  </a:lnTo>
                  <a:lnTo>
                    <a:pt x="67" y="66"/>
                  </a:lnTo>
                  <a:lnTo>
                    <a:pt x="67" y="61"/>
                  </a:lnTo>
                  <a:lnTo>
                    <a:pt x="67" y="56"/>
                  </a:lnTo>
                  <a:lnTo>
                    <a:pt x="67" y="26"/>
                  </a:lnTo>
                  <a:lnTo>
                    <a:pt x="62" y="26"/>
                  </a:lnTo>
                  <a:lnTo>
                    <a:pt x="62" y="21"/>
                  </a:lnTo>
                  <a:lnTo>
                    <a:pt x="67" y="21"/>
                  </a:lnTo>
                  <a:lnTo>
                    <a:pt x="67" y="8"/>
                  </a:lnTo>
                  <a:lnTo>
                    <a:pt x="74" y="3"/>
                  </a:lnTo>
                  <a:lnTo>
                    <a:pt x="74" y="21"/>
                  </a:lnTo>
                  <a:lnTo>
                    <a:pt x="84" y="21"/>
                  </a:lnTo>
                  <a:lnTo>
                    <a:pt x="84" y="26"/>
                  </a:lnTo>
                  <a:lnTo>
                    <a:pt x="74" y="26"/>
                  </a:lnTo>
                  <a:lnTo>
                    <a:pt x="74" y="56"/>
                  </a:lnTo>
                  <a:lnTo>
                    <a:pt x="74" y="58"/>
                  </a:lnTo>
                  <a:lnTo>
                    <a:pt x="74" y="61"/>
                  </a:lnTo>
                  <a:lnTo>
                    <a:pt x="77" y="61"/>
                  </a:lnTo>
                  <a:lnTo>
                    <a:pt x="79" y="63"/>
                  </a:lnTo>
                  <a:lnTo>
                    <a:pt x="82" y="63"/>
                  </a:lnTo>
                  <a:lnTo>
                    <a:pt x="84" y="63"/>
                  </a:lnTo>
                  <a:close/>
                  <a:moveTo>
                    <a:pt x="92" y="71"/>
                  </a:moveTo>
                  <a:lnTo>
                    <a:pt x="92" y="21"/>
                  </a:lnTo>
                  <a:lnTo>
                    <a:pt x="99" y="21"/>
                  </a:lnTo>
                  <a:lnTo>
                    <a:pt x="99" y="28"/>
                  </a:lnTo>
                  <a:lnTo>
                    <a:pt x="102" y="23"/>
                  </a:lnTo>
                  <a:lnTo>
                    <a:pt x="104" y="21"/>
                  </a:lnTo>
                  <a:lnTo>
                    <a:pt x="107" y="21"/>
                  </a:lnTo>
                  <a:lnTo>
                    <a:pt x="109" y="18"/>
                  </a:lnTo>
                  <a:lnTo>
                    <a:pt x="114" y="21"/>
                  </a:lnTo>
                  <a:lnTo>
                    <a:pt x="119" y="21"/>
                  </a:lnTo>
                  <a:lnTo>
                    <a:pt x="117" y="31"/>
                  </a:lnTo>
                  <a:lnTo>
                    <a:pt x="112" y="28"/>
                  </a:lnTo>
                  <a:lnTo>
                    <a:pt x="109" y="28"/>
                  </a:lnTo>
                  <a:lnTo>
                    <a:pt x="107" y="28"/>
                  </a:lnTo>
                  <a:lnTo>
                    <a:pt x="104" y="31"/>
                  </a:lnTo>
                  <a:lnTo>
                    <a:pt x="102" y="31"/>
                  </a:lnTo>
                  <a:lnTo>
                    <a:pt x="102" y="33"/>
                  </a:lnTo>
                  <a:lnTo>
                    <a:pt x="99" y="38"/>
                  </a:lnTo>
                  <a:lnTo>
                    <a:pt x="99" y="43"/>
                  </a:lnTo>
                  <a:lnTo>
                    <a:pt x="99" y="71"/>
                  </a:lnTo>
                  <a:lnTo>
                    <a:pt x="92" y="71"/>
                  </a:lnTo>
                  <a:close/>
                  <a:moveTo>
                    <a:pt x="156" y="63"/>
                  </a:moveTo>
                  <a:lnTo>
                    <a:pt x="151" y="66"/>
                  </a:lnTo>
                  <a:lnTo>
                    <a:pt x="146" y="68"/>
                  </a:lnTo>
                  <a:lnTo>
                    <a:pt x="141" y="71"/>
                  </a:lnTo>
                  <a:lnTo>
                    <a:pt x="136" y="71"/>
                  </a:lnTo>
                  <a:lnTo>
                    <a:pt x="129" y="71"/>
                  </a:lnTo>
                  <a:lnTo>
                    <a:pt x="124" y="66"/>
                  </a:lnTo>
                  <a:lnTo>
                    <a:pt x="122" y="63"/>
                  </a:lnTo>
                  <a:lnTo>
                    <a:pt x="122" y="56"/>
                  </a:lnTo>
                  <a:lnTo>
                    <a:pt x="122" y="53"/>
                  </a:lnTo>
                  <a:lnTo>
                    <a:pt x="122" y="51"/>
                  </a:lnTo>
                  <a:lnTo>
                    <a:pt x="124" y="48"/>
                  </a:lnTo>
                  <a:lnTo>
                    <a:pt x="127" y="46"/>
                  </a:lnTo>
                  <a:lnTo>
                    <a:pt x="129" y="43"/>
                  </a:lnTo>
                  <a:lnTo>
                    <a:pt x="131" y="43"/>
                  </a:lnTo>
                  <a:lnTo>
                    <a:pt x="136" y="41"/>
                  </a:lnTo>
                  <a:lnTo>
                    <a:pt x="139" y="41"/>
                  </a:lnTo>
                  <a:lnTo>
                    <a:pt x="149" y="41"/>
                  </a:lnTo>
                  <a:lnTo>
                    <a:pt x="154" y="38"/>
                  </a:lnTo>
                  <a:lnTo>
                    <a:pt x="154" y="36"/>
                  </a:lnTo>
                  <a:lnTo>
                    <a:pt x="154" y="31"/>
                  </a:lnTo>
                  <a:lnTo>
                    <a:pt x="151" y="28"/>
                  </a:lnTo>
                  <a:lnTo>
                    <a:pt x="149" y="26"/>
                  </a:lnTo>
                  <a:lnTo>
                    <a:pt x="144" y="26"/>
                  </a:lnTo>
                  <a:lnTo>
                    <a:pt x="139" y="26"/>
                  </a:lnTo>
                  <a:lnTo>
                    <a:pt x="134" y="28"/>
                  </a:lnTo>
                  <a:lnTo>
                    <a:pt x="131" y="31"/>
                  </a:lnTo>
                  <a:lnTo>
                    <a:pt x="129" y="36"/>
                  </a:lnTo>
                  <a:lnTo>
                    <a:pt x="122" y="33"/>
                  </a:lnTo>
                  <a:lnTo>
                    <a:pt x="124" y="31"/>
                  </a:lnTo>
                  <a:lnTo>
                    <a:pt x="127" y="26"/>
                  </a:lnTo>
                  <a:lnTo>
                    <a:pt x="129" y="23"/>
                  </a:lnTo>
                  <a:lnTo>
                    <a:pt x="134" y="21"/>
                  </a:lnTo>
                  <a:lnTo>
                    <a:pt x="139" y="21"/>
                  </a:lnTo>
                  <a:lnTo>
                    <a:pt x="144" y="18"/>
                  </a:lnTo>
                  <a:lnTo>
                    <a:pt x="149" y="21"/>
                  </a:lnTo>
                  <a:lnTo>
                    <a:pt x="154" y="21"/>
                  </a:lnTo>
                  <a:lnTo>
                    <a:pt x="159" y="23"/>
                  </a:lnTo>
                  <a:lnTo>
                    <a:pt x="161" y="23"/>
                  </a:lnTo>
                  <a:lnTo>
                    <a:pt x="161" y="28"/>
                  </a:lnTo>
                  <a:lnTo>
                    <a:pt x="164" y="31"/>
                  </a:lnTo>
                  <a:lnTo>
                    <a:pt x="164" y="33"/>
                  </a:lnTo>
                  <a:lnTo>
                    <a:pt x="164" y="38"/>
                  </a:lnTo>
                  <a:lnTo>
                    <a:pt x="164" y="48"/>
                  </a:lnTo>
                  <a:lnTo>
                    <a:pt x="164" y="58"/>
                  </a:lnTo>
                  <a:lnTo>
                    <a:pt x="164" y="63"/>
                  </a:lnTo>
                  <a:lnTo>
                    <a:pt x="164" y="66"/>
                  </a:lnTo>
                  <a:lnTo>
                    <a:pt x="166" y="71"/>
                  </a:lnTo>
                  <a:lnTo>
                    <a:pt x="156" y="71"/>
                  </a:lnTo>
                  <a:lnTo>
                    <a:pt x="156" y="66"/>
                  </a:lnTo>
                  <a:lnTo>
                    <a:pt x="156" y="63"/>
                  </a:lnTo>
                  <a:close/>
                  <a:moveTo>
                    <a:pt x="154" y="46"/>
                  </a:moveTo>
                  <a:lnTo>
                    <a:pt x="149" y="46"/>
                  </a:lnTo>
                  <a:lnTo>
                    <a:pt x="141" y="48"/>
                  </a:lnTo>
                  <a:lnTo>
                    <a:pt x="136" y="48"/>
                  </a:lnTo>
                  <a:lnTo>
                    <a:pt x="134" y="51"/>
                  </a:lnTo>
                  <a:lnTo>
                    <a:pt x="131" y="51"/>
                  </a:lnTo>
                  <a:lnTo>
                    <a:pt x="131" y="53"/>
                  </a:lnTo>
                  <a:lnTo>
                    <a:pt x="129" y="53"/>
                  </a:lnTo>
                  <a:lnTo>
                    <a:pt x="129" y="56"/>
                  </a:lnTo>
                  <a:lnTo>
                    <a:pt x="129" y="61"/>
                  </a:lnTo>
                  <a:lnTo>
                    <a:pt x="131" y="63"/>
                  </a:lnTo>
                  <a:lnTo>
                    <a:pt x="134" y="63"/>
                  </a:lnTo>
                  <a:lnTo>
                    <a:pt x="139" y="63"/>
                  </a:lnTo>
                  <a:lnTo>
                    <a:pt x="144" y="63"/>
                  </a:lnTo>
                  <a:lnTo>
                    <a:pt x="149" y="63"/>
                  </a:lnTo>
                  <a:lnTo>
                    <a:pt x="151" y="61"/>
                  </a:lnTo>
                  <a:lnTo>
                    <a:pt x="154" y="56"/>
                  </a:lnTo>
                  <a:lnTo>
                    <a:pt x="154" y="53"/>
                  </a:lnTo>
                  <a:lnTo>
                    <a:pt x="154" y="48"/>
                  </a:lnTo>
                  <a:lnTo>
                    <a:pt x="154" y="46"/>
                  </a:lnTo>
                  <a:close/>
                  <a:moveTo>
                    <a:pt x="194" y="63"/>
                  </a:moveTo>
                  <a:lnTo>
                    <a:pt x="196" y="71"/>
                  </a:lnTo>
                  <a:lnTo>
                    <a:pt x="191" y="71"/>
                  </a:lnTo>
                  <a:lnTo>
                    <a:pt x="189" y="71"/>
                  </a:lnTo>
                  <a:lnTo>
                    <a:pt x="186" y="71"/>
                  </a:lnTo>
                  <a:lnTo>
                    <a:pt x="181" y="68"/>
                  </a:lnTo>
                  <a:lnTo>
                    <a:pt x="179" y="66"/>
                  </a:lnTo>
                  <a:lnTo>
                    <a:pt x="179" y="61"/>
                  </a:lnTo>
                  <a:lnTo>
                    <a:pt x="179" y="56"/>
                  </a:lnTo>
                  <a:lnTo>
                    <a:pt x="179" y="26"/>
                  </a:lnTo>
                  <a:lnTo>
                    <a:pt x="171" y="26"/>
                  </a:lnTo>
                  <a:lnTo>
                    <a:pt x="171" y="21"/>
                  </a:lnTo>
                  <a:lnTo>
                    <a:pt x="179" y="21"/>
                  </a:lnTo>
                  <a:lnTo>
                    <a:pt x="179" y="8"/>
                  </a:lnTo>
                  <a:lnTo>
                    <a:pt x="186" y="3"/>
                  </a:lnTo>
                  <a:lnTo>
                    <a:pt x="186" y="21"/>
                  </a:lnTo>
                  <a:lnTo>
                    <a:pt x="194" y="21"/>
                  </a:lnTo>
                  <a:lnTo>
                    <a:pt x="194" y="26"/>
                  </a:lnTo>
                  <a:lnTo>
                    <a:pt x="186" y="26"/>
                  </a:lnTo>
                  <a:lnTo>
                    <a:pt x="186" y="56"/>
                  </a:lnTo>
                  <a:lnTo>
                    <a:pt x="186" y="58"/>
                  </a:lnTo>
                  <a:lnTo>
                    <a:pt x="186" y="61"/>
                  </a:lnTo>
                  <a:lnTo>
                    <a:pt x="189" y="61"/>
                  </a:lnTo>
                  <a:lnTo>
                    <a:pt x="189" y="63"/>
                  </a:lnTo>
                  <a:lnTo>
                    <a:pt x="191" y="63"/>
                  </a:lnTo>
                  <a:lnTo>
                    <a:pt x="194" y="63"/>
                  </a:lnTo>
                  <a:close/>
                  <a:moveTo>
                    <a:pt x="236" y="53"/>
                  </a:moveTo>
                  <a:lnTo>
                    <a:pt x="246" y="56"/>
                  </a:lnTo>
                  <a:lnTo>
                    <a:pt x="241" y="61"/>
                  </a:lnTo>
                  <a:lnTo>
                    <a:pt x="238" y="66"/>
                  </a:lnTo>
                  <a:lnTo>
                    <a:pt x="231" y="71"/>
                  </a:lnTo>
                  <a:lnTo>
                    <a:pt x="223" y="71"/>
                  </a:lnTo>
                  <a:lnTo>
                    <a:pt x="213" y="68"/>
                  </a:lnTo>
                  <a:lnTo>
                    <a:pt x="206" y="63"/>
                  </a:lnTo>
                  <a:lnTo>
                    <a:pt x="201" y="56"/>
                  </a:lnTo>
                  <a:lnTo>
                    <a:pt x="199" y="46"/>
                  </a:lnTo>
                  <a:lnTo>
                    <a:pt x="201" y="33"/>
                  </a:lnTo>
                  <a:lnTo>
                    <a:pt x="206" y="26"/>
                  </a:lnTo>
                  <a:lnTo>
                    <a:pt x="213" y="21"/>
                  </a:lnTo>
                  <a:lnTo>
                    <a:pt x="223" y="18"/>
                  </a:lnTo>
                  <a:lnTo>
                    <a:pt x="231" y="21"/>
                  </a:lnTo>
                  <a:lnTo>
                    <a:pt x="238" y="26"/>
                  </a:lnTo>
                  <a:lnTo>
                    <a:pt x="243" y="33"/>
                  </a:lnTo>
                  <a:lnTo>
                    <a:pt x="246" y="46"/>
                  </a:lnTo>
                  <a:lnTo>
                    <a:pt x="246" y="48"/>
                  </a:lnTo>
                  <a:lnTo>
                    <a:pt x="208" y="48"/>
                  </a:lnTo>
                  <a:lnTo>
                    <a:pt x="208" y="53"/>
                  </a:lnTo>
                  <a:lnTo>
                    <a:pt x="213" y="61"/>
                  </a:lnTo>
                  <a:lnTo>
                    <a:pt x="218" y="63"/>
                  </a:lnTo>
                  <a:lnTo>
                    <a:pt x="223" y="63"/>
                  </a:lnTo>
                  <a:lnTo>
                    <a:pt x="228" y="63"/>
                  </a:lnTo>
                  <a:lnTo>
                    <a:pt x="231" y="61"/>
                  </a:lnTo>
                  <a:lnTo>
                    <a:pt x="233" y="58"/>
                  </a:lnTo>
                  <a:lnTo>
                    <a:pt x="236" y="53"/>
                  </a:lnTo>
                  <a:close/>
                  <a:moveTo>
                    <a:pt x="208" y="41"/>
                  </a:moveTo>
                  <a:lnTo>
                    <a:pt x="236" y="41"/>
                  </a:lnTo>
                  <a:lnTo>
                    <a:pt x="236" y="36"/>
                  </a:lnTo>
                  <a:lnTo>
                    <a:pt x="233" y="31"/>
                  </a:lnTo>
                  <a:lnTo>
                    <a:pt x="228" y="28"/>
                  </a:lnTo>
                  <a:lnTo>
                    <a:pt x="223" y="26"/>
                  </a:lnTo>
                  <a:lnTo>
                    <a:pt x="218" y="28"/>
                  </a:lnTo>
                  <a:lnTo>
                    <a:pt x="213" y="31"/>
                  </a:lnTo>
                  <a:lnTo>
                    <a:pt x="211" y="33"/>
                  </a:lnTo>
                  <a:lnTo>
                    <a:pt x="208" y="41"/>
                  </a:lnTo>
                  <a:close/>
                  <a:moveTo>
                    <a:pt x="253" y="73"/>
                  </a:moveTo>
                  <a:lnTo>
                    <a:pt x="261" y="76"/>
                  </a:lnTo>
                  <a:lnTo>
                    <a:pt x="263" y="78"/>
                  </a:lnTo>
                  <a:lnTo>
                    <a:pt x="266" y="81"/>
                  </a:lnTo>
                  <a:lnTo>
                    <a:pt x="268" y="83"/>
                  </a:lnTo>
                  <a:lnTo>
                    <a:pt x="273" y="83"/>
                  </a:lnTo>
                  <a:lnTo>
                    <a:pt x="278" y="83"/>
                  </a:lnTo>
                  <a:lnTo>
                    <a:pt x="283" y="81"/>
                  </a:lnTo>
                  <a:lnTo>
                    <a:pt x="285" y="78"/>
                  </a:lnTo>
                  <a:lnTo>
                    <a:pt x="285" y="73"/>
                  </a:lnTo>
                  <a:lnTo>
                    <a:pt x="285" y="71"/>
                  </a:lnTo>
                  <a:lnTo>
                    <a:pt x="288" y="63"/>
                  </a:lnTo>
                  <a:lnTo>
                    <a:pt x="280" y="68"/>
                  </a:lnTo>
                  <a:lnTo>
                    <a:pt x="273" y="71"/>
                  </a:lnTo>
                  <a:lnTo>
                    <a:pt x="263" y="68"/>
                  </a:lnTo>
                  <a:lnTo>
                    <a:pt x="258" y="63"/>
                  </a:lnTo>
                  <a:lnTo>
                    <a:pt x="253" y="53"/>
                  </a:lnTo>
                  <a:lnTo>
                    <a:pt x="251" y="46"/>
                  </a:lnTo>
                  <a:lnTo>
                    <a:pt x="253" y="38"/>
                  </a:lnTo>
                  <a:lnTo>
                    <a:pt x="256" y="31"/>
                  </a:lnTo>
                  <a:lnTo>
                    <a:pt x="258" y="26"/>
                  </a:lnTo>
                  <a:lnTo>
                    <a:pt x="261" y="23"/>
                  </a:lnTo>
                  <a:lnTo>
                    <a:pt x="268" y="21"/>
                  </a:lnTo>
                  <a:lnTo>
                    <a:pt x="273" y="18"/>
                  </a:lnTo>
                  <a:lnTo>
                    <a:pt x="280" y="21"/>
                  </a:lnTo>
                  <a:lnTo>
                    <a:pt x="288" y="26"/>
                  </a:lnTo>
                  <a:lnTo>
                    <a:pt x="288" y="21"/>
                  </a:lnTo>
                  <a:lnTo>
                    <a:pt x="295" y="21"/>
                  </a:lnTo>
                  <a:lnTo>
                    <a:pt x="295" y="63"/>
                  </a:lnTo>
                  <a:lnTo>
                    <a:pt x="295" y="73"/>
                  </a:lnTo>
                  <a:lnTo>
                    <a:pt x="293" y="78"/>
                  </a:lnTo>
                  <a:lnTo>
                    <a:pt x="290" y="83"/>
                  </a:lnTo>
                  <a:lnTo>
                    <a:pt x="285" y="86"/>
                  </a:lnTo>
                  <a:lnTo>
                    <a:pt x="280" y="88"/>
                  </a:lnTo>
                  <a:lnTo>
                    <a:pt x="273" y="91"/>
                  </a:lnTo>
                  <a:lnTo>
                    <a:pt x="266" y="88"/>
                  </a:lnTo>
                  <a:lnTo>
                    <a:pt x="258" y="86"/>
                  </a:lnTo>
                  <a:lnTo>
                    <a:pt x="256" y="81"/>
                  </a:lnTo>
                  <a:lnTo>
                    <a:pt x="253" y="73"/>
                  </a:lnTo>
                  <a:close/>
                  <a:moveTo>
                    <a:pt x="261" y="43"/>
                  </a:moveTo>
                  <a:lnTo>
                    <a:pt x="261" y="53"/>
                  </a:lnTo>
                  <a:lnTo>
                    <a:pt x="263" y="58"/>
                  </a:lnTo>
                  <a:lnTo>
                    <a:pt x="268" y="61"/>
                  </a:lnTo>
                  <a:lnTo>
                    <a:pt x="273" y="63"/>
                  </a:lnTo>
                  <a:lnTo>
                    <a:pt x="278" y="61"/>
                  </a:lnTo>
                  <a:lnTo>
                    <a:pt x="283" y="58"/>
                  </a:lnTo>
                  <a:lnTo>
                    <a:pt x="285" y="53"/>
                  </a:lnTo>
                  <a:lnTo>
                    <a:pt x="288" y="43"/>
                  </a:lnTo>
                  <a:lnTo>
                    <a:pt x="285" y="36"/>
                  </a:lnTo>
                  <a:lnTo>
                    <a:pt x="283" y="31"/>
                  </a:lnTo>
                  <a:lnTo>
                    <a:pt x="278" y="28"/>
                  </a:lnTo>
                  <a:lnTo>
                    <a:pt x="273" y="26"/>
                  </a:lnTo>
                  <a:lnTo>
                    <a:pt x="268" y="28"/>
                  </a:lnTo>
                  <a:lnTo>
                    <a:pt x="263" y="31"/>
                  </a:lnTo>
                  <a:lnTo>
                    <a:pt x="261" y="36"/>
                  </a:lnTo>
                  <a:lnTo>
                    <a:pt x="261" y="43"/>
                  </a:lnTo>
                  <a:close/>
                  <a:moveTo>
                    <a:pt x="402" y="71"/>
                  </a:moveTo>
                  <a:lnTo>
                    <a:pt x="402" y="0"/>
                  </a:lnTo>
                  <a:lnTo>
                    <a:pt x="427" y="0"/>
                  </a:lnTo>
                  <a:lnTo>
                    <a:pt x="434" y="3"/>
                  </a:lnTo>
                  <a:lnTo>
                    <a:pt x="439" y="3"/>
                  </a:lnTo>
                  <a:lnTo>
                    <a:pt x="444" y="5"/>
                  </a:lnTo>
                  <a:lnTo>
                    <a:pt x="447" y="11"/>
                  </a:lnTo>
                  <a:lnTo>
                    <a:pt x="449" y="13"/>
                  </a:lnTo>
                  <a:lnTo>
                    <a:pt x="449" y="18"/>
                  </a:lnTo>
                  <a:lnTo>
                    <a:pt x="449" y="23"/>
                  </a:lnTo>
                  <a:lnTo>
                    <a:pt x="449" y="28"/>
                  </a:lnTo>
                  <a:lnTo>
                    <a:pt x="444" y="31"/>
                  </a:lnTo>
                  <a:lnTo>
                    <a:pt x="442" y="33"/>
                  </a:lnTo>
                  <a:lnTo>
                    <a:pt x="447" y="36"/>
                  </a:lnTo>
                  <a:lnTo>
                    <a:pt x="449" y="41"/>
                  </a:lnTo>
                  <a:lnTo>
                    <a:pt x="452" y="43"/>
                  </a:lnTo>
                  <a:lnTo>
                    <a:pt x="454" y="51"/>
                  </a:lnTo>
                  <a:lnTo>
                    <a:pt x="454" y="56"/>
                  </a:lnTo>
                  <a:lnTo>
                    <a:pt x="452" y="58"/>
                  </a:lnTo>
                  <a:lnTo>
                    <a:pt x="449" y="63"/>
                  </a:lnTo>
                  <a:lnTo>
                    <a:pt x="447" y="66"/>
                  </a:lnTo>
                  <a:lnTo>
                    <a:pt x="444" y="68"/>
                  </a:lnTo>
                  <a:lnTo>
                    <a:pt x="439" y="68"/>
                  </a:lnTo>
                  <a:lnTo>
                    <a:pt x="434" y="68"/>
                  </a:lnTo>
                  <a:lnTo>
                    <a:pt x="430" y="71"/>
                  </a:lnTo>
                  <a:lnTo>
                    <a:pt x="402" y="71"/>
                  </a:lnTo>
                  <a:close/>
                  <a:moveTo>
                    <a:pt x="412" y="31"/>
                  </a:moveTo>
                  <a:lnTo>
                    <a:pt x="427" y="31"/>
                  </a:lnTo>
                  <a:lnTo>
                    <a:pt x="432" y="31"/>
                  </a:lnTo>
                  <a:lnTo>
                    <a:pt x="434" y="28"/>
                  </a:lnTo>
                  <a:lnTo>
                    <a:pt x="437" y="28"/>
                  </a:lnTo>
                  <a:lnTo>
                    <a:pt x="439" y="26"/>
                  </a:lnTo>
                  <a:lnTo>
                    <a:pt x="442" y="23"/>
                  </a:lnTo>
                  <a:lnTo>
                    <a:pt x="442" y="21"/>
                  </a:lnTo>
                  <a:lnTo>
                    <a:pt x="442" y="16"/>
                  </a:lnTo>
                  <a:lnTo>
                    <a:pt x="439" y="13"/>
                  </a:lnTo>
                  <a:lnTo>
                    <a:pt x="437" y="11"/>
                  </a:lnTo>
                  <a:lnTo>
                    <a:pt x="434" y="11"/>
                  </a:lnTo>
                  <a:lnTo>
                    <a:pt x="432" y="11"/>
                  </a:lnTo>
                  <a:lnTo>
                    <a:pt x="425" y="11"/>
                  </a:lnTo>
                  <a:lnTo>
                    <a:pt x="412" y="11"/>
                  </a:lnTo>
                  <a:lnTo>
                    <a:pt x="412" y="31"/>
                  </a:lnTo>
                  <a:close/>
                  <a:moveTo>
                    <a:pt x="412" y="61"/>
                  </a:moveTo>
                  <a:lnTo>
                    <a:pt x="430" y="61"/>
                  </a:lnTo>
                  <a:lnTo>
                    <a:pt x="432" y="61"/>
                  </a:lnTo>
                  <a:lnTo>
                    <a:pt x="434" y="61"/>
                  </a:lnTo>
                  <a:lnTo>
                    <a:pt x="437" y="61"/>
                  </a:lnTo>
                  <a:lnTo>
                    <a:pt x="439" y="58"/>
                  </a:lnTo>
                  <a:lnTo>
                    <a:pt x="442" y="58"/>
                  </a:lnTo>
                  <a:lnTo>
                    <a:pt x="444" y="56"/>
                  </a:lnTo>
                  <a:lnTo>
                    <a:pt x="444" y="53"/>
                  </a:lnTo>
                  <a:lnTo>
                    <a:pt x="444" y="51"/>
                  </a:lnTo>
                  <a:lnTo>
                    <a:pt x="444" y="46"/>
                  </a:lnTo>
                  <a:lnTo>
                    <a:pt x="442" y="43"/>
                  </a:lnTo>
                  <a:lnTo>
                    <a:pt x="439" y="41"/>
                  </a:lnTo>
                  <a:lnTo>
                    <a:pt x="437" y="38"/>
                  </a:lnTo>
                  <a:lnTo>
                    <a:pt x="432" y="38"/>
                  </a:lnTo>
                  <a:lnTo>
                    <a:pt x="427" y="38"/>
                  </a:lnTo>
                  <a:lnTo>
                    <a:pt x="412" y="38"/>
                  </a:lnTo>
                  <a:lnTo>
                    <a:pt x="412" y="61"/>
                  </a:lnTo>
                  <a:close/>
                  <a:moveTo>
                    <a:pt x="497" y="71"/>
                  </a:moveTo>
                  <a:lnTo>
                    <a:pt x="497" y="63"/>
                  </a:lnTo>
                  <a:lnTo>
                    <a:pt x="492" y="68"/>
                  </a:lnTo>
                  <a:lnTo>
                    <a:pt x="482" y="71"/>
                  </a:lnTo>
                  <a:lnTo>
                    <a:pt x="477" y="71"/>
                  </a:lnTo>
                  <a:lnTo>
                    <a:pt x="474" y="68"/>
                  </a:lnTo>
                  <a:lnTo>
                    <a:pt x="469" y="68"/>
                  </a:lnTo>
                  <a:lnTo>
                    <a:pt x="469" y="66"/>
                  </a:lnTo>
                  <a:lnTo>
                    <a:pt x="467" y="63"/>
                  </a:lnTo>
                  <a:lnTo>
                    <a:pt x="464" y="58"/>
                  </a:lnTo>
                  <a:lnTo>
                    <a:pt x="464" y="56"/>
                  </a:lnTo>
                  <a:lnTo>
                    <a:pt x="464" y="51"/>
                  </a:lnTo>
                  <a:lnTo>
                    <a:pt x="464" y="21"/>
                  </a:lnTo>
                  <a:lnTo>
                    <a:pt x="474" y="21"/>
                  </a:lnTo>
                  <a:lnTo>
                    <a:pt x="474" y="48"/>
                  </a:lnTo>
                  <a:lnTo>
                    <a:pt x="474" y="53"/>
                  </a:lnTo>
                  <a:lnTo>
                    <a:pt x="474" y="56"/>
                  </a:lnTo>
                  <a:lnTo>
                    <a:pt x="474" y="58"/>
                  </a:lnTo>
                  <a:lnTo>
                    <a:pt x="477" y="61"/>
                  </a:lnTo>
                  <a:lnTo>
                    <a:pt x="479" y="63"/>
                  </a:lnTo>
                  <a:lnTo>
                    <a:pt x="484" y="63"/>
                  </a:lnTo>
                  <a:lnTo>
                    <a:pt x="487" y="63"/>
                  </a:lnTo>
                  <a:lnTo>
                    <a:pt x="492" y="61"/>
                  </a:lnTo>
                  <a:lnTo>
                    <a:pt x="494" y="58"/>
                  </a:lnTo>
                  <a:lnTo>
                    <a:pt x="494" y="56"/>
                  </a:lnTo>
                  <a:lnTo>
                    <a:pt x="497" y="53"/>
                  </a:lnTo>
                  <a:lnTo>
                    <a:pt x="497" y="46"/>
                  </a:lnTo>
                  <a:lnTo>
                    <a:pt x="497" y="21"/>
                  </a:lnTo>
                  <a:lnTo>
                    <a:pt x="504" y="21"/>
                  </a:lnTo>
                  <a:lnTo>
                    <a:pt x="504" y="71"/>
                  </a:lnTo>
                  <a:lnTo>
                    <a:pt x="497" y="71"/>
                  </a:lnTo>
                  <a:close/>
                  <a:moveTo>
                    <a:pt x="514" y="56"/>
                  </a:moveTo>
                  <a:lnTo>
                    <a:pt x="524" y="53"/>
                  </a:lnTo>
                  <a:lnTo>
                    <a:pt x="524" y="58"/>
                  </a:lnTo>
                  <a:lnTo>
                    <a:pt x="526" y="61"/>
                  </a:lnTo>
                  <a:lnTo>
                    <a:pt x="531" y="63"/>
                  </a:lnTo>
                  <a:lnTo>
                    <a:pt x="536" y="63"/>
                  </a:lnTo>
                  <a:lnTo>
                    <a:pt x="541" y="63"/>
                  </a:lnTo>
                  <a:lnTo>
                    <a:pt x="544" y="61"/>
                  </a:lnTo>
                  <a:lnTo>
                    <a:pt x="546" y="58"/>
                  </a:lnTo>
                  <a:lnTo>
                    <a:pt x="546" y="56"/>
                  </a:lnTo>
                  <a:lnTo>
                    <a:pt x="546" y="53"/>
                  </a:lnTo>
                  <a:lnTo>
                    <a:pt x="544" y="51"/>
                  </a:lnTo>
                  <a:lnTo>
                    <a:pt x="541" y="51"/>
                  </a:lnTo>
                  <a:lnTo>
                    <a:pt x="536" y="48"/>
                  </a:lnTo>
                  <a:lnTo>
                    <a:pt x="529" y="46"/>
                  </a:lnTo>
                  <a:lnTo>
                    <a:pt x="524" y="46"/>
                  </a:lnTo>
                  <a:lnTo>
                    <a:pt x="519" y="43"/>
                  </a:lnTo>
                  <a:lnTo>
                    <a:pt x="519" y="41"/>
                  </a:lnTo>
                  <a:lnTo>
                    <a:pt x="516" y="36"/>
                  </a:lnTo>
                  <a:lnTo>
                    <a:pt x="516" y="33"/>
                  </a:lnTo>
                  <a:lnTo>
                    <a:pt x="516" y="31"/>
                  </a:lnTo>
                  <a:lnTo>
                    <a:pt x="516" y="28"/>
                  </a:lnTo>
                  <a:lnTo>
                    <a:pt x="519" y="26"/>
                  </a:lnTo>
                  <a:lnTo>
                    <a:pt x="521" y="23"/>
                  </a:lnTo>
                  <a:lnTo>
                    <a:pt x="524" y="21"/>
                  </a:lnTo>
                  <a:lnTo>
                    <a:pt x="526" y="21"/>
                  </a:lnTo>
                  <a:lnTo>
                    <a:pt x="531" y="18"/>
                  </a:lnTo>
                  <a:lnTo>
                    <a:pt x="534" y="18"/>
                  </a:lnTo>
                  <a:lnTo>
                    <a:pt x="539" y="21"/>
                  </a:lnTo>
                  <a:lnTo>
                    <a:pt x="544" y="21"/>
                  </a:lnTo>
                  <a:lnTo>
                    <a:pt x="549" y="23"/>
                  </a:lnTo>
                  <a:lnTo>
                    <a:pt x="551" y="26"/>
                  </a:lnTo>
                  <a:lnTo>
                    <a:pt x="551" y="28"/>
                  </a:lnTo>
                  <a:lnTo>
                    <a:pt x="554" y="33"/>
                  </a:lnTo>
                  <a:lnTo>
                    <a:pt x="546" y="33"/>
                  </a:lnTo>
                  <a:lnTo>
                    <a:pt x="544" y="31"/>
                  </a:lnTo>
                  <a:lnTo>
                    <a:pt x="541" y="28"/>
                  </a:lnTo>
                  <a:lnTo>
                    <a:pt x="539" y="26"/>
                  </a:lnTo>
                  <a:lnTo>
                    <a:pt x="534" y="26"/>
                  </a:lnTo>
                  <a:lnTo>
                    <a:pt x="529" y="26"/>
                  </a:lnTo>
                  <a:lnTo>
                    <a:pt x="526" y="28"/>
                  </a:lnTo>
                  <a:lnTo>
                    <a:pt x="524" y="31"/>
                  </a:lnTo>
                  <a:lnTo>
                    <a:pt x="524" y="33"/>
                  </a:lnTo>
                  <a:lnTo>
                    <a:pt x="524" y="36"/>
                  </a:lnTo>
                  <a:lnTo>
                    <a:pt x="526" y="36"/>
                  </a:lnTo>
                  <a:lnTo>
                    <a:pt x="529" y="38"/>
                  </a:lnTo>
                  <a:lnTo>
                    <a:pt x="531" y="38"/>
                  </a:lnTo>
                  <a:lnTo>
                    <a:pt x="536" y="41"/>
                  </a:lnTo>
                  <a:lnTo>
                    <a:pt x="544" y="41"/>
                  </a:lnTo>
                  <a:lnTo>
                    <a:pt x="549" y="43"/>
                  </a:lnTo>
                  <a:lnTo>
                    <a:pt x="551" y="46"/>
                  </a:lnTo>
                  <a:lnTo>
                    <a:pt x="554" y="48"/>
                  </a:lnTo>
                  <a:lnTo>
                    <a:pt x="554" y="51"/>
                  </a:lnTo>
                  <a:lnTo>
                    <a:pt x="556" y="56"/>
                  </a:lnTo>
                  <a:lnTo>
                    <a:pt x="554" y="58"/>
                  </a:lnTo>
                  <a:lnTo>
                    <a:pt x="554" y="63"/>
                  </a:lnTo>
                  <a:lnTo>
                    <a:pt x="551" y="66"/>
                  </a:lnTo>
                  <a:lnTo>
                    <a:pt x="546" y="68"/>
                  </a:lnTo>
                  <a:lnTo>
                    <a:pt x="541" y="71"/>
                  </a:lnTo>
                  <a:lnTo>
                    <a:pt x="536" y="71"/>
                  </a:lnTo>
                  <a:lnTo>
                    <a:pt x="526" y="71"/>
                  </a:lnTo>
                  <a:lnTo>
                    <a:pt x="521" y="66"/>
                  </a:lnTo>
                  <a:lnTo>
                    <a:pt x="516" y="61"/>
                  </a:lnTo>
                  <a:lnTo>
                    <a:pt x="514" y="56"/>
                  </a:lnTo>
                  <a:close/>
                  <a:moveTo>
                    <a:pt x="566" y="11"/>
                  </a:moveTo>
                  <a:lnTo>
                    <a:pt x="566" y="0"/>
                  </a:lnTo>
                  <a:lnTo>
                    <a:pt x="574" y="0"/>
                  </a:lnTo>
                  <a:lnTo>
                    <a:pt x="574" y="11"/>
                  </a:lnTo>
                  <a:lnTo>
                    <a:pt x="566" y="11"/>
                  </a:lnTo>
                  <a:close/>
                  <a:moveTo>
                    <a:pt x="566" y="71"/>
                  </a:moveTo>
                  <a:lnTo>
                    <a:pt x="566" y="21"/>
                  </a:lnTo>
                  <a:lnTo>
                    <a:pt x="574" y="21"/>
                  </a:lnTo>
                  <a:lnTo>
                    <a:pt x="574" y="71"/>
                  </a:lnTo>
                  <a:lnTo>
                    <a:pt x="566" y="71"/>
                  </a:lnTo>
                  <a:close/>
                  <a:moveTo>
                    <a:pt x="305" y="11"/>
                  </a:moveTo>
                  <a:lnTo>
                    <a:pt x="305" y="0"/>
                  </a:lnTo>
                  <a:lnTo>
                    <a:pt x="313" y="0"/>
                  </a:lnTo>
                  <a:lnTo>
                    <a:pt x="313" y="11"/>
                  </a:lnTo>
                  <a:lnTo>
                    <a:pt x="305" y="11"/>
                  </a:lnTo>
                  <a:close/>
                  <a:moveTo>
                    <a:pt x="305" y="71"/>
                  </a:moveTo>
                  <a:lnTo>
                    <a:pt x="305" y="21"/>
                  </a:lnTo>
                  <a:lnTo>
                    <a:pt x="313" y="21"/>
                  </a:lnTo>
                  <a:lnTo>
                    <a:pt x="313" y="71"/>
                  </a:lnTo>
                  <a:lnTo>
                    <a:pt x="305" y="71"/>
                  </a:lnTo>
                  <a:close/>
                  <a:moveTo>
                    <a:pt x="586" y="71"/>
                  </a:moveTo>
                  <a:lnTo>
                    <a:pt x="586" y="21"/>
                  </a:lnTo>
                  <a:lnTo>
                    <a:pt x="593" y="21"/>
                  </a:lnTo>
                  <a:lnTo>
                    <a:pt x="593" y="28"/>
                  </a:lnTo>
                  <a:lnTo>
                    <a:pt x="601" y="21"/>
                  </a:lnTo>
                  <a:lnTo>
                    <a:pt x="608" y="18"/>
                  </a:lnTo>
                  <a:lnTo>
                    <a:pt x="613" y="21"/>
                  </a:lnTo>
                  <a:lnTo>
                    <a:pt x="618" y="21"/>
                  </a:lnTo>
                  <a:lnTo>
                    <a:pt x="621" y="23"/>
                  </a:lnTo>
                  <a:lnTo>
                    <a:pt x="623" y="26"/>
                  </a:lnTo>
                  <a:lnTo>
                    <a:pt x="626" y="28"/>
                  </a:lnTo>
                  <a:lnTo>
                    <a:pt x="626" y="31"/>
                  </a:lnTo>
                  <a:lnTo>
                    <a:pt x="626" y="33"/>
                  </a:lnTo>
                  <a:lnTo>
                    <a:pt x="626" y="38"/>
                  </a:lnTo>
                  <a:lnTo>
                    <a:pt x="626" y="71"/>
                  </a:lnTo>
                  <a:lnTo>
                    <a:pt x="618" y="71"/>
                  </a:lnTo>
                  <a:lnTo>
                    <a:pt x="618" y="41"/>
                  </a:lnTo>
                  <a:lnTo>
                    <a:pt x="618" y="36"/>
                  </a:lnTo>
                  <a:lnTo>
                    <a:pt x="618" y="33"/>
                  </a:lnTo>
                  <a:lnTo>
                    <a:pt x="616" y="31"/>
                  </a:lnTo>
                  <a:lnTo>
                    <a:pt x="613" y="28"/>
                  </a:lnTo>
                  <a:lnTo>
                    <a:pt x="611" y="26"/>
                  </a:lnTo>
                  <a:lnTo>
                    <a:pt x="608" y="26"/>
                  </a:lnTo>
                  <a:lnTo>
                    <a:pt x="603" y="28"/>
                  </a:lnTo>
                  <a:lnTo>
                    <a:pt x="598" y="31"/>
                  </a:lnTo>
                  <a:lnTo>
                    <a:pt x="596" y="36"/>
                  </a:lnTo>
                  <a:lnTo>
                    <a:pt x="596" y="43"/>
                  </a:lnTo>
                  <a:lnTo>
                    <a:pt x="596" y="71"/>
                  </a:lnTo>
                  <a:lnTo>
                    <a:pt x="586" y="71"/>
                  </a:lnTo>
                  <a:close/>
                  <a:moveTo>
                    <a:pt x="673" y="53"/>
                  </a:moveTo>
                  <a:lnTo>
                    <a:pt x="680" y="56"/>
                  </a:lnTo>
                  <a:lnTo>
                    <a:pt x="678" y="61"/>
                  </a:lnTo>
                  <a:lnTo>
                    <a:pt x="673" y="66"/>
                  </a:lnTo>
                  <a:lnTo>
                    <a:pt x="668" y="71"/>
                  </a:lnTo>
                  <a:lnTo>
                    <a:pt x="660" y="71"/>
                  </a:lnTo>
                  <a:lnTo>
                    <a:pt x="651" y="68"/>
                  </a:lnTo>
                  <a:lnTo>
                    <a:pt x="643" y="63"/>
                  </a:lnTo>
                  <a:lnTo>
                    <a:pt x="638" y="56"/>
                  </a:lnTo>
                  <a:lnTo>
                    <a:pt x="636" y="46"/>
                  </a:lnTo>
                  <a:lnTo>
                    <a:pt x="638" y="33"/>
                  </a:lnTo>
                  <a:lnTo>
                    <a:pt x="643" y="26"/>
                  </a:lnTo>
                  <a:lnTo>
                    <a:pt x="651" y="21"/>
                  </a:lnTo>
                  <a:lnTo>
                    <a:pt x="660" y="18"/>
                  </a:lnTo>
                  <a:lnTo>
                    <a:pt x="668" y="21"/>
                  </a:lnTo>
                  <a:lnTo>
                    <a:pt x="675" y="26"/>
                  </a:lnTo>
                  <a:lnTo>
                    <a:pt x="680" y="33"/>
                  </a:lnTo>
                  <a:lnTo>
                    <a:pt x="683" y="46"/>
                  </a:lnTo>
                  <a:lnTo>
                    <a:pt x="683" y="48"/>
                  </a:lnTo>
                  <a:lnTo>
                    <a:pt x="646" y="48"/>
                  </a:lnTo>
                  <a:lnTo>
                    <a:pt x="646" y="53"/>
                  </a:lnTo>
                  <a:lnTo>
                    <a:pt x="651" y="61"/>
                  </a:lnTo>
                  <a:lnTo>
                    <a:pt x="653" y="63"/>
                  </a:lnTo>
                  <a:lnTo>
                    <a:pt x="660" y="63"/>
                  </a:lnTo>
                  <a:lnTo>
                    <a:pt x="663" y="63"/>
                  </a:lnTo>
                  <a:lnTo>
                    <a:pt x="668" y="61"/>
                  </a:lnTo>
                  <a:lnTo>
                    <a:pt x="670" y="58"/>
                  </a:lnTo>
                  <a:lnTo>
                    <a:pt x="673" y="53"/>
                  </a:lnTo>
                  <a:close/>
                  <a:moveTo>
                    <a:pt x="646" y="41"/>
                  </a:moveTo>
                  <a:lnTo>
                    <a:pt x="673" y="41"/>
                  </a:lnTo>
                  <a:lnTo>
                    <a:pt x="673" y="36"/>
                  </a:lnTo>
                  <a:lnTo>
                    <a:pt x="670" y="31"/>
                  </a:lnTo>
                  <a:lnTo>
                    <a:pt x="665" y="28"/>
                  </a:lnTo>
                  <a:lnTo>
                    <a:pt x="660" y="26"/>
                  </a:lnTo>
                  <a:lnTo>
                    <a:pt x="653" y="28"/>
                  </a:lnTo>
                  <a:lnTo>
                    <a:pt x="651" y="31"/>
                  </a:lnTo>
                  <a:lnTo>
                    <a:pt x="646" y="33"/>
                  </a:lnTo>
                  <a:lnTo>
                    <a:pt x="646" y="41"/>
                  </a:lnTo>
                  <a:close/>
                  <a:moveTo>
                    <a:pt x="688" y="56"/>
                  </a:moveTo>
                  <a:lnTo>
                    <a:pt x="698" y="53"/>
                  </a:lnTo>
                  <a:lnTo>
                    <a:pt x="698" y="58"/>
                  </a:lnTo>
                  <a:lnTo>
                    <a:pt x="700" y="61"/>
                  </a:lnTo>
                  <a:lnTo>
                    <a:pt x="705" y="63"/>
                  </a:lnTo>
                  <a:lnTo>
                    <a:pt x="710" y="63"/>
                  </a:lnTo>
                  <a:lnTo>
                    <a:pt x="715" y="63"/>
                  </a:lnTo>
                  <a:lnTo>
                    <a:pt x="718" y="61"/>
                  </a:lnTo>
                  <a:lnTo>
                    <a:pt x="720" y="58"/>
                  </a:lnTo>
                  <a:lnTo>
                    <a:pt x="720" y="56"/>
                  </a:lnTo>
                  <a:lnTo>
                    <a:pt x="720" y="53"/>
                  </a:lnTo>
                  <a:lnTo>
                    <a:pt x="718" y="51"/>
                  </a:lnTo>
                  <a:lnTo>
                    <a:pt x="715" y="51"/>
                  </a:lnTo>
                  <a:lnTo>
                    <a:pt x="710" y="48"/>
                  </a:lnTo>
                  <a:lnTo>
                    <a:pt x="703" y="46"/>
                  </a:lnTo>
                  <a:lnTo>
                    <a:pt x="698" y="46"/>
                  </a:lnTo>
                  <a:lnTo>
                    <a:pt x="693" y="43"/>
                  </a:lnTo>
                  <a:lnTo>
                    <a:pt x="693" y="41"/>
                  </a:lnTo>
                  <a:lnTo>
                    <a:pt x="690" y="36"/>
                  </a:lnTo>
                  <a:lnTo>
                    <a:pt x="690" y="33"/>
                  </a:lnTo>
                  <a:lnTo>
                    <a:pt x="690" y="31"/>
                  </a:lnTo>
                  <a:lnTo>
                    <a:pt x="690" y="28"/>
                  </a:lnTo>
                  <a:lnTo>
                    <a:pt x="693" y="26"/>
                  </a:lnTo>
                  <a:lnTo>
                    <a:pt x="695" y="23"/>
                  </a:lnTo>
                  <a:lnTo>
                    <a:pt x="698" y="21"/>
                  </a:lnTo>
                  <a:lnTo>
                    <a:pt x="700" y="21"/>
                  </a:lnTo>
                  <a:lnTo>
                    <a:pt x="705" y="18"/>
                  </a:lnTo>
                  <a:lnTo>
                    <a:pt x="708" y="18"/>
                  </a:lnTo>
                  <a:lnTo>
                    <a:pt x="713" y="21"/>
                  </a:lnTo>
                  <a:lnTo>
                    <a:pt x="718" y="21"/>
                  </a:lnTo>
                  <a:lnTo>
                    <a:pt x="723" y="23"/>
                  </a:lnTo>
                  <a:lnTo>
                    <a:pt x="725" y="26"/>
                  </a:lnTo>
                  <a:lnTo>
                    <a:pt x="728" y="28"/>
                  </a:lnTo>
                  <a:lnTo>
                    <a:pt x="728" y="33"/>
                  </a:lnTo>
                  <a:lnTo>
                    <a:pt x="720" y="33"/>
                  </a:lnTo>
                  <a:lnTo>
                    <a:pt x="718" y="31"/>
                  </a:lnTo>
                  <a:lnTo>
                    <a:pt x="715" y="28"/>
                  </a:lnTo>
                  <a:lnTo>
                    <a:pt x="713" y="26"/>
                  </a:lnTo>
                  <a:lnTo>
                    <a:pt x="708" y="26"/>
                  </a:lnTo>
                  <a:lnTo>
                    <a:pt x="703" y="26"/>
                  </a:lnTo>
                  <a:lnTo>
                    <a:pt x="700" y="28"/>
                  </a:lnTo>
                  <a:lnTo>
                    <a:pt x="698" y="31"/>
                  </a:lnTo>
                  <a:lnTo>
                    <a:pt x="698" y="33"/>
                  </a:lnTo>
                  <a:lnTo>
                    <a:pt x="700" y="36"/>
                  </a:lnTo>
                  <a:lnTo>
                    <a:pt x="703" y="38"/>
                  </a:lnTo>
                  <a:lnTo>
                    <a:pt x="705" y="38"/>
                  </a:lnTo>
                  <a:lnTo>
                    <a:pt x="710" y="41"/>
                  </a:lnTo>
                  <a:lnTo>
                    <a:pt x="718" y="41"/>
                  </a:lnTo>
                  <a:lnTo>
                    <a:pt x="723" y="43"/>
                  </a:lnTo>
                  <a:lnTo>
                    <a:pt x="725" y="46"/>
                  </a:lnTo>
                  <a:lnTo>
                    <a:pt x="728" y="48"/>
                  </a:lnTo>
                  <a:lnTo>
                    <a:pt x="730" y="51"/>
                  </a:lnTo>
                  <a:lnTo>
                    <a:pt x="730" y="56"/>
                  </a:lnTo>
                  <a:lnTo>
                    <a:pt x="728" y="58"/>
                  </a:lnTo>
                  <a:lnTo>
                    <a:pt x="728" y="63"/>
                  </a:lnTo>
                  <a:lnTo>
                    <a:pt x="725" y="66"/>
                  </a:lnTo>
                  <a:lnTo>
                    <a:pt x="720" y="68"/>
                  </a:lnTo>
                  <a:lnTo>
                    <a:pt x="715" y="71"/>
                  </a:lnTo>
                  <a:lnTo>
                    <a:pt x="710" y="71"/>
                  </a:lnTo>
                  <a:lnTo>
                    <a:pt x="700" y="71"/>
                  </a:lnTo>
                  <a:lnTo>
                    <a:pt x="695" y="66"/>
                  </a:lnTo>
                  <a:lnTo>
                    <a:pt x="690" y="61"/>
                  </a:lnTo>
                  <a:lnTo>
                    <a:pt x="688" y="56"/>
                  </a:lnTo>
                  <a:close/>
                  <a:moveTo>
                    <a:pt x="735" y="56"/>
                  </a:moveTo>
                  <a:lnTo>
                    <a:pt x="745" y="53"/>
                  </a:lnTo>
                  <a:lnTo>
                    <a:pt x="745" y="58"/>
                  </a:lnTo>
                  <a:lnTo>
                    <a:pt x="747" y="61"/>
                  </a:lnTo>
                  <a:lnTo>
                    <a:pt x="752" y="63"/>
                  </a:lnTo>
                  <a:lnTo>
                    <a:pt x="757" y="63"/>
                  </a:lnTo>
                  <a:lnTo>
                    <a:pt x="762" y="63"/>
                  </a:lnTo>
                  <a:lnTo>
                    <a:pt x="765" y="61"/>
                  </a:lnTo>
                  <a:lnTo>
                    <a:pt x="767" y="58"/>
                  </a:lnTo>
                  <a:lnTo>
                    <a:pt x="767" y="56"/>
                  </a:lnTo>
                  <a:lnTo>
                    <a:pt x="767" y="53"/>
                  </a:lnTo>
                  <a:lnTo>
                    <a:pt x="765" y="51"/>
                  </a:lnTo>
                  <a:lnTo>
                    <a:pt x="762" y="51"/>
                  </a:lnTo>
                  <a:lnTo>
                    <a:pt x="757" y="48"/>
                  </a:lnTo>
                  <a:lnTo>
                    <a:pt x="750" y="46"/>
                  </a:lnTo>
                  <a:lnTo>
                    <a:pt x="745" y="46"/>
                  </a:lnTo>
                  <a:lnTo>
                    <a:pt x="742" y="43"/>
                  </a:lnTo>
                  <a:lnTo>
                    <a:pt x="740" y="41"/>
                  </a:lnTo>
                  <a:lnTo>
                    <a:pt x="737" y="36"/>
                  </a:lnTo>
                  <a:lnTo>
                    <a:pt x="737" y="33"/>
                  </a:lnTo>
                  <a:lnTo>
                    <a:pt x="737" y="31"/>
                  </a:lnTo>
                  <a:lnTo>
                    <a:pt x="740" y="28"/>
                  </a:lnTo>
                  <a:lnTo>
                    <a:pt x="740" y="26"/>
                  </a:lnTo>
                  <a:lnTo>
                    <a:pt x="742" y="23"/>
                  </a:lnTo>
                  <a:lnTo>
                    <a:pt x="745" y="21"/>
                  </a:lnTo>
                  <a:lnTo>
                    <a:pt x="747" y="21"/>
                  </a:lnTo>
                  <a:lnTo>
                    <a:pt x="752" y="18"/>
                  </a:lnTo>
                  <a:lnTo>
                    <a:pt x="755" y="18"/>
                  </a:lnTo>
                  <a:lnTo>
                    <a:pt x="760" y="21"/>
                  </a:lnTo>
                  <a:lnTo>
                    <a:pt x="765" y="21"/>
                  </a:lnTo>
                  <a:lnTo>
                    <a:pt x="770" y="23"/>
                  </a:lnTo>
                  <a:lnTo>
                    <a:pt x="772" y="26"/>
                  </a:lnTo>
                  <a:lnTo>
                    <a:pt x="775" y="28"/>
                  </a:lnTo>
                  <a:lnTo>
                    <a:pt x="775" y="33"/>
                  </a:lnTo>
                  <a:lnTo>
                    <a:pt x="767" y="33"/>
                  </a:lnTo>
                  <a:lnTo>
                    <a:pt x="765" y="31"/>
                  </a:lnTo>
                  <a:lnTo>
                    <a:pt x="765" y="28"/>
                  </a:lnTo>
                  <a:lnTo>
                    <a:pt x="760" y="26"/>
                  </a:lnTo>
                  <a:lnTo>
                    <a:pt x="755" y="26"/>
                  </a:lnTo>
                  <a:lnTo>
                    <a:pt x="750" y="26"/>
                  </a:lnTo>
                  <a:lnTo>
                    <a:pt x="747" y="28"/>
                  </a:lnTo>
                  <a:lnTo>
                    <a:pt x="745" y="31"/>
                  </a:lnTo>
                  <a:lnTo>
                    <a:pt x="745" y="33"/>
                  </a:lnTo>
                  <a:lnTo>
                    <a:pt x="747" y="36"/>
                  </a:lnTo>
                  <a:lnTo>
                    <a:pt x="750" y="38"/>
                  </a:lnTo>
                  <a:lnTo>
                    <a:pt x="752" y="38"/>
                  </a:lnTo>
                  <a:lnTo>
                    <a:pt x="757" y="41"/>
                  </a:lnTo>
                  <a:lnTo>
                    <a:pt x="765" y="41"/>
                  </a:lnTo>
                  <a:lnTo>
                    <a:pt x="770" y="43"/>
                  </a:lnTo>
                  <a:lnTo>
                    <a:pt x="772" y="46"/>
                  </a:lnTo>
                  <a:lnTo>
                    <a:pt x="775" y="48"/>
                  </a:lnTo>
                  <a:lnTo>
                    <a:pt x="777" y="51"/>
                  </a:lnTo>
                  <a:lnTo>
                    <a:pt x="777" y="56"/>
                  </a:lnTo>
                  <a:lnTo>
                    <a:pt x="777" y="58"/>
                  </a:lnTo>
                  <a:lnTo>
                    <a:pt x="775" y="63"/>
                  </a:lnTo>
                  <a:lnTo>
                    <a:pt x="772" y="66"/>
                  </a:lnTo>
                  <a:lnTo>
                    <a:pt x="767" y="68"/>
                  </a:lnTo>
                  <a:lnTo>
                    <a:pt x="762" y="71"/>
                  </a:lnTo>
                  <a:lnTo>
                    <a:pt x="757" y="71"/>
                  </a:lnTo>
                  <a:lnTo>
                    <a:pt x="747" y="71"/>
                  </a:lnTo>
                  <a:lnTo>
                    <a:pt x="742" y="66"/>
                  </a:lnTo>
                  <a:lnTo>
                    <a:pt x="737" y="61"/>
                  </a:lnTo>
                  <a:lnTo>
                    <a:pt x="735" y="56"/>
                  </a:lnTo>
                  <a:close/>
                  <a:moveTo>
                    <a:pt x="812" y="48"/>
                  </a:moveTo>
                  <a:lnTo>
                    <a:pt x="819" y="48"/>
                  </a:lnTo>
                  <a:lnTo>
                    <a:pt x="819" y="51"/>
                  </a:lnTo>
                  <a:lnTo>
                    <a:pt x="822" y="56"/>
                  </a:lnTo>
                  <a:lnTo>
                    <a:pt x="824" y="58"/>
                  </a:lnTo>
                  <a:lnTo>
                    <a:pt x="829" y="61"/>
                  </a:lnTo>
                  <a:lnTo>
                    <a:pt x="834" y="63"/>
                  </a:lnTo>
                  <a:lnTo>
                    <a:pt x="839" y="63"/>
                  </a:lnTo>
                  <a:lnTo>
                    <a:pt x="844" y="63"/>
                  </a:lnTo>
                  <a:lnTo>
                    <a:pt x="849" y="61"/>
                  </a:lnTo>
                  <a:lnTo>
                    <a:pt x="852" y="58"/>
                  </a:lnTo>
                  <a:lnTo>
                    <a:pt x="854" y="58"/>
                  </a:lnTo>
                  <a:lnTo>
                    <a:pt x="857" y="53"/>
                  </a:lnTo>
                  <a:lnTo>
                    <a:pt x="857" y="51"/>
                  </a:lnTo>
                  <a:lnTo>
                    <a:pt x="857" y="48"/>
                  </a:lnTo>
                  <a:lnTo>
                    <a:pt x="854" y="46"/>
                  </a:lnTo>
                  <a:lnTo>
                    <a:pt x="852" y="43"/>
                  </a:lnTo>
                  <a:lnTo>
                    <a:pt x="849" y="41"/>
                  </a:lnTo>
                  <a:lnTo>
                    <a:pt x="844" y="41"/>
                  </a:lnTo>
                  <a:lnTo>
                    <a:pt x="837" y="38"/>
                  </a:lnTo>
                  <a:lnTo>
                    <a:pt x="829" y="36"/>
                  </a:lnTo>
                  <a:lnTo>
                    <a:pt x="824" y="33"/>
                  </a:lnTo>
                  <a:lnTo>
                    <a:pt x="819" y="31"/>
                  </a:lnTo>
                  <a:lnTo>
                    <a:pt x="817" y="28"/>
                  </a:lnTo>
                  <a:lnTo>
                    <a:pt x="814" y="23"/>
                  </a:lnTo>
                  <a:lnTo>
                    <a:pt x="814" y="18"/>
                  </a:lnTo>
                  <a:lnTo>
                    <a:pt x="814" y="13"/>
                  </a:lnTo>
                  <a:lnTo>
                    <a:pt x="817" y="11"/>
                  </a:lnTo>
                  <a:lnTo>
                    <a:pt x="819" y="5"/>
                  </a:lnTo>
                  <a:lnTo>
                    <a:pt x="824" y="3"/>
                  </a:lnTo>
                  <a:lnTo>
                    <a:pt x="832" y="0"/>
                  </a:lnTo>
                  <a:lnTo>
                    <a:pt x="837" y="0"/>
                  </a:lnTo>
                  <a:lnTo>
                    <a:pt x="844" y="0"/>
                  </a:lnTo>
                  <a:lnTo>
                    <a:pt x="852" y="3"/>
                  </a:lnTo>
                  <a:lnTo>
                    <a:pt x="857" y="5"/>
                  </a:lnTo>
                  <a:lnTo>
                    <a:pt x="859" y="11"/>
                  </a:lnTo>
                  <a:lnTo>
                    <a:pt x="862" y="16"/>
                  </a:lnTo>
                  <a:lnTo>
                    <a:pt x="864" y="21"/>
                  </a:lnTo>
                  <a:lnTo>
                    <a:pt x="854" y="21"/>
                  </a:lnTo>
                  <a:lnTo>
                    <a:pt x="852" y="16"/>
                  </a:lnTo>
                  <a:lnTo>
                    <a:pt x="849" y="11"/>
                  </a:lnTo>
                  <a:lnTo>
                    <a:pt x="844" y="8"/>
                  </a:lnTo>
                  <a:lnTo>
                    <a:pt x="837" y="8"/>
                  </a:lnTo>
                  <a:lnTo>
                    <a:pt x="832" y="8"/>
                  </a:lnTo>
                  <a:lnTo>
                    <a:pt x="827" y="11"/>
                  </a:lnTo>
                  <a:lnTo>
                    <a:pt x="824" y="16"/>
                  </a:lnTo>
                  <a:lnTo>
                    <a:pt x="822" y="18"/>
                  </a:lnTo>
                  <a:lnTo>
                    <a:pt x="822" y="21"/>
                  </a:lnTo>
                  <a:lnTo>
                    <a:pt x="824" y="26"/>
                  </a:lnTo>
                  <a:lnTo>
                    <a:pt x="829" y="28"/>
                  </a:lnTo>
                  <a:lnTo>
                    <a:pt x="839" y="28"/>
                  </a:lnTo>
                  <a:lnTo>
                    <a:pt x="847" y="31"/>
                  </a:lnTo>
                  <a:lnTo>
                    <a:pt x="854" y="33"/>
                  </a:lnTo>
                  <a:lnTo>
                    <a:pt x="859" y="36"/>
                  </a:lnTo>
                  <a:lnTo>
                    <a:pt x="862" y="41"/>
                  </a:lnTo>
                  <a:lnTo>
                    <a:pt x="864" y="46"/>
                  </a:lnTo>
                  <a:lnTo>
                    <a:pt x="864" y="51"/>
                  </a:lnTo>
                  <a:lnTo>
                    <a:pt x="864" y="56"/>
                  </a:lnTo>
                  <a:lnTo>
                    <a:pt x="862" y="61"/>
                  </a:lnTo>
                  <a:lnTo>
                    <a:pt x="859" y="66"/>
                  </a:lnTo>
                  <a:lnTo>
                    <a:pt x="854" y="68"/>
                  </a:lnTo>
                  <a:lnTo>
                    <a:pt x="847" y="71"/>
                  </a:lnTo>
                  <a:lnTo>
                    <a:pt x="839" y="71"/>
                  </a:lnTo>
                  <a:lnTo>
                    <a:pt x="832" y="71"/>
                  </a:lnTo>
                  <a:lnTo>
                    <a:pt x="824" y="68"/>
                  </a:lnTo>
                  <a:lnTo>
                    <a:pt x="819" y="66"/>
                  </a:lnTo>
                  <a:lnTo>
                    <a:pt x="814" y="61"/>
                  </a:lnTo>
                  <a:lnTo>
                    <a:pt x="812" y="53"/>
                  </a:lnTo>
                  <a:lnTo>
                    <a:pt x="812" y="48"/>
                  </a:lnTo>
                  <a:close/>
                  <a:moveTo>
                    <a:pt x="874" y="46"/>
                  </a:moveTo>
                  <a:lnTo>
                    <a:pt x="874" y="33"/>
                  </a:lnTo>
                  <a:lnTo>
                    <a:pt x="882" y="26"/>
                  </a:lnTo>
                  <a:lnTo>
                    <a:pt x="889" y="21"/>
                  </a:lnTo>
                  <a:lnTo>
                    <a:pt x="896" y="18"/>
                  </a:lnTo>
                  <a:lnTo>
                    <a:pt x="906" y="21"/>
                  </a:lnTo>
                  <a:lnTo>
                    <a:pt x="914" y="26"/>
                  </a:lnTo>
                  <a:lnTo>
                    <a:pt x="919" y="33"/>
                  </a:lnTo>
                  <a:lnTo>
                    <a:pt x="919" y="43"/>
                  </a:lnTo>
                  <a:lnTo>
                    <a:pt x="919" y="53"/>
                  </a:lnTo>
                  <a:lnTo>
                    <a:pt x="916" y="58"/>
                  </a:lnTo>
                  <a:lnTo>
                    <a:pt x="914" y="63"/>
                  </a:lnTo>
                  <a:lnTo>
                    <a:pt x="909" y="68"/>
                  </a:lnTo>
                  <a:lnTo>
                    <a:pt x="901" y="71"/>
                  </a:lnTo>
                  <a:lnTo>
                    <a:pt x="896" y="71"/>
                  </a:lnTo>
                  <a:lnTo>
                    <a:pt x="887" y="68"/>
                  </a:lnTo>
                  <a:lnTo>
                    <a:pt x="879" y="63"/>
                  </a:lnTo>
                  <a:lnTo>
                    <a:pt x="874" y="56"/>
                  </a:lnTo>
                  <a:lnTo>
                    <a:pt x="874" y="46"/>
                  </a:lnTo>
                  <a:close/>
                  <a:moveTo>
                    <a:pt x="882" y="46"/>
                  </a:moveTo>
                  <a:lnTo>
                    <a:pt x="882" y="53"/>
                  </a:lnTo>
                  <a:lnTo>
                    <a:pt x="887" y="58"/>
                  </a:lnTo>
                  <a:lnTo>
                    <a:pt x="891" y="63"/>
                  </a:lnTo>
                  <a:lnTo>
                    <a:pt x="896" y="63"/>
                  </a:lnTo>
                  <a:lnTo>
                    <a:pt x="901" y="63"/>
                  </a:lnTo>
                  <a:lnTo>
                    <a:pt x="906" y="58"/>
                  </a:lnTo>
                  <a:lnTo>
                    <a:pt x="909" y="53"/>
                  </a:lnTo>
                  <a:lnTo>
                    <a:pt x="911" y="46"/>
                  </a:lnTo>
                  <a:lnTo>
                    <a:pt x="909" y="36"/>
                  </a:lnTo>
                  <a:lnTo>
                    <a:pt x="906" y="31"/>
                  </a:lnTo>
                  <a:lnTo>
                    <a:pt x="901" y="28"/>
                  </a:lnTo>
                  <a:lnTo>
                    <a:pt x="896" y="26"/>
                  </a:lnTo>
                  <a:lnTo>
                    <a:pt x="891" y="28"/>
                  </a:lnTo>
                  <a:lnTo>
                    <a:pt x="887" y="31"/>
                  </a:lnTo>
                  <a:lnTo>
                    <a:pt x="882" y="36"/>
                  </a:lnTo>
                  <a:lnTo>
                    <a:pt x="882" y="46"/>
                  </a:lnTo>
                  <a:close/>
                  <a:moveTo>
                    <a:pt x="929" y="71"/>
                  </a:moveTo>
                  <a:lnTo>
                    <a:pt x="929" y="0"/>
                  </a:lnTo>
                  <a:lnTo>
                    <a:pt x="936" y="0"/>
                  </a:lnTo>
                  <a:lnTo>
                    <a:pt x="936" y="71"/>
                  </a:lnTo>
                  <a:lnTo>
                    <a:pt x="929" y="71"/>
                  </a:lnTo>
                  <a:close/>
                  <a:moveTo>
                    <a:pt x="983" y="71"/>
                  </a:moveTo>
                  <a:lnTo>
                    <a:pt x="983" y="63"/>
                  </a:lnTo>
                  <a:lnTo>
                    <a:pt x="976" y="68"/>
                  </a:lnTo>
                  <a:lnTo>
                    <a:pt x="966" y="71"/>
                  </a:lnTo>
                  <a:lnTo>
                    <a:pt x="963" y="71"/>
                  </a:lnTo>
                  <a:lnTo>
                    <a:pt x="959" y="68"/>
                  </a:lnTo>
                  <a:lnTo>
                    <a:pt x="956" y="68"/>
                  </a:lnTo>
                  <a:lnTo>
                    <a:pt x="954" y="66"/>
                  </a:lnTo>
                  <a:lnTo>
                    <a:pt x="951" y="63"/>
                  </a:lnTo>
                  <a:lnTo>
                    <a:pt x="951" y="58"/>
                  </a:lnTo>
                  <a:lnTo>
                    <a:pt x="951" y="56"/>
                  </a:lnTo>
                  <a:lnTo>
                    <a:pt x="951" y="51"/>
                  </a:lnTo>
                  <a:lnTo>
                    <a:pt x="951" y="21"/>
                  </a:lnTo>
                  <a:lnTo>
                    <a:pt x="959" y="21"/>
                  </a:lnTo>
                  <a:lnTo>
                    <a:pt x="959" y="48"/>
                  </a:lnTo>
                  <a:lnTo>
                    <a:pt x="959" y="53"/>
                  </a:lnTo>
                  <a:lnTo>
                    <a:pt x="959" y="56"/>
                  </a:lnTo>
                  <a:lnTo>
                    <a:pt x="961" y="58"/>
                  </a:lnTo>
                  <a:lnTo>
                    <a:pt x="961" y="61"/>
                  </a:lnTo>
                  <a:lnTo>
                    <a:pt x="966" y="63"/>
                  </a:lnTo>
                  <a:lnTo>
                    <a:pt x="968" y="63"/>
                  </a:lnTo>
                  <a:lnTo>
                    <a:pt x="971" y="63"/>
                  </a:lnTo>
                  <a:lnTo>
                    <a:pt x="976" y="61"/>
                  </a:lnTo>
                  <a:lnTo>
                    <a:pt x="978" y="58"/>
                  </a:lnTo>
                  <a:lnTo>
                    <a:pt x="981" y="56"/>
                  </a:lnTo>
                  <a:lnTo>
                    <a:pt x="981" y="53"/>
                  </a:lnTo>
                  <a:lnTo>
                    <a:pt x="981" y="46"/>
                  </a:lnTo>
                  <a:lnTo>
                    <a:pt x="981" y="21"/>
                  </a:lnTo>
                  <a:lnTo>
                    <a:pt x="991" y="21"/>
                  </a:lnTo>
                  <a:lnTo>
                    <a:pt x="991" y="71"/>
                  </a:lnTo>
                  <a:lnTo>
                    <a:pt x="983" y="71"/>
                  </a:lnTo>
                  <a:close/>
                  <a:moveTo>
                    <a:pt x="1021" y="63"/>
                  </a:moveTo>
                  <a:lnTo>
                    <a:pt x="1023" y="71"/>
                  </a:lnTo>
                  <a:lnTo>
                    <a:pt x="1018" y="71"/>
                  </a:lnTo>
                  <a:lnTo>
                    <a:pt x="1016" y="71"/>
                  </a:lnTo>
                  <a:lnTo>
                    <a:pt x="1011" y="71"/>
                  </a:lnTo>
                  <a:lnTo>
                    <a:pt x="1008" y="68"/>
                  </a:lnTo>
                  <a:lnTo>
                    <a:pt x="1006" y="68"/>
                  </a:lnTo>
                  <a:lnTo>
                    <a:pt x="1006" y="66"/>
                  </a:lnTo>
                  <a:lnTo>
                    <a:pt x="1006" y="61"/>
                  </a:lnTo>
                  <a:lnTo>
                    <a:pt x="1003" y="56"/>
                  </a:lnTo>
                  <a:lnTo>
                    <a:pt x="1003" y="26"/>
                  </a:lnTo>
                  <a:lnTo>
                    <a:pt x="998" y="26"/>
                  </a:lnTo>
                  <a:lnTo>
                    <a:pt x="998" y="21"/>
                  </a:lnTo>
                  <a:lnTo>
                    <a:pt x="1003" y="21"/>
                  </a:lnTo>
                  <a:lnTo>
                    <a:pt x="1003" y="8"/>
                  </a:lnTo>
                  <a:lnTo>
                    <a:pt x="1013" y="3"/>
                  </a:lnTo>
                  <a:lnTo>
                    <a:pt x="1013" y="21"/>
                  </a:lnTo>
                  <a:lnTo>
                    <a:pt x="1021" y="21"/>
                  </a:lnTo>
                  <a:lnTo>
                    <a:pt x="1021" y="26"/>
                  </a:lnTo>
                  <a:lnTo>
                    <a:pt x="1013" y="26"/>
                  </a:lnTo>
                  <a:lnTo>
                    <a:pt x="1013" y="56"/>
                  </a:lnTo>
                  <a:lnTo>
                    <a:pt x="1013" y="58"/>
                  </a:lnTo>
                  <a:lnTo>
                    <a:pt x="1013" y="61"/>
                  </a:lnTo>
                  <a:lnTo>
                    <a:pt x="1016" y="61"/>
                  </a:lnTo>
                  <a:lnTo>
                    <a:pt x="1016" y="63"/>
                  </a:lnTo>
                  <a:lnTo>
                    <a:pt x="1018" y="63"/>
                  </a:lnTo>
                  <a:lnTo>
                    <a:pt x="1021" y="63"/>
                  </a:lnTo>
                  <a:close/>
                  <a:moveTo>
                    <a:pt x="1028" y="11"/>
                  </a:moveTo>
                  <a:lnTo>
                    <a:pt x="1028" y="0"/>
                  </a:lnTo>
                  <a:lnTo>
                    <a:pt x="1038" y="0"/>
                  </a:lnTo>
                  <a:lnTo>
                    <a:pt x="1038" y="11"/>
                  </a:lnTo>
                  <a:lnTo>
                    <a:pt x="1028" y="11"/>
                  </a:lnTo>
                  <a:close/>
                  <a:moveTo>
                    <a:pt x="1028" y="71"/>
                  </a:moveTo>
                  <a:lnTo>
                    <a:pt x="1028" y="21"/>
                  </a:lnTo>
                  <a:lnTo>
                    <a:pt x="1038" y="21"/>
                  </a:lnTo>
                  <a:lnTo>
                    <a:pt x="1038" y="71"/>
                  </a:lnTo>
                  <a:lnTo>
                    <a:pt x="1028" y="71"/>
                  </a:lnTo>
                  <a:close/>
                  <a:moveTo>
                    <a:pt x="1048" y="46"/>
                  </a:moveTo>
                  <a:lnTo>
                    <a:pt x="1048" y="33"/>
                  </a:lnTo>
                  <a:lnTo>
                    <a:pt x="1055" y="26"/>
                  </a:lnTo>
                  <a:lnTo>
                    <a:pt x="1063" y="21"/>
                  </a:lnTo>
                  <a:lnTo>
                    <a:pt x="1070" y="18"/>
                  </a:lnTo>
                  <a:lnTo>
                    <a:pt x="1080" y="21"/>
                  </a:lnTo>
                  <a:lnTo>
                    <a:pt x="1088" y="26"/>
                  </a:lnTo>
                  <a:lnTo>
                    <a:pt x="1093" y="33"/>
                  </a:lnTo>
                  <a:lnTo>
                    <a:pt x="1093" y="43"/>
                  </a:lnTo>
                  <a:lnTo>
                    <a:pt x="1093" y="53"/>
                  </a:lnTo>
                  <a:lnTo>
                    <a:pt x="1090" y="58"/>
                  </a:lnTo>
                  <a:lnTo>
                    <a:pt x="1088" y="63"/>
                  </a:lnTo>
                  <a:lnTo>
                    <a:pt x="1083" y="68"/>
                  </a:lnTo>
                  <a:lnTo>
                    <a:pt x="1075" y="71"/>
                  </a:lnTo>
                  <a:lnTo>
                    <a:pt x="1070" y="71"/>
                  </a:lnTo>
                  <a:lnTo>
                    <a:pt x="1060" y="68"/>
                  </a:lnTo>
                  <a:lnTo>
                    <a:pt x="1053" y="63"/>
                  </a:lnTo>
                  <a:lnTo>
                    <a:pt x="1048" y="56"/>
                  </a:lnTo>
                  <a:lnTo>
                    <a:pt x="1048" y="46"/>
                  </a:lnTo>
                  <a:close/>
                  <a:moveTo>
                    <a:pt x="1055" y="46"/>
                  </a:moveTo>
                  <a:lnTo>
                    <a:pt x="1058" y="53"/>
                  </a:lnTo>
                  <a:lnTo>
                    <a:pt x="1060" y="58"/>
                  </a:lnTo>
                  <a:lnTo>
                    <a:pt x="1065" y="63"/>
                  </a:lnTo>
                  <a:lnTo>
                    <a:pt x="1070" y="63"/>
                  </a:lnTo>
                  <a:lnTo>
                    <a:pt x="1075" y="63"/>
                  </a:lnTo>
                  <a:lnTo>
                    <a:pt x="1080" y="58"/>
                  </a:lnTo>
                  <a:lnTo>
                    <a:pt x="1083" y="53"/>
                  </a:lnTo>
                  <a:lnTo>
                    <a:pt x="1085" y="46"/>
                  </a:lnTo>
                  <a:lnTo>
                    <a:pt x="1083" y="36"/>
                  </a:lnTo>
                  <a:lnTo>
                    <a:pt x="1080" y="31"/>
                  </a:lnTo>
                  <a:lnTo>
                    <a:pt x="1075" y="28"/>
                  </a:lnTo>
                  <a:lnTo>
                    <a:pt x="1070" y="26"/>
                  </a:lnTo>
                  <a:lnTo>
                    <a:pt x="1065" y="28"/>
                  </a:lnTo>
                  <a:lnTo>
                    <a:pt x="1060" y="31"/>
                  </a:lnTo>
                  <a:lnTo>
                    <a:pt x="1058" y="36"/>
                  </a:lnTo>
                  <a:lnTo>
                    <a:pt x="1055" y="46"/>
                  </a:lnTo>
                  <a:close/>
                  <a:moveTo>
                    <a:pt x="1103" y="71"/>
                  </a:moveTo>
                  <a:lnTo>
                    <a:pt x="1103" y="21"/>
                  </a:lnTo>
                  <a:lnTo>
                    <a:pt x="1110" y="21"/>
                  </a:lnTo>
                  <a:lnTo>
                    <a:pt x="1110" y="28"/>
                  </a:lnTo>
                  <a:lnTo>
                    <a:pt x="1117" y="21"/>
                  </a:lnTo>
                  <a:lnTo>
                    <a:pt x="1125" y="18"/>
                  </a:lnTo>
                  <a:lnTo>
                    <a:pt x="1130" y="21"/>
                  </a:lnTo>
                  <a:lnTo>
                    <a:pt x="1135" y="21"/>
                  </a:lnTo>
                  <a:lnTo>
                    <a:pt x="1137" y="23"/>
                  </a:lnTo>
                  <a:lnTo>
                    <a:pt x="1140" y="26"/>
                  </a:lnTo>
                  <a:lnTo>
                    <a:pt x="1142" y="28"/>
                  </a:lnTo>
                  <a:lnTo>
                    <a:pt x="1142" y="31"/>
                  </a:lnTo>
                  <a:lnTo>
                    <a:pt x="1142" y="33"/>
                  </a:lnTo>
                  <a:lnTo>
                    <a:pt x="1142" y="38"/>
                  </a:lnTo>
                  <a:lnTo>
                    <a:pt x="1142" y="71"/>
                  </a:lnTo>
                  <a:lnTo>
                    <a:pt x="1135" y="71"/>
                  </a:lnTo>
                  <a:lnTo>
                    <a:pt x="1135" y="41"/>
                  </a:lnTo>
                  <a:lnTo>
                    <a:pt x="1135" y="36"/>
                  </a:lnTo>
                  <a:lnTo>
                    <a:pt x="1132" y="33"/>
                  </a:lnTo>
                  <a:lnTo>
                    <a:pt x="1132" y="31"/>
                  </a:lnTo>
                  <a:lnTo>
                    <a:pt x="1130" y="28"/>
                  </a:lnTo>
                  <a:lnTo>
                    <a:pt x="1127" y="26"/>
                  </a:lnTo>
                  <a:lnTo>
                    <a:pt x="1125" y="26"/>
                  </a:lnTo>
                  <a:lnTo>
                    <a:pt x="1120" y="28"/>
                  </a:lnTo>
                  <a:lnTo>
                    <a:pt x="1115" y="31"/>
                  </a:lnTo>
                  <a:lnTo>
                    <a:pt x="1113" y="36"/>
                  </a:lnTo>
                  <a:lnTo>
                    <a:pt x="1113" y="43"/>
                  </a:lnTo>
                  <a:lnTo>
                    <a:pt x="1113" y="71"/>
                  </a:lnTo>
                  <a:lnTo>
                    <a:pt x="1103" y="71"/>
                  </a:lnTo>
                  <a:close/>
                  <a:moveTo>
                    <a:pt x="1152" y="56"/>
                  </a:moveTo>
                  <a:lnTo>
                    <a:pt x="1160" y="53"/>
                  </a:lnTo>
                  <a:lnTo>
                    <a:pt x="1162" y="58"/>
                  </a:lnTo>
                  <a:lnTo>
                    <a:pt x="1165" y="61"/>
                  </a:lnTo>
                  <a:lnTo>
                    <a:pt x="1167" y="63"/>
                  </a:lnTo>
                  <a:lnTo>
                    <a:pt x="1172" y="63"/>
                  </a:lnTo>
                  <a:lnTo>
                    <a:pt x="1180" y="63"/>
                  </a:lnTo>
                  <a:lnTo>
                    <a:pt x="1182" y="61"/>
                  </a:lnTo>
                  <a:lnTo>
                    <a:pt x="1185" y="58"/>
                  </a:lnTo>
                  <a:lnTo>
                    <a:pt x="1185" y="56"/>
                  </a:lnTo>
                  <a:lnTo>
                    <a:pt x="1185" y="53"/>
                  </a:lnTo>
                  <a:lnTo>
                    <a:pt x="1182" y="51"/>
                  </a:lnTo>
                  <a:lnTo>
                    <a:pt x="1180" y="51"/>
                  </a:lnTo>
                  <a:lnTo>
                    <a:pt x="1175" y="48"/>
                  </a:lnTo>
                  <a:lnTo>
                    <a:pt x="1167" y="46"/>
                  </a:lnTo>
                  <a:lnTo>
                    <a:pt x="1162" y="46"/>
                  </a:lnTo>
                  <a:lnTo>
                    <a:pt x="1157" y="43"/>
                  </a:lnTo>
                  <a:lnTo>
                    <a:pt x="1155" y="41"/>
                  </a:lnTo>
                  <a:lnTo>
                    <a:pt x="1155" y="36"/>
                  </a:lnTo>
                  <a:lnTo>
                    <a:pt x="1155" y="33"/>
                  </a:lnTo>
                  <a:lnTo>
                    <a:pt x="1155" y="31"/>
                  </a:lnTo>
                  <a:lnTo>
                    <a:pt x="1155" y="28"/>
                  </a:lnTo>
                  <a:lnTo>
                    <a:pt x="1157" y="26"/>
                  </a:lnTo>
                  <a:lnTo>
                    <a:pt x="1160" y="23"/>
                  </a:lnTo>
                  <a:lnTo>
                    <a:pt x="1162" y="21"/>
                  </a:lnTo>
                  <a:lnTo>
                    <a:pt x="1165" y="21"/>
                  </a:lnTo>
                  <a:lnTo>
                    <a:pt x="1167" y="18"/>
                  </a:lnTo>
                  <a:lnTo>
                    <a:pt x="1172" y="18"/>
                  </a:lnTo>
                  <a:lnTo>
                    <a:pt x="1177" y="21"/>
                  </a:lnTo>
                  <a:lnTo>
                    <a:pt x="1182" y="21"/>
                  </a:lnTo>
                  <a:lnTo>
                    <a:pt x="1187" y="23"/>
                  </a:lnTo>
                  <a:lnTo>
                    <a:pt x="1190" y="26"/>
                  </a:lnTo>
                  <a:lnTo>
                    <a:pt x="1190" y="28"/>
                  </a:lnTo>
                  <a:lnTo>
                    <a:pt x="1192" y="33"/>
                  </a:lnTo>
                  <a:lnTo>
                    <a:pt x="1182" y="33"/>
                  </a:lnTo>
                  <a:lnTo>
                    <a:pt x="1182" y="31"/>
                  </a:lnTo>
                  <a:lnTo>
                    <a:pt x="1180" y="28"/>
                  </a:lnTo>
                  <a:lnTo>
                    <a:pt x="1177" y="26"/>
                  </a:lnTo>
                  <a:lnTo>
                    <a:pt x="1172" y="26"/>
                  </a:lnTo>
                  <a:lnTo>
                    <a:pt x="1167" y="26"/>
                  </a:lnTo>
                  <a:lnTo>
                    <a:pt x="1165" y="28"/>
                  </a:lnTo>
                  <a:lnTo>
                    <a:pt x="1162" y="31"/>
                  </a:lnTo>
                  <a:lnTo>
                    <a:pt x="1162" y="33"/>
                  </a:lnTo>
                  <a:lnTo>
                    <a:pt x="1162" y="36"/>
                  </a:lnTo>
                  <a:lnTo>
                    <a:pt x="1165" y="36"/>
                  </a:lnTo>
                  <a:lnTo>
                    <a:pt x="1167" y="38"/>
                  </a:lnTo>
                  <a:lnTo>
                    <a:pt x="1170" y="38"/>
                  </a:lnTo>
                  <a:lnTo>
                    <a:pt x="1175" y="41"/>
                  </a:lnTo>
                  <a:lnTo>
                    <a:pt x="1182" y="41"/>
                  </a:lnTo>
                  <a:lnTo>
                    <a:pt x="1185" y="43"/>
                  </a:lnTo>
                  <a:lnTo>
                    <a:pt x="1190" y="46"/>
                  </a:lnTo>
                  <a:lnTo>
                    <a:pt x="1192" y="48"/>
                  </a:lnTo>
                  <a:lnTo>
                    <a:pt x="1192" y="51"/>
                  </a:lnTo>
                  <a:lnTo>
                    <a:pt x="1192" y="56"/>
                  </a:lnTo>
                  <a:lnTo>
                    <a:pt x="1192" y="58"/>
                  </a:lnTo>
                  <a:lnTo>
                    <a:pt x="1192" y="63"/>
                  </a:lnTo>
                  <a:lnTo>
                    <a:pt x="1187" y="66"/>
                  </a:lnTo>
                  <a:lnTo>
                    <a:pt x="1185" y="68"/>
                  </a:lnTo>
                  <a:lnTo>
                    <a:pt x="1180" y="71"/>
                  </a:lnTo>
                  <a:lnTo>
                    <a:pt x="1175" y="71"/>
                  </a:lnTo>
                  <a:lnTo>
                    <a:pt x="1165" y="71"/>
                  </a:lnTo>
                  <a:lnTo>
                    <a:pt x="1160" y="66"/>
                  </a:lnTo>
                  <a:lnTo>
                    <a:pt x="1155" y="61"/>
                  </a:lnTo>
                  <a:lnTo>
                    <a:pt x="1152" y="56"/>
                  </a:lnTo>
                  <a:close/>
                  <a:moveTo>
                    <a:pt x="357" y="51"/>
                  </a:moveTo>
                  <a:lnTo>
                    <a:pt x="365" y="53"/>
                  </a:lnTo>
                  <a:lnTo>
                    <a:pt x="362" y="61"/>
                  </a:lnTo>
                  <a:lnTo>
                    <a:pt x="360" y="66"/>
                  </a:lnTo>
                  <a:lnTo>
                    <a:pt x="353" y="71"/>
                  </a:lnTo>
                  <a:lnTo>
                    <a:pt x="345" y="71"/>
                  </a:lnTo>
                  <a:lnTo>
                    <a:pt x="335" y="68"/>
                  </a:lnTo>
                  <a:lnTo>
                    <a:pt x="330" y="63"/>
                  </a:lnTo>
                  <a:lnTo>
                    <a:pt x="325" y="56"/>
                  </a:lnTo>
                  <a:lnTo>
                    <a:pt x="323" y="46"/>
                  </a:lnTo>
                  <a:lnTo>
                    <a:pt x="323" y="38"/>
                  </a:lnTo>
                  <a:lnTo>
                    <a:pt x="325" y="31"/>
                  </a:lnTo>
                  <a:lnTo>
                    <a:pt x="330" y="26"/>
                  </a:lnTo>
                  <a:lnTo>
                    <a:pt x="333" y="23"/>
                  </a:lnTo>
                  <a:lnTo>
                    <a:pt x="340" y="21"/>
                  </a:lnTo>
                  <a:lnTo>
                    <a:pt x="345" y="18"/>
                  </a:lnTo>
                  <a:lnTo>
                    <a:pt x="353" y="21"/>
                  </a:lnTo>
                  <a:lnTo>
                    <a:pt x="357" y="23"/>
                  </a:lnTo>
                  <a:lnTo>
                    <a:pt x="362" y="28"/>
                  </a:lnTo>
                  <a:lnTo>
                    <a:pt x="365" y="36"/>
                  </a:lnTo>
                  <a:lnTo>
                    <a:pt x="357" y="36"/>
                  </a:lnTo>
                  <a:lnTo>
                    <a:pt x="355" y="31"/>
                  </a:lnTo>
                  <a:lnTo>
                    <a:pt x="353" y="28"/>
                  </a:lnTo>
                  <a:lnTo>
                    <a:pt x="350" y="26"/>
                  </a:lnTo>
                  <a:lnTo>
                    <a:pt x="345" y="26"/>
                  </a:lnTo>
                  <a:lnTo>
                    <a:pt x="340" y="28"/>
                  </a:lnTo>
                  <a:lnTo>
                    <a:pt x="335" y="31"/>
                  </a:lnTo>
                  <a:lnTo>
                    <a:pt x="333" y="36"/>
                  </a:lnTo>
                  <a:lnTo>
                    <a:pt x="333" y="46"/>
                  </a:lnTo>
                  <a:lnTo>
                    <a:pt x="333" y="53"/>
                  </a:lnTo>
                  <a:lnTo>
                    <a:pt x="335" y="58"/>
                  </a:lnTo>
                  <a:lnTo>
                    <a:pt x="340" y="63"/>
                  </a:lnTo>
                  <a:lnTo>
                    <a:pt x="345" y="63"/>
                  </a:lnTo>
                  <a:lnTo>
                    <a:pt x="350" y="63"/>
                  </a:lnTo>
                  <a:lnTo>
                    <a:pt x="353" y="61"/>
                  </a:lnTo>
                  <a:lnTo>
                    <a:pt x="355" y="58"/>
                  </a:lnTo>
                  <a:lnTo>
                    <a:pt x="357" y="51"/>
                  </a:lnTo>
                  <a:close/>
                </a:path>
              </a:pathLst>
            </a:custGeom>
            <a:solidFill>
              <a:srgbClr val="17357C"/>
            </a:solidFill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1055" name="Rectangle 24"/>
            <p:cNvSpPr>
              <a:spLocks noChangeArrowheads="1"/>
            </p:cNvSpPr>
            <p:nvPr/>
          </p:nvSpPr>
          <p:spPr bwMode="auto">
            <a:xfrm>
              <a:off x="1214" y="1814"/>
              <a:ext cx="80" cy="82"/>
            </a:xfrm>
            <a:prstGeom prst="rect">
              <a:avLst/>
            </a:prstGeom>
            <a:solidFill>
              <a:srgbClr val="17357C"/>
            </a:solidFill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ru-RU" sz="240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70" r:id="rId1"/>
    <p:sldLayoutId id="2147483771" r:id="rId2"/>
    <p:sldLayoutId id="2147483772" r:id="rId3"/>
    <p:sldLayoutId id="2147483773" r:id="rId4"/>
    <p:sldLayoutId id="2147483774" r:id="rId5"/>
    <p:sldLayoutId id="2147483775" r:id="rId6"/>
    <p:sldLayoutId id="2147483776" r:id="rId7"/>
    <p:sldLayoutId id="2147483777" r:id="rId8"/>
    <p:sldLayoutId id="2147483778" r:id="rId9"/>
    <p:sldLayoutId id="2147483779" r:id="rId10"/>
    <p:sldLayoutId id="2147483780" r:id="rId11"/>
    <p:sldLayoutId id="2147483781" r:id="rId12"/>
    <p:sldLayoutId id="2147483782" r:id="rId13"/>
    <p:sldLayoutId id="2147483783" r:id="rId14"/>
    <p:sldLayoutId id="2147483784" r:id="rId15"/>
    <p:sldLayoutId id="2147483785" r:id="rId16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600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400">
          <a:solidFill>
            <a:srgbClr val="000000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200">
          <a:solidFill>
            <a:srgbClr val="000000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000">
          <a:solidFill>
            <a:srgbClr val="000000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000">
          <a:solidFill>
            <a:srgbClr val="000000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000">
          <a:solidFill>
            <a:srgbClr val="000000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000">
          <a:solidFill>
            <a:srgbClr val="000000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000">
          <a:solidFill>
            <a:srgbClr val="000000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0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47700" y="1219200"/>
            <a:ext cx="7899400" cy="487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1028" name="Line 8"/>
          <p:cNvSpPr>
            <a:spLocks noChangeShapeType="1"/>
          </p:cNvSpPr>
          <p:nvPr/>
        </p:nvSpPr>
        <p:spPr bwMode="auto">
          <a:xfrm>
            <a:off x="0" y="1047750"/>
            <a:ext cx="9144000" cy="0"/>
          </a:xfrm>
          <a:prstGeom prst="line">
            <a:avLst/>
          </a:prstGeom>
          <a:noFill/>
          <a:ln w="12700">
            <a:solidFill>
              <a:schemeClr val="tx1">
                <a:lumMod val="50000"/>
                <a:lumOff val="50000"/>
              </a:schemeClr>
            </a:solidFill>
            <a:round/>
            <a:headEnd type="none" w="sm" len="sm"/>
            <a:tailEnd type="none" w="sm" len="sm"/>
          </a:ln>
        </p:spPr>
        <p:txBody>
          <a:bodyPr lIns="594000" tIns="0" rIns="216000" bIns="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ea typeface="ＭＳ Ｐゴシック" charset="0"/>
            </a:endParaRPr>
          </a:p>
        </p:txBody>
      </p:sp>
      <p:sp>
        <p:nvSpPr>
          <p:cNvPr id="18436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647700" y="0"/>
            <a:ext cx="7899400" cy="1054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8" name="Line 7"/>
          <p:cNvSpPr>
            <a:spLocks noChangeShapeType="1"/>
          </p:cNvSpPr>
          <p:nvPr userDrawn="1"/>
        </p:nvSpPr>
        <p:spPr bwMode="auto">
          <a:xfrm>
            <a:off x="0" y="6348413"/>
            <a:ext cx="9144000" cy="0"/>
          </a:xfrm>
          <a:prstGeom prst="line">
            <a:avLst/>
          </a:prstGeom>
          <a:noFill/>
          <a:ln w="12700">
            <a:solidFill>
              <a:schemeClr val="tx1">
                <a:lumMod val="50000"/>
                <a:lumOff val="50000"/>
              </a:schemeClr>
            </a:solidFill>
            <a:round/>
            <a:headEnd type="none" w="sm" len="sm"/>
            <a:tailEnd type="none" w="sm" len="sm"/>
          </a:ln>
        </p:spPr>
        <p:txBody>
          <a:bodyPr lIns="594000" tIns="0" rIns="216000" bIns="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ea typeface="ＭＳ Ｐゴシック" charset="0"/>
            </a:endParaRPr>
          </a:p>
        </p:txBody>
      </p:sp>
      <p:sp>
        <p:nvSpPr>
          <p:cNvPr id="10" name="Rectangle 6"/>
          <p:cNvSpPr txBox="1">
            <a:spLocks noChangeArrowheads="1"/>
          </p:cNvSpPr>
          <p:nvPr userDrawn="1"/>
        </p:nvSpPr>
        <p:spPr bwMode="auto">
          <a:xfrm>
            <a:off x="8613775" y="6397625"/>
            <a:ext cx="457200" cy="36036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lIns="46800" rIns="46800" anchor="ctr" anchorCtr="1"/>
          <a:lstStyle>
            <a:defPPr>
              <a:defRPr lang="ru-RU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7F7F7F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22860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27432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32004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36576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fld id="{D7D1053E-43B4-467E-A536-3F1BCBEDA91D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8559800" y="6413500"/>
            <a:ext cx="0" cy="388938"/>
          </a:xfrm>
          <a:prstGeom prst="line">
            <a:avLst/>
          </a:prstGeom>
          <a:ln w="9525" cmpd="sng">
            <a:solidFill>
              <a:schemeClr val="bg2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8440" name="Group 1"/>
          <p:cNvGrpSpPr>
            <a:grpSpLocks/>
          </p:cNvGrpSpPr>
          <p:nvPr userDrawn="1"/>
        </p:nvGrpSpPr>
        <p:grpSpPr bwMode="auto">
          <a:xfrm>
            <a:off x="6815138" y="6419850"/>
            <a:ext cx="1635125" cy="398463"/>
            <a:chOff x="1214" y="1741"/>
            <a:chExt cx="2340" cy="571"/>
          </a:xfrm>
        </p:grpSpPr>
        <p:sp>
          <p:nvSpPr>
            <p:cNvPr id="2057" name="Rectangle 2"/>
            <p:cNvSpPr>
              <a:spLocks noChangeArrowheads="1"/>
            </p:cNvSpPr>
            <p:nvPr/>
          </p:nvSpPr>
          <p:spPr bwMode="auto">
            <a:xfrm>
              <a:off x="1214" y="1814"/>
              <a:ext cx="80" cy="82"/>
            </a:xfrm>
            <a:prstGeom prst="rect">
              <a:avLst/>
            </a:prstGeom>
            <a:solidFill>
              <a:srgbClr val="17357C"/>
            </a:solidFill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ru-RU" sz="240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2058" name="Rectangle 3"/>
            <p:cNvSpPr>
              <a:spLocks noChangeArrowheads="1"/>
            </p:cNvSpPr>
            <p:nvPr/>
          </p:nvSpPr>
          <p:spPr bwMode="auto">
            <a:xfrm>
              <a:off x="1423" y="1821"/>
              <a:ext cx="86" cy="89"/>
            </a:xfrm>
            <a:prstGeom prst="rect">
              <a:avLst/>
            </a:prstGeom>
            <a:solidFill>
              <a:srgbClr val="17357C"/>
            </a:solidFill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ru-RU" sz="240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2059" name="Rectangle 4"/>
            <p:cNvSpPr>
              <a:spLocks noChangeArrowheads="1"/>
            </p:cNvSpPr>
            <p:nvPr/>
          </p:nvSpPr>
          <p:spPr bwMode="auto">
            <a:xfrm>
              <a:off x="1534" y="1814"/>
              <a:ext cx="105" cy="107"/>
            </a:xfrm>
            <a:prstGeom prst="rect">
              <a:avLst/>
            </a:prstGeom>
            <a:solidFill>
              <a:srgbClr val="17357C"/>
            </a:solidFill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ru-RU" sz="240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2060" name="Rectangle 5"/>
            <p:cNvSpPr>
              <a:spLocks noChangeArrowheads="1"/>
            </p:cNvSpPr>
            <p:nvPr/>
          </p:nvSpPr>
          <p:spPr bwMode="auto">
            <a:xfrm>
              <a:off x="1321" y="1862"/>
              <a:ext cx="61" cy="61"/>
            </a:xfrm>
            <a:prstGeom prst="rect">
              <a:avLst/>
            </a:prstGeom>
            <a:solidFill>
              <a:srgbClr val="007CC3"/>
            </a:solidFill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ru-RU" sz="240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2061" name="Rectangle 6"/>
            <p:cNvSpPr>
              <a:spLocks noChangeArrowheads="1"/>
            </p:cNvSpPr>
            <p:nvPr/>
          </p:nvSpPr>
          <p:spPr bwMode="auto">
            <a:xfrm>
              <a:off x="1248" y="1987"/>
              <a:ext cx="64" cy="61"/>
            </a:xfrm>
            <a:prstGeom prst="rect">
              <a:avLst/>
            </a:prstGeom>
            <a:solidFill>
              <a:srgbClr val="007CC3"/>
            </a:solidFill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ru-RU" sz="240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2062" name="Rectangle 7"/>
            <p:cNvSpPr>
              <a:spLocks noChangeArrowheads="1"/>
            </p:cNvSpPr>
            <p:nvPr/>
          </p:nvSpPr>
          <p:spPr bwMode="auto">
            <a:xfrm>
              <a:off x="1343" y="1946"/>
              <a:ext cx="145" cy="148"/>
            </a:xfrm>
            <a:prstGeom prst="rect">
              <a:avLst/>
            </a:prstGeom>
            <a:solidFill>
              <a:srgbClr val="17357C"/>
            </a:solidFill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ru-RU" sz="240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2063" name="Rectangle 8"/>
            <p:cNvSpPr>
              <a:spLocks noChangeArrowheads="1"/>
            </p:cNvSpPr>
            <p:nvPr/>
          </p:nvSpPr>
          <p:spPr bwMode="auto">
            <a:xfrm>
              <a:off x="1525" y="1978"/>
              <a:ext cx="84" cy="86"/>
            </a:xfrm>
            <a:prstGeom prst="rect">
              <a:avLst/>
            </a:prstGeom>
            <a:solidFill>
              <a:srgbClr val="007CC3"/>
            </a:solidFill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ru-RU" sz="240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2064" name="Rectangle 9"/>
            <p:cNvSpPr>
              <a:spLocks noChangeArrowheads="1"/>
            </p:cNvSpPr>
            <p:nvPr/>
          </p:nvSpPr>
          <p:spPr bwMode="auto">
            <a:xfrm>
              <a:off x="1503" y="2096"/>
              <a:ext cx="150" cy="150"/>
            </a:xfrm>
            <a:prstGeom prst="rect">
              <a:avLst/>
            </a:prstGeom>
            <a:solidFill>
              <a:srgbClr val="17357C"/>
            </a:solidFill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ru-RU" sz="240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2065" name="Rectangle 10"/>
            <p:cNvSpPr>
              <a:spLocks noChangeArrowheads="1"/>
            </p:cNvSpPr>
            <p:nvPr/>
          </p:nvSpPr>
          <p:spPr bwMode="auto">
            <a:xfrm>
              <a:off x="1355" y="2121"/>
              <a:ext cx="84" cy="86"/>
            </a:xfrm>
            <a:prstGeom prst="rect">
              <a:avLst/>
            </a:prstGeom>
            <a:solidFill>
              <a:srgbClr val="007CC3"/>
            </a:solidFill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ru-RU" sz="240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2066" name="Rectangle 11"/>
            <p:cNvSpPr>
              <a:spLocks noChangeArrowheads="1"/>
            </p:cNvSpPr>
            <p:nvPr/>
          </p:nvSpPr>
          <p:spPr bwMode="auto">
            <a:xfrm>
              <a:off x="1214" y="2132"/>
              <a:ext cx="107" cy="107"/>
            </a:xfrm>
            <a:prstGeom prst="rect">
              <a:avLst/>
            </a:prstGeom>
            <a:solidFill>
              <a:srgbClr val="17357C"/>
            </a:solidFill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ru-RU" sz="240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2067" name="Rectangle 12"/>
            <p:cNvSpPr>
              <a:spLocks noChangeArrowheads="1"/>
            </p:cNvSpPr>
            <p:nvPr/>
          </p:nvSpPr>
          <p:spPr bwMode="auto">
            <a:xfrm>
              <a:off x="1748" y="1809"/>
              <a:ext cx="127" cy="127"/>
            </a:xfrm>
            <a:prstGeom prst="rect">
              <a:avLst/>
            </a:prstGeom>
            <a:solidFill>
              <a:srgbClr val="17357C"/>
            </a:solidFill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ru-RU" sz="240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2068" name="Rectangle 13"/>
            <p:cNvSpPr>
              <a:spLocks noChangeArrowheads="1"/>
            </p:cNvSpPr>
            <p:nvPr/>
          </p:nvSpPr>
          <p:spPr bwMode="auto">
            <a:xfrm>
              <a:off x="1905" y="1809"/>
              <a:ext cx="127" cy="127"/>
            </a:xfrm>
            <a:prstGeom prst="rect">
              <a:avLst/>
            </a:prstGeom>
            <a:solidFill>
              <a:srgbClr val="17357C"/>
            </a:solidFill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ru-RU" sz="240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2069" name="Rectangle 14"/>
            <p:cNvSpPr>
              <a:spLocks noChangeArrowheads="1"/>
            </p:cNvSpPr>
            <p:nvPr/>
          </p:nvSpPr>
          <p:spPr bwMode="auto">
            <a:xfrm>
              <a:off x="2061" y="1809"/>
              <a:ext cx="127" cy="127"/>
            </a:xfrm>
            <a:prstGeom prst="rect">
              <a:avLst/>
            </a:prstGeom>
            <a:solidFill>
              <a:srgbClr val="17357C"/>
            </a:solidFill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ru-RU" sz="240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2070" name="Rectangle 15"/>
            <p:cNvSpPr>
              <a:spLocks noChangeArrowheads="1"/>
            </p:cNvSpPr>
            <p:nvPr/>
          </p:nvSpPr>
          <p:spPr bwMode="auto">
            <a:xfrm>
              <a:off x="1748" y="1964"/>
              <a:ext cx="127" cy="127"/>
            </a:xfrm>
            <a:prstGeom prst="rect">
              <a:avLst/>
            </a:prstGeom>
            <a:solidFill>
              <a:srgbClr val="17357C"/>
            </a:solidFill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ru-RU" sz="240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2071" name="Rectangle 16"/>
            <p:cNvSpPr>
              <a:spLocks noChangeArrowheads="1"/>
            </p:cNvSpPr>
            <p:nvPr/>
          </p:nvSpPr>
          <p:spPr bwMode="auto">
            <a:xfrm>
              <a:off x="1905" y="1964"/>
              <a:ext cx="127" cy="127"/>
            </a:xfrm>
            <a:prstGeom prst="rect">
              <a:avLst/>
            </a:prstGeom>
            <a:solidFill>
              <a:srgbClr val="17357C"/>
            </a:solidFill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ru-RU" sz="240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2072" name="Rectangle 17"/>
            <p:cNvSpPr>
              <a:spLocks noChangeArrowheads="1"/>
            </p:cNvSpPr>
            <p:nvPr/>
          </p:nvSpPr>
          <p:spPr bwMode="auto">
            <a:xfrm>
              <a:off x="2061" y="1964"/>
              <a:ext cx="127" cy="127"/>
            </a:xfrm>
            <a:prstGeom prst="rect">
              <a:avLst/>
            </a:prstGeom>
            <a:solidFill>
              <a:srgbClr val="17357C"/>
            </a:solidFill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ru-RU" sz="240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2073" name="Rectangle 18"/>
            <p:cNvSpPr>
              <a:spLocks noChangeArrowheads="1"/>
            </p:cNvSpPr>
            <p:nvPr/>
          </p:nvSpPr>
          <p:spPr bwMode="auto">
            <a:xfrm>
              <a:off x="1748" y="2119"/>
              <a:ext cx="127" cy="127"/>
            </a:xfrm>
            <a:prstGeom prst="rect">
              <a:avLst/>
            </a:prstGeom>
            <a:solidFill>
              <a:srgbClr val="17357C"/>
            </a:solidFill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ru-RU" sz="240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2074" name="Rectangle 19"/>
            <p:cNvSpPr>
              <a:spLocks noChangeArrowheads="1"/>
            </p:cNvSpPr>
            <p:nvPr/>
          </p:nvSpPr>
          <p:spPr bwMode="auto">
            <a:xfrm>
              <a:off x="1905" y="2119"/>
              <a:ext cx="127" cy="127"/>
            </a:xfrm>
            <a:prstGeom prst="rect">
              <a:avLst/>
            </a:prstGeom>
            <a:solidFill>
              <a:srgbClr val="17357C"/>
            </a:solidFill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ru-RU" sz="240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2075" name="Rectangle 20"/>
            <p:cNvSpPr>
              <a:spLocks noChangeArrowheads="1"/>
            </p:cNvSpPr>
            <p:nvPr/>
          </p:nvSpPr>
          <p:spPr bwMode="auto">
            <a:xfrm>
              <a:off x="2061" y="2119"/>
              <a:ext cx="127" cy="127"/>
            </a:xfrm>
            <a:prstGeom prst="rect">
              <a:avLst/>
            </a:prstGeom>
            <a:solidFill>
              <a:srgbClr val="17357C"/>
            </a:solidFill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ru-RU" sz="240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2076" name="Rectangle 21"/>
            <p:cNvSpPr>
              <a:spLocks noChangeArrowheads="1"/>
            </p:cNvSpPr>
            <p:nvPr/>
          </p:nvSpPr>
          <p:spPr bwMode="auto">
            <a:xfrm>
              <a:off x="1693" y="1741"/>
              <a:ext cx="14" cy="571"/>
            </a:xfrm>
            <a:prstGeom prst="rect">
              <a:avLst/>
            </a:prstGeom>
            <a:solidFill>
              <a:srgbClr val="848282"/>
            </a:solidFill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ru-RU" sz="240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2077" name="Freeform 22"/>
            <p:cNvSpPr>
              <a:spLocks noEditPoints="1"/>
            </p:cNvSpPr>
            <p:nvPr/>
          </p:nvSpPr>
          <p:spPr bwMode="auto">
            <a:xfrm>
              <a:off x="2368" y="1805"/>
              <a:ext cx="1181" cy="337"/>
            </a:xfrm>
            <a:custGeom>
              <a:avLst/>
              <a:gdLst>
                <a:gd name="T0" fmla="*/ 0 w 1182"/>
                <a:gd name="T1" fmla="*/ 230 h 338"/>
                <a:gd name="T2" fmla="*/ 12 w 1182"/>
                <a:gd name="T3" fmla="*/ 300 h 338"/>
                <a:gd name="T4" fmla="*/ 84 w 1182"/>
                <a:gd name="T5" fmla="*/ 338 h 338"/>
                <a:gd name="T6" fmla="*/ 228 w 1182"/>
                <a:gd name="T7" fmla="*/ 255 h 338"/>
                <a:gd name="T8" fmla="*/ 166 w 1182"/>
                <a:gd name="T9" fmla="*/ 147 h 338"/>
                <a:gd name="T10" fmla="*/ 87 w 1182"/>
                <a:gd name="T11" fmla="*/ 97 h 338"/>
                <a:gd name="T12" fmla="*/ 109 w 1182"/>
                <a:gd name="T13" fmla="*/ 25 h 338"/>
                <a:gd name="T14" fmla="*/ 176 w 1182"/>
                <a:gd name="T15" fmla="*/ 55 h 338"/>
                <a:gd name="T16" fmla="*/ 201 w 1182"/>
                <a:gd name="T17" fmla="*/ 92 h 338"/>
                <a:gd name="T18" fmla="*/ 218 w 1182"/>
                <a:gd name="T19" fmla="*/ 20 h 338"/>
                <a:gd name="T20" fmla="*/ 141 w 1182"/>
                <a:gd name="T21" fmla="*/ 0 h 338"/>
                <a:gd name="T22" fmla="*/ 17 w 1182"/>
                <a:gd name="T23" fmla="*/ 72 h 338"/>
                <a:gd name="T24" fmla="*/ 84 w 1182"/>
                <a:gd name="T25" fmla="*/ 190 h 338"/>
                <a:gd name="T26" fmla="*/ 161 w 1182"/>
                <a:gd name="T27" fmla="*/ 260 h 338"/>
                <a:gd name="T28" fmla="*/ 124 w 1182"/>
                <a:gd name="T29" fmla="*/ 310 h 338"/>
                <a:gd name="T30" fmla="*/ 54 w 1182"/>
                <a:gd name="T31" fmla="*/ 283 h 338"/>
                <a:gd name="T32" fmla="*/ 452 w 1182"/>
                <a:gd name="T33" fmla="*/ 35 h 338"/>
                <a:gd name="T34" fmla="*/ 479 w 1182"/>
                <a:gd name="T35" fmla="*/ 80 h 338"/>
                <a:gd name="T36" fmla="*/ 479 w 1182"/>
                <a:gd name="T37" fmla="*/ 190 h 338"/>
                <a:gd name="T38" fmla="*/ 477 w 1182"/>
                <a:gd name="T39" fmla="*/ 275 h 338"/>
                <a:gd name="T40" fmla="*/ 447 w 1182"/>
                <a:gd name="T41" fmla="*/ 303 h 338"/>
                <a:gd name="T42" fmla="*/ 425 w 1182"/>
                <a:gd name="T43" fmla="*/ 325 h 338"/>
                <a:gd name="T44" fmla="*/ 504 w 1182"/>
                <a:gd name="T45" fmla="*/ 330 h 338"/>
                <a:gd name="T46" fmla="*/ 603 w 1182"/>
                <a:gd name="T47" fmla="*/ 330 h 338"/>
                <a:gd name="T48" fmla="*/ 710 w 1182"/>
                <a:gd name="T49" fmla="*/ 280 h 338"/>
                <a:gd name="T50" fmla="*/ 705 w 1182"/>
                <a:gd name="T51" fmla="*/ 175 h 338"/>
                <a:gd name="T52" fmla="*/ 653 w 1182"/>
                <a:gd name="T53" fmla="*/ 145 h 338"/>
                <a:gd name="T54" fmla="*/ 703 w 1182"/>
                <a:gd name="T55" fmla="*/ 60 h 338"/>
                <a:gd name="T56" fmla="*/ 601 w 1182"/>
                <a:gd name="T57" fmla="*/ 7 h 338"/>
                <a:gd name="T58" fmla="*/ 457 w 1182"/>
                <a:gd name="T59" fmla="*/ 7 h 338"/>
                <a:gd name="T60" fmla="*/ 432 w 1182"/>
                <a:gd name="T61" fmla="*/ 27 h 338"/>
                <a:gd name="T62" fmla="*/ 636 w 1182"/>
                <a:gd name="T63" fmla="*/ 77 h 338"/>
                <a:gd name="T64" fmla="*/ 591 w 1182"/>
                <a:gd name="T65" fmla="*/ 142 h 338"/>
                <a:gd name="T66" fmla="*/ 549 w 1182"/>
                <a:gd name="T67" fmla="*/ 140 h 338"/>
                <a:gd name="T68" fmla="*/ 549 w 1182"/>
                <a:gd name="T69" fmla="*/ 62 h 338"/>
                <a:gd name="T70" fmla="*/ 556 w 1182"/>
                <a:gd name="T71" fmla="*/ 35 h 338"/>
                <a:gd name="T72" fmla="*/ 571 w 1182"/>
                <a:gd name="T73" fmla="*/ 300 h 338"/>
                <a:gd name="T74" fmla="*/ 549 w 1182"/>
                <a:gd name="T75" fmla="*/ 255 h 338"/>
                <a:gd name="T76" fmla="*/ 549 w 1182"/>
                <a:gd name="T77" fmla="*/ 170 h 338"/>
                <a:gd name="T78" fmla="*/ 569 w 1182"/>
                <a:gd name="T79" fmla="*/ 170 h 338"/>
                <a:gd name="T80" fmla="*/ 653 w 1182"/>
                <a:gd name="T81" fmla="*/ 238 h 338"/>
                <a:gd name="T82" fmla="*/ 973 w 1182"/>
                <a:gd name="T83" fmla="*/ 223 h 338"/>
                <a:gd name="T84" fmla="*/ 951 w 1182"/>
                <a:gd name="T85" fmla="*/ 240 h 338"/>
                <a:gd name="T86" fmla="*/ 968 w 1182"/>
                <a:gd name="T87" fmla="*/ 315 h 338"/>
                <a:gd name="T88" fmla="*/ 1085 w 1182"/>
                <a:gd name="T89" fmla="*/ 335 h 338"/>
                <a:gd name="T90" fmla="*/ 1180 w 1182"/>
                <a:gd name="T91" fmla="*/ 218 h 338"/>
                <a:gd name="T92" fmla="*/ 1098 w 1182"/>
                <a:gd name="T93" fmla="*/ 135 h 338"/>
                <a:gd name="T94" fmla="*/ 1031 w 1182"/>
                <a:gd name="T95" fmla="*/ 80 h 338"/>
                <a:gd name="T96" fmla="*/ 1088 w 1182"/>
                <a:gd name="T97" fmla="*/ 25 h 338"/>
                <a:gd name="T98" fmla="*/ 1135 w 1182"/>
                <a:gd name="T99" fmla="*/ 77 h 338"/>
                <a:gd name="T100" fmla="*/ 1160 w 1182"/>
                <a:gd name="T101" fmla="*/ 90 h 338"/>
                <a:gd name="T102" fmla="*/ 1162 w 1182"/>
                <a:gd name="T103" fmla="*/ 7 h 338"/>
                <a:gd name="T104" fmla="*/ 1058 w 1182"/>
                <a:gd name="T105" fmla="*/ 0 h 338"/>
                <a:gd name="T106" fmla="*/ 968 w 1182"/>
                <a:gd name="T107" fmla="*/ 115 h 338"/>
                <a:gd name="T108" fmla="*/ 1068 w 1182"/>
                <a:gd name="T109" fmla="*/ 210 h 338"/>
                <a:gd name="T110" fmla="*/ 1112 w 1182"/>
                <a:gd name="T111" fmla="*/ 280 h 338"/>
                <a:gd name="T112" fmla="*/ 1060 w 1182"/>
                <a:gd name="T113" fmla="*/ 310 h 338"/>
                <a:gd name="T114" fmla="*/ 986 w 1182"/>
                <a:gd name="T115" fmla="*/ 248 h 33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1182" h="338">
                  <a:moveTo>
                    <a:pt x="25" y="225"/>
                  </a:moveTo>
                  <a:lnTo>
                    <a:pt x="22" y="223"/>
                  </a:lnTo>
                  <a:lnTo>
                    <a:pt x="20" y="225"/>
                  </a:lnTo>
                  <a:lnTo>
                    <a:pt x="15" y="225"/>
                  </a:lnTo>
                  <a:lnTo>
                    <a:pt x="10" y="225"/>
                  </a:lnTo>
                  <a:lnTo>
                    <a:pt x="7" y="228"/>
                  </a:lnTo>
                  <a:lnTo>
                    <a:pt x="5" y="228"/>
                  </a:lnTo>
                  <a:lnTo>
                    <a:pt x="0" y="230"/>
                  </a:lnTo>
                  <a:lnTo>
                    <a:pt x="0" y="233"/>
                  </a:lnTo>
                  <a:lnTo>
                    <a:pt x="0" y="240"/>
                  </a:lnTo>
                  <a:lnTo>
                    <a:pt x="0" y="248"/>
                  </a:lnTo>
                  <a:lnTo>
                    <a:pt x="2" y="258"/>
                  </a:lnTo>
                  <a:lnTo>
                    <a:pt x="5" y="270"/>
                  </a:lnTo>
                  <a:lnTo>
                    <a:pt x="7" y="280"/>
                  </a:lnTo>
                  <a:lnTo>
                    <a:pt x="10" y="290"/>
                  </a:lnTo>
                  <a:lnTo>
                    <a:pt x="12" y="300"/>
                  </a:lnTo>
                  <a:lnTo>
                    <a:pt x="15" y="310"/>
                  </a:lnTo>
                  <a:lnTo>
                    <a:pt x="17" y="315"/>
                  </a:lnTo>
                  <a:lnTo>
                    <a:pt x="20" y="320"/>
                  </a:lnTo>
                  <a:lnTo>
                    <a:pt x="27" y="323"/>
                  </a:lnTo>
                  <a:lnTo>
                    <a:pt x="40" y="328"/>
                  </a:lnTo>
                  <a:lnTo>
                    <a:pt x="52" y="330"/>
                  </a:lnTo>
                  <a:lnTo>
                    <a:pt x="67" y="335"/>
                  </a:lnTo>
                  <a:lnTo>
                    <a:pt x="84" y="338"/>
                  </a:lnTo>
                  <a:lnTo>
                    <a:pt x="104" y="338"/>
                  </a:lnTo>
                  <a:lnTo>
                    <a:pt x="131" y="335"/>
                  </a:lnTo>
                  <a:lnTo>
                    <a:pt x="159" y="330"/>
                  </a:lnTo>
                  <a:lnTo>
                    <a:pt x="179" y="320"/>
                  </a:lnTo>
                  <a:lnTo>
                    <a:pt x="199" y="308"/>
                  </a:lnTo>
                  <a:lnTo>
                    <a:pt x="211" y="293"/>
                  </a:lnTo>
                  <a:lnTo>
                    <a:pt x="221" y="275"/>
                  </a:lnTo>
                  <a:lnTo>
                    <a:pt x="228" y="255"/>
                  </a:lnTo>
                  <a:lnTo>
                    <a:pt x="231" y="235"/>
                  </a:lnTo>
                  <a:lnTo>
                    <a:pt x="228" y="218"/>
                  </a:lnTo>
                  <a:lnTo>
                    <a:pt x="223" y="203"/>
                  </a:lnTo>
                  <a:lnTo>
                    <a:pt x="216" y="188"/>
                  </a:lnTo>
                  <a:lnTo>
                    <a:pt x="206" y="175"/>
                  </a:lnTo>
                  <a:lnTo>
                    <a:pt x="194" y="165"/>
                  </a:lnTo>
                  <a:lnTo>
                    <a:pt x="176" y="155"/>
                  </a:lnTo>
                  <a:lnTo>
                    <a:pt x="166" y="147"/>
                  </a:lnTo>
                  <a:lnTo>
                    <a:pt x="154" y="142"/>
                  </a:lnTo>
                  <a:lnTo>
                    <a:pt x="144" y="135"/>
                  </a:lnTo>
                  <a:lnTo>
                    <a:pt x="134" y="130"/>
                  </a:lnTo>
                  <a:lnTo>
                    <a:pt x="124" y="125"/>
                  </a:lnTo>
                  <a:lnTo>
                    <a:pt x="112" y="117"/>
                  </a:lnTo>
                  <a:lnTo>
                    <a:pt x="102" y="112"/>
                  </a:lnTo>
                  <a:lnTo>
                    <a:pt x="94" y="105"/>
                  </a:lnTo>
                  <a:lnTo>
                    <a:pt x="87" y="97"/>
                  </a:lnTo>
                  <a:lnTo>
                    <a:pt x="82" y="90"/>
                  </a:lnTo>
                  <a:lnTo>
                    <a:pt x="79" y="80"/>
                  </a:lnTo>
                  <a:lnTo>
                    <a:pt x="79" y="67"/>
                  </a:lnTo>
                  <a:lnTo>
                    <a:pt x="79" y="57"/>
                  </a:lnTo>
                  <a:lnTo>
                    <a:pt x="84" y="47"/>
                  </a:lnTo>
                  <a:lnTo>
                    <a:pt x="89" y="37"/>
                  </a:lnTo>
                  <a:lnTo>
                    <a:pt x="99" y="30"/>
                  </a:lnTo>
                  <a:lnTo>
                    <a:pt x="109" y="25"/>
                  </a:lnTo>
                  <a:lnTo>
                    <a:pt x="124" y="25"/>
                  </a:lnTo>
                  <a:lnTo>
                    <a:pt x="134" y="25"/>
                  </a:lnTo>
                  <a:lnTo>
                    <a:pt x="146" y="27"/>
                  </a:lnTo>
                  <a:lnTo>
                    <a:pt x="154" y="30"/>
                  </a:lnTo>
                  <a:lnTo>
                    <a:pt x="164" y="35"/>
                  </a:lnTo>
                  <a:lnTo>
                    <a:pt x="169" y="40"/>
                  </a:lnTo>
                  <a:lnTo>
                    <a:pt x="174" y="47"/>
                  </a:lnTo>
                  <a:lnTo>
                    <a:pt x="176" y="55"/>
                  </a:lnTo>
                  <a:lnTo>
                    <a:pt x="181" y="65"/>
                  </a:lnTo>
                  <a:lnTo>
                    <a:pt x="184" y="77"/>
                  </a:lnTo>
                  <a:lnTo>
                    <a:pt x="186" y="90"/>
                  </a:lnTo>
                  <a:lnTo>
                    <a:pt x="189" y="92"/>
                  </a:lnTo>
                  <a:lnTo>
                    <a:pt x="191" y="92"/>
                  </a:lnTo>
                  <a:lnTo>
                    <a:pt x="194" y="92"/>
                  </a:lnTo>
                  <a:lnTo>
                    <a:pt x="199" y="92"/>
                  </a:lnTo>
                  <a:lnTo>
                    <a:pt x="201" y="92"/>
                  </a:lnTo>
                  <a:lnTo>
                    <a:pt x="206" y="92"/>
                  </a:lnTo>
                  <a:lnTo>
                    <a:pt x="208" y="90"/>
                  </a:lnTo>
                  <a:lnTo>
                    <a:pt x="211" y="90"/>
                  </a:lnTo>
                  <a:lnTo>
                    <a:pt x="211" y="75"/>
                  </a:lnTo>
                  <a:lnTo>
                    <a:pt x="213" y="60"/>
                  </a:lnTo>
                  <a:lnTo>
                    <a:pt x="213" y="45"/>
                  </a:lnTo>
                  <a:lnTo>
                    <a:pt x="216" y="32"/>
                  </a:lnTo>
                  <a:lnTo>
                    <a:pt x="218" y="20"/>
                  </a:lnTo>
                  <a:lnTo>
                    <a:pt x="218" y="10"/>
                  </a:lnTo>
                  <a:lnTo>
                    <a:pt x="208" y="7"/>
                  </a:lnTo>
                  <a:lnTo>
                    <a:pt x="199" y="7"/>
                  </a:lnTo>
                  <a:lnTo>
                    <a:pt x="189" y="5"/>
                  </a:lnTo>
                  <a:lnTo>
                    <a:pt x="179" y="2"/>
                  </a:lnTo>
                  <a:lnTo>
                    <a:pt x="166" y="2"/>
                  </a:lnTo>
                  <a:lnTo>
                    <a:pt x="156" y="0"/>
                  </a:lnTo>
                  <a:lnTo>
                    <a:pt x="141" y="0"/>
                  </a:lnTo>
                  <a:lnTo>
                    <a:pt x="126" y="0"/>
                  </a:lnTo>
                  <a:lnTo>
                    <a:pt x="104" y="0"/>
                  </a:lnTo>
                  <a:lnTo>
                    <a:pt x="84" y="5"/>
                  </a:lnTo>
                  <a:lnTo>
                    <a:pt x="64" y="12"/>
                  </a:lnTo>
                  <a:lnTo>
                    <a:pt x="47" y="25"/>
                  </a:lnTo>
                  <a:lnTo>
                    <a:pt x="35" y="37"/>
                  </a:lnTo>
                  <a:lnTo>
                    <a:pt x="25" y="55"/>
                  </a:lnTo>
                  <a:lnTo>
                    <a:pt x="17" y="72"/>
                  </a:lnTo>
                  <a:lnTo>
                    <a:pt x="15" y="95"/>
                  </a:lnTo>
                  <a:lnTo>
                    <a:pt x="17" y="115"/>
                  </a:lnTo>
                  <a:lnTo>
                    <a:pt x="22" y="132"/>
                  </a:lnTo>
                  <a:lnTo>
                    <a:pt x="30" y="147"/>
                  </a:lnTo>
                  <a:lnTo>
                    <a:pt x="42" y="160"/>
                  </a:lnTo>
                  <a:lnTo>
                    <a:pt x="54" y="173"/>
                  </a:lnTo>
                  <a:lnTo>
                    <a:pt x="69" y="183"/>
                  </a:lnTo>
                  <a:lnTo>
                    <a:pt x="84" y="190"/>
                  </a:lnTo>
                  <a:lnTo>
                    <a:pt x="99" y="200"/>
                  </a:lnTo>
                  <a:lnTo>
                    <a:pt x="117" y="210"/>
                  </a:lnTo>
                  <a:lnTo>
                    <a:pt x="131" y="220"/>
                  </a:lnTo>
                  <a:lnTo>
                    <a:pt x="141" y="230"/>
                  </a:lnTo>
                  <a:lnTo>
                    <a:pt x="151" y="238"/>
                  </a:lnTo>
                  <a:lnTo>
                    <a:pt x="156" y="245"/>
                  </a:lnTo>
                  <a:lnTo>
                    <a:pt x="159" y="253"/>
                  </a:lnTo>
                  <a:lnTo>
                    <a:pt x="161" y="260"/>
                  </a:lnTo>
                  <a:lnTo>
                    <a:pt x="161" y="270"/>
                  </a:lnTo>
                  <a:lnTo>
                    <a:pt x="161" y="280"/>
                  </a:lnTo>
                  <a:lnTo>
                    <a:pt x="159" y="288"/>
                  </a:lnTo>
                  <a:lnTo>
                    <a:pt x="154" y="295"/>
                  </a:lnTo>
                  <a:lnTo>
                    <a:pt x="146" y="300"/>
                  </a:lnTo>
                  <a:lnTo>
                    <a:pt x="139" y="305"/>
                  </a:lnTo>
                  <a:lnTo>
                    <a:pt x="131" y="308"/>
                  </a:lnTo>
                  <a:lnTo>
                    <a:pt x="124" y="310"/>
                  </a:lnTo>
                  <a:lnTo>
                    <a:pt x="117" y="310"/>
                  </a:lnTo>
                  <a:lnTo>
                    <a:pt x="109" y="310"/>
                  </a:lnTo>
                  <a:lnTo>
                    <a:pt x="99" y="308"/>
                  </a:lnTo>
                  <a:lnTo>
                    <a:pt x="92" y="305"/>
                  </a:lnTo>
                  <a:lnTo>
                    <a:pt x="82" y="303"/>
                  </a:lnTo>
                  <a:lnTo>
                    <a:pt x="74" y="300"/>
                  </a:lnTo>
                  <a:lnTo>
                    <a:pt x="67" y="295"/>
                  </a:lnTo>
                  <a:lnTo>
                    <a:pt x="54" y="283"/>
                  </a:lnTo>
                  <a:lnTo>
                    <a:pt x="42" y="268"/>
                  </a:lnTo>
                  <a:lnTo>
                    <a:pt x="32" y="248"/>
                  </a:lnTo>
                  <a:lnTo>
                    <a:pt x="25" y="225"/>
                  </a:lnTo>
                  <a:close/>
                  <a:moveTo>
                    <a:pt x="432" y="32"/>
                  </a:moveTo>
                  <a:lnTo>
                    <a:pt x="437" y="32"/>
                  </a:lnTo>
                  <a:lnTo>
                    <a:pt x="442" y="32"/>
                  </a:lnTo>
                  <a:lnTo>
                    <a:pt x="447" y="32"/>
                  </a:lnTo>
                  <a:lnTo>
                    <a:pt x="452" y="35"/>
                  </a:lnTo>
                  <a:lnTo>
                    <a:pt x="457" y="35"/>
                  </a:lnTo>
                  <a:lnTo>
                    <a:pt x="462" y="37"/>
                  </a:lnTo>
                  <a:lnTo>
                    <a:pt x="469" y="40"/>
                  </a:lnTo>
                  <a:lnTo>
                    <a:pt x="474" y="45"/>
                  </a:lnTo>
                  <a:lnTo>
                    <a:pt x="477" y="50"/>
                  </a:lnTo>
                  <a:lnTo>
                    <a:pt x="477" y="60"/>
                  </a:lnTo>
                  <a:lnTo>
                    <a:pt x="477" y="70"/>
                  </a:lnTo>
                  <a:lnTo>
                    <a:pt x="479" y="80"/>
                  </a:lnTo>
                  <a:lnTo>
                    <a:pt x="479" y="90"/>
                  </a:lnTo>
                  <a:lnTo>
                    <a:pt x="479" y="100"/>
                  </a:lnTo>
                  <a:lnTo>
                    <a:pt x="479" y="115"/>
                  </a:lnTo>
                  <a:lnTo>
                    <a:pt x="479" y="130"/>
                  </a:lnTo>
                  <a:lnTo>
                    <a:pt x="479" y="145"/>
                  </a:lnTo>
                  <a:lnTo>
                    <a:pt x="479" y="165"/>
                  </a:lnTo>
                  <a:lnTo>
                    <a:pt x="479" y="178"/>
                  </a:lnTo>
                  <a:lnTo>
                    <a:pt x="479" y="190"/>
                  </a:lnTo>
                  <a:lnTo>
                    <a:pt x="479" y="203"/>
                  </a:lnTo>
                  <a:lnTo>
                    <a:pt x="479" y="215"/>
                  </a:lnTo>
                  <a:lnTo>
                    <a:pt x="479" y="230"/>
                  </a:lnTo>
                  <a:lnTo>
                    <a:pt x="479" y="240"/>
                  </a:lnTo>
                  <a:lnTo>
                    <a:pt x="479" y="253"/>
                  </a:lnTo>
                  <a:lnTo>
                    <a:pt x="479" y="260"/>
                  </a:lnTo>
                  <a:lnTo>
                    <a:pt x="477" y="268"/>
                  </a:lnTo>
                  <a:lnTo>
                    <a:pt x="477" y="275"/>
                  </a:lnTo>
                  <a:lnTo>
                    <a:pt x="477" y="283"/>
                  </a:lnTo>
                  <a:lnTo>
                    <a:pt x="474" y="288"/>
                  </a:lnTo>
                  <a:lnTo>
                    <a:pt x="474" y="293"/>
                  </a:lnTo>
                  <a:lnTo>
                    <a:pt x="472" y="295"/>
                  </a:lnTo>
                  <a:lnTo>
                    <a:pt x="467" y="298"/>
                  </a:lnTo>
                  <a:lnTo>
                    <a:pt x="464" y="300"/>
                  </a:lnTo>
                  <a:lnTo>
                    <a:pt x="457" y="303"/>
                  </a:lnTo>
                  <a:lnTo>
                    <a:pt x="447" y="303"/>
                  </a:lnTo>
                  <a:lnTo>
                    <a:pt x="437" y="305"/>
                  </a:lnTo>
                  <a:lnTo>
                    <a:pt x="427" y="305"/>
                  </a:lnTo>
                  <a:lnTo>
                    <a:pt x="425" y="308"/>
                  </a:lnTo>
                  <a:lnTo>
                    <a:pt x="425" y="310"/>
                  </a:lnTo>
                  <a:lnTo>
                    <a:pt x="425" y="313"/>
                  </a:lnTo>
                  <a:lnTo>
                    <a:pt x="425" y="318"/>
                  </a:lnTo>
                  <a:lnTo>
                    <a:pt x="425" y="323"/>
                  </a:lnTo>
                  <a:lnTo>
                    <a:pt x="425" y="325"/>
                  </a:lnTo>
                  <a:lnTo>
                    <a:pt x="425" y="328"/>
                  </a:lnTo>
                  <a:lnTo>
                    <a:pt x="427" y="330"/>
                  </a:lnTo>
                  <a:lnTo>
                    <a:pt x="437" y="330"/>
                  </a:lnTo>
                  <a:lnTo>
                    <a:pt x="447" y="330"/>
                  </a:lnTo>
                  <a:lnTo>
                    <a:pt x="459" y="330"/>
                  </a:lnTo>
                  <a:lnTo>
                    <a:pt x="474" y="330"/>
                  </a:lnTo>
                  <a:lnTo>
                    <a:pt x="489" y="330"/>
                  </a:lnTo>
                  <a:lnTo>
                    <a:pt x="504" y="330"/>
                  </a:lnTo>
                  <a:lnTo>
                    <a:pt x="516" y="330"/>
                  </a:lnTo>
                  <a:lnTo>
                    <a:pt x="531" y="333"/>
                  </a:lnTo>
                  <a:lnTo>
                    <a:pt x="544" y="333"/>
                  </a:lnTo>
                  <a:lnTo>
                    <a:pt x="554" y="333"/>
                  </a:lnTo>
                  <a:lnTo>
                    <a:pt x="564" y="333"/>
                  </a:lnTo>
                  <a:lnTo>
                    <a:pt x="571" y="333"/>
                  </a:lnTo>
                  <a:lnTo>
                    <a:pt x="586" y="333"/>
                  </a:lnTo>
                  <a:lnTo>
                    <a:pt x="603" y="330"/>
                  </a:lnTo>
                  <a:lnTo>
                    <a:pt x="618" y="328"/>
                  </a:lnTo>
                  <a:lnTo>
                    <a:pt x="633" y="325"/>
                  </a:lnTo>
                  <a:lnTo>
                    <a:pt x="648" y="323"/>
                  </a:lnTo>
                  <a:lnTo>
                    <a:pt x="660" y="318"/>
                  </a:lnTo>
                  <a:lnTo>
                    <a:pt x="675" y="310"/>
                  </a:lnTo>
                  <a:lnTo>
                    <a:pt x="690" y="300"/>
                  </a:lnTo>
                  <a:lnTo>
                    <a:pt x="700" y="290"/>
                  </a:lnTo>
                  <a:lnTo>
                    <a:pt x="710" y="280"/>
                  </a:lnTo>
                  <a:lnTo>
                    <a:pt x="718" y="268"/>
                  </a:lnTo>
                  <a:lnTo>
                    <a:pt x="723" y="255"/>
                  </a:lnTo>
                  <a:lnTo>
                    <a:pt x="728" y="243"/>
                  </a:lnTo>
                  <a:lnTo>
                    <a:pt x="728" y="225"/>
                  </a:lnTo>
                  <a:lnTo>
                    <a:pt x="728" y="210"/>
                  </a:lnTo>
                  <a:lnTo>
                    <a:pt x="723" y="195"/>
                  </a:lnTo>
                  <a:lnTo>
                    <a:pt x="715" y="185"/>
                  </a:lnTo>
                  <a:lnTo>
                    <a:pt x="705" y="175"/>
                  </a:lnTo>
                  <a:lnTo>
                    <a:pt x="695" y="165"/>
                  </a:lnTo>
                  <a:lnTo>
                    <a:pt x="683" y="158"/>
                  </a:lnTo>
                  <a:lnTo>
                    <a:pt x="668" y="152"/>
                  </a:lnTo>
                  <a:lnTo>
                    <a:pt x="653" y="147"/>
                  </a:lnTo>
                  <a:lnTo>
                    <a:pt x="653" y="145"/>
                  </a:lnTo>
                  <a:lnTo>
                    <a:pt x="668" y="137"/>
                  </a:lnTo>
                  <a:lnTo>
                    <a:pt x="680" y="130"/>
                  </a:lnTo>
                  <a:lnTo>
                    <a:pt x="690" y="120"/>
                  </a:lnTo>
                  <a:lnTo>
                    <a:pt x="698" y="107"/>
                  </a:lnTo>
                  <a:lnTo>
                    <a:pt x="703" y="95"/>
                  </a:lnTo>
                  <a:lnTo>
                    <a:pt x="705" y="80"/>
                  </a:lnTo>
                  <a:lnTo>
                    <a:pt x="705" y="70"/>
                  </a:lnTo>
                  <a:lnTo>
                    <a:pt x="703" y="60"/>
                  </a:lnTo>
                  <a:lnTo>
                    <a:pt x="700" y="52"/>
                  </a:lnTo>
                  <a:lnTo>
                    <a:pt x="695" y="45"/>
                  </a:lnTo>
                  <a:lnTo>
                    <a:pt x="685" y="32"/>
                  </a:lnTo>
                  <a:lnTo>
                    <a:pt x="673" y="22"/>
                  </a:lnTo>
                  <a:lnTo>
                    <a:pt x="658" y="15"/>
                  </a:lnTo>
                  <a:lnTo>
                    <a:pt x="638" y="10"/>
                  </a:lnTo>
                  <a:lnTo>
                    <a:pt x="621" y="7"/>
                  </a:lnTo>
                  <a:lnTo>
                    <a:pt x="601" y="7"/>
                  </a:lnTo>
                  <a:lnTo>
                    <a:pt x="588" y="7"/>
                  </a:lnTo>
                  <a:lnTo>
                    <a:pt x="576" y="7"/>
                  </a:lnTo>
                  <a:lnTo>
                    <a:pt x="561" y="7"/>
                  </a:lnTo>
                  <a:lnTo>
                    <a:pt x="544" y="7"/>
                  </a:lnTo>
                  <a:lnTo>
                    <a:pt x="526" y="10"/>
                  </a:lnTo>
                  <a:lnTo>
                    <a:pt x="506" y="10"/>
                  </a:lnTo>
                  <a:lnTo>
                    <a:pt x="477" y="7"/>
                  </a:lnTo>
                  <a:lnTo>
                    <a:pt x="457" y="7"/>
                  </a:lnTo>
                  <a:lnTo>
                    <a:pt x="442" y="7"/>
                  </a:lnTo>
                  <a:lnTo>
                    <a:pt x="432" y="7"/>
                  </a:lnTo>
                  <a:lnTo>
                    <a:pt x="432" y="10"/>
                  </a:lnTo>
                  <a:lnTo>
                    <a:pt x="432" y="12"/>
                  </a:lnTo>
                  <a:lnTo>
                    <a:pt x="432" y="15"/>
                  </a:lnTo>
                  <a:lnTo>
                    <a:pt x="432" y="20"/>
                  </a:lnTo>
                  <a:lnTo>
                    <a:pt x="432" y="22"/>
                  </a:lnTo>
                  <a:lnTo>
                    <a:pt x="432" y="27"/>
                  </a:lnTo>
                  <a:lnTo>
                    <a:pt x="432" y="30"/>
                  </a:lnTo>
                  <a:lnTo>
                    <a:pt x="432" y="32"/>
                  </a:lnTo>
                  <a:close/>
                  <a:moveTo>
                    <a:pt x="569" y="35"/>
                  </a:moveTo>
                  <a:lnTo>
                    <a:pt x="588" y="37"/>
                  </a:lnTo>
                  <a:lnTo>
                    <a:pt x="606" y="42"/>
                  </a:lnTo>
                  <a:lnTo>
                    <a:pt x="621" y="50"/>
                  </a:lnTo>
                  <a:lnTo>
                    <a:pt x="631" y="62"/>
                  </a:lnTo>
                  <a:lnTo>
                    <a:pt x="636" y="77"/>
                  </a:lnTo>
                  <a:lnTo>
                    <a:pt x="638" y="95"/>
                  </a:lnTo>
                  <a:lnTo>
                    <a:pt x="636" y="110"/>
                  </a:lnTo>
                  <a:lnTo>
                    <a:pt x="633" y="120"/>
                  </a:lnTo>
                  <a:lnTo>
                    <a:pt x="626" y="130"/>
                  </a:lnTo>
                  <a:lnTo>
                    <a:pt x="618" y="137"/>
                  </a:lnTo>
                  <a:lnTo>
                    <a:pt x="611" y="140"/>
                  </a:lnTo>
                  <a:lnTo>
                    <a:pt x="603" y="140"/>
                  </a:lnTo>
                  <a:lnTo>
                    <a:pt x="591" y="142"/>
                  </a:lnTo>
                  <a:lnTo>
                    <a:pt x="579" y="142"/>
                  </a:lnTo>
                  <a:lnTo>
                    <a:pt x="569" y="142"/>
                  </a:lnTo>
                  <a:lnTo>
                    <a:pt x="561" y="142"/>
                  </a:lnTo>
                  <a:lnTo>
                    <a:pt x="556" y="142"/>
                  </a:lnTo>
                  <a:lnTo>
                    <a:pt x="551" y="142"/>
                  </a:lnTo>
                  <a:lnTo>
                    <a:pt x="549" y="140"/>
                  </a:lnTo>
                  <a:lnTo>
                    <a:pt x="549" y="137"/>
                  </a:lnTo>
                  <a:lnTo>
                    <a:pt x="549" y="127"/>
                  </a:lnTo>
                  <a:lnTo>
                    <a:pt x="549" y="117"/>
                  </a:lnTo>
                  <a:lnTo>
                    <a:pt x="549" y="105"/>
                  </a:lnTo>
                  <a:lnTo>
                    <a:pt x="549" y="95"/>
                  </a:lnTo>
                  <a:lnTo>
                    <a:pt x="549" y="82"/>
                  </a:lnTo>
                  <a:lnTo>
                    <a:pt x="549" y="72"/>
                  </a:lnTo>
                  <a:lnTo>
                    <a:pt x="549" y="62"/>
                  </a:lnTo>
                  <a:lnTo>
                    <a:pt x="549" y="55"/>
                  </a:lnTo>
                  <a:lnTo>
                    <a:pt x="549" y="47"/>
                  </a:lnTo>
                  <a:lnTo>
                    <a:pt x="549" y="42"/>
                  </a:lnTo>
                  <a:lnTo>
                    <a:pt x="551" y="40"/>
                  </a:lnTo>
                  <a:lnTo>
                    <a:pt x="551" y="37"/>
                  </a:lnTo>
                  <a:lnTo>
                    <a:pt x="554" y="35"/>
                  </a:lnTo>
                  <a:lnTo>
                    <a:pt x="556" y="35"/>
                  </a:lnTo>
                  <a:lnTo>
                    <a:pt x="561" y="35"/>
                  </a:lnTo>
                  <a:lnTo>
                    <a:pt x="566" y="35"/>
                  </a:lnTo>
                  <a:lnTo>
                    <a:pt x="569" y="35"/>
                  </a:lnTo>
                  <a:close/>
                  <a:moveTo>
                    <a:pt x="596" y="305"/>
                  </a:moveTo>
                  <a:lnTo>
                    <a:pt x="591" y="305"/>
                  </a:lnTo>
                  <a:lnTo>
                    <a:pt x="583" y="305"/>
                  </a:lnTo>
                  <a:lnTo>
                    <a:pt x="579" y="303"/>
                  </a:lnTo>
                  <a:lnTo>
                    <a:pt x="571" y="300"/>
                  </a:lnTo>
                  <a:lnTo>
                    <a:pt x="564" y="298"/>
                  </a:lnTo>
                  <a:lnTo>
                    <a:pt x="559" y="295"/>
                  </a:lnTo>
                  <a:lnTo>
                    <a:pt x="556" y="293"/>
                  </a:lnTo>
                  <a:lnTo>
                    <a:pt x="554" y="288"/>
                  </a:lnTo>
                  <a:lnTo>
                    <a:pt x="551" y="283"/>
                  </a:lnTo>
                  <a:lnTo>
                    <a:pt x="549" y="275"/>
                  </a:lnTo>
                  <a:lnTo>
                    <a:pt x="549" y="268"/>
                  </a:lnTo>
                  <a:lnTo>
                    <a:pt x="549" y="255"/>
                  </a:lnTo>
                  <a:lnTo>
                    <a:pt x="549" y="245"/>
                  </a:lnTo>
                  <a:lnTo>
                    <a:pt x="549" y="230"/>
                  </a:lnTo>
                  <a:lnTo>
                    <a:pt x="549" y="218"/>
                  </a:lnTo>
                  <a:lnTo>
                    <a:pt x="549" y="203"/>
                  </a:lnTo>
                  <a:lnTo>
                    <a:pt x="549" y="188"/>
                  </a:lnTo>
                  <a:lnTo>
                    <a:pt x="549" y="173"/>
                  </a:lnTo>
                  <a:lnTo>
                    <a:pt x="549" y="170"/>
                  </a:lnTo>
                  <a:lnTo>
                    <a:pt x="551" y="170"/>
                  </a:lnTo>
                  <a:lnTo>
                    <a:pt x="554" y="170"/>
                  </a:lnTo>
                  <a:lnTo>
                    <a:pt x="556" y="170"/>
                  </a:lnTo>
                  <a:lnTo>
                    <a:pt x="561" y="170"/>
                  </a:lnTo>
                  <a:lnTo>
                    <a:pt x="566" y="170"/>
                  </a:lnTo>
                  <a:lnTo>
                    <a:pt x="569" y="170"/>
                  </a:lnTo>
                  <a:lnTo>
                    <a:pt x="588" y="170"/>
                  </a:lnTo>
                  <a:lnTo>
                    <a:pt x="606" y="175"/>
                  </a:lnTo>
                  <a:lnTo>
                    <a:pt x="621" y="180"/>
                  </a:lnTo>
                  <a:lnTo>
                    <a:pt x="631" y="188"/>
                  </a:lnTo>
                  <a:lnTo>
                    <a:pt x="641" y="198"/>
                  </a:lnTo>
                  <a:lnTo>
                    <a:pt x="648" y="210"/>
                  </a:lnTo>
                  <a:lnTo>
                    <a:pt x="651" y="223"/>
                  </a:lnTo>
                  <a:lnTo>
                    <a:pt x="653" y="238"/>
                  </a:lnTo>
                  <a:lnTo>
                    <a:pt x="651" y="260"/>
                  </a:lnTo>
                  <a:lnTo>
                    <a:pt x="646" y="275"/>
                  </a:lnTo>
                  <a:lnTo>
                    <a:pt x="636" y="288"/>
                  </a:lnTo>
                  <a:lnTo>
                    <a:pt x="626" y="298"/>
                  </a:lnTo>
                  <a:lnTo>
                    <a:pt x="611" y="303"/>
                  </a:lnTo>
                  <a:lnTo>
                    <a:pt x="596" y="305"/>
                  </a:lnTo>
                  <a:close/>
                  <a:moveTo>
                    <a:pt x="976" y="225"/>
                  </a:moveTo>
                  <a:lnTo>
                    <a:pt x="973" y="223"/>
                  </a:lnTo>
                  <a:lnTo>
                    <a:pt x="971" y="225"/>
                  </a:lnTo>
                  <a:lnTo>
                    <a:pt x="966" y="225"/>
                  </a:lnTo>
                  <a:lnTo>
                    <a:pt x="963" y="225"/>
                  </a:lnTo>
                  <a:lnTo>
                    <a:pt x="958" y="228"/>
                  </a:lnTo>
                  <a:lnTo>
                    <a:pt x="956" y="228"/>
                  </a:lnTo>
                  <a:lnTo>
                    <a:pt x="954" y="230"/>
                  </a:lnTo>
                  <a:lnTo>
                    <a:pt x="951" y="233"/>
                  </a:lnTo>
                  <a:lnTo>
                    <a:pt x="951" y="240"/>
                  </a:lnTo>
                  <a:lnTo>
                    <a:pt x="954" y="248"/>
                  </a:lnTo>
                  <a:lnTo>
                    <a:pt x="956" y="258"/>
                  </a:lnTo>
                  <a:lnTo>
                    <a:pt x="956" y="270"/>
                  </a:lnTo>
                  <a:lnTo>
                    <a:pt x="958" y="280"/>
                  </a:lnTo>
                  <a:lnTo>
                    <a:pt x="961" y="290"/>
                  </a:lnTo>
                  <a:lnTo>
                    <a:pt x="963" y="300"/>
                  </a:lnTo>
                  <a:lnTo>
                    <a:pt x="966" y="310"/>
                  </a:lnTo>
                  <a:lnTo>
                    <a:pt x="968" y="315"/>
                  </a:lnTo>
                  <a:lnTo>
                    <a:pt x="971" y="320"/>
                  </a:lnTo>
                  <a:lnTo>
                    <a:pt x="981" y="323"/>
                  </a:lnTo>
                  <a:lnTo>
                    <a:pt x="991" y="328"/>
                  </a:lnTo>
                  <a:lnTo>
                    <a:pt x="1006" y="330"/>
                  </a:lnTo>
                  <a:lnTo>
                    <a:pt x="1021" y="335"/>
                  </a:lnTo>
                  <a:lnTo>
                    <a:pt x="1038" y="338"/>
                  </a:lnTo>
                  <a:lnTo>
                    <a:pt x="1055" y="338"/>
                  </a:lnTo>
                  <a:lnTo>
                    <a:pt x="1085" y="335"/>
                  </a:lnTo>
                  <a:lnTo>
                    <a:pt x="1110" y="330"/>
                  </a:lnTo>
                  <a:lnTo>
                    <a:pt x="1132" y="320"/>
                  </a:lnTo>
                  <a:lnTo>
                    <a:pt x="1150" y="308"/>
                  </a:lnTo>
                  <a:lnTo>
                    <a:pt x="1165" y="293"/>
                  </a:lnTo>
                  <a:lnTo>
                    <a:pt x="1175" y="275"/>
                  </a:lnTo>
                  <a:lnTo>
                    <a:pt x="1180" y="255"/>
                  </a:lnTo>
                  <a:lnTo>
                    <a:pt x="1182" y="235"/>
                  </a:lnTo>
                  <a:lnTo>
                    <a:pt x="1180" y="218"/>
                  </a:lnTo>
                  <a:lnTo>
                    <a:pt x="1177" y="203"/>
                  </a:lnTo>
                  <a:lnTo>
                    <a:pt x="1170" y="188"/>
                  </a:lnTo>
                  <a:lnTo>
                    <a:pt x="1157" y="175"/>
                  </a:lnTo>
                  <a:lnTo>
                    <a:pt x="1145" y="165"/>
                  </a:lnTo>
                  <a:lnTo>
                    <a:pt x="1127" y="155"/>
                  </a:lnTo>
                  <a:lnTo>
                    <a:pt x="1117" y="147"/>
                  </a:lnTo>
                  <a:lnTo>
                    <a:pt x="1108" y="142"/>
                  </a:lnTo>
                  <a:lnTo>
                    <a:pt x="1098" y="135"/>
                  </a:lnTo>
                  <a:lnTo>
                    <a:pt x="1085" y="130"/>
                  </a:lnTo>
                  <a:lnTo>
                    <a:pt x="1075" y="125"/>
                  </a:lnTo>
                  <a:lnTo>
                    <a:pt x="1065" y="117"/>
                  </a:lnTo>
                  <a:lnTo>
                    <a:pt x="1055" y="112"/>
                  </a:lnTo>
                  <a:lnTo>
                    <a:pt x="1045" y="105"/>
                  </a:lnTo>
                  <a:lnTo>
                    <a:pt x="1038" y="97"/>
                  </a:lnTo>
                  <a:lnTo>
                    <a:pt x="1033" y="90"/>
                  </a:lnTo>
                  <a:lnTo>
                    <a:pt x="1031" y="80"/>
                  </a:lnTo>
                  <a:lnTo>
                    <a:pt x="1031" y="67"/>
                  </a:lnTo>
                  <a:lnTo>
                    <a:pt x="1031" y="57"/>
                  </a:lnTo>
                  <a:lnTo>
                    <a:pt x="1035" y="47"/>
                  </a:lnTo>
                  <a:lnTo>
                    <a:pt x="1043" y="37"/>
                  </a:lnTo>
                  <a:lnTo>
                    <a:pt x="1050" y="30"/>
                  </a:lnTo>
                  <a:lnTo>
                    <a:pt x="1063" y="25"/>
                  </a:lnTo>
                  <a:lnTo>
                    <a:pt x="1075" y="25"/>
                  </a:lnTo>
                  <a:lnTo>
                    <a:pt x="1088" y="25"/>
                  </a:lnTo>
                  <a:lnTo>
                    <a:pt x="1098" y="27"/>
                  </a:lnTo>
                  <a:lnTo>
                    <a:pt x="1108" y="30"/>
                  </a:lnTo>
                  <a:lnTo>
                    <a:pt x="1115" y="35"/>
                  </a:lnTo>
                  <a:lnTo>
                    <a:pt x="1120" y="40"/>
                  </a:lnTo>
                  <a:lnTo>
                    <a:pt x="1125" y="47"/>
                  </a:lnTo>
                  <a:lnTo>
                    <a:pt x="1130" y="55"/>
                  </a:lnTo>
                  <a:lnTo>
                    <a:pt x="1132" y="65"/>
                  </a:lnTo>
                  <a:lnTo>
                    <a:pt x="1135" y="77"/>
                  </a:lnTo>
                  <a:lnTo>
                    <a:pt x="1140" y="90"/>
                  </a:lnTo>
                  <a:lnTo>
                    <a:pt x="1140" y="92"/>
                  </a:lnTo>
                  <a:lnTo>
                    <a:pt x="1142" y="92"/>
                  </a:lnTo>
                  <a:lnTo>
                    <a:pt x="1147" y="92"/>
                  </a:lnTo>
                  <a:lnTo>
                    <a:pt x="1150" y="92"/>
                  </a:lnTo>
                  <a:lnTo>
                    <a:pt x="1155" y="92"/>
                  </a:lnTo>
                  <a:lnTo>
                    <a:pt x="1157" y="92"/>
                  </a:lnTo>
                  <a:lnTo>
                    <a:pt x="1160" y="90"/>
                  </a:lnTo>
                  <a:lnTo>
                    <a:pt x="1162" y="90"/>
                  </a:lnTo>
                  <a:lnTo>
                    <a:pt x="1165" y="75"/>
                  </a:lnTo>
                  <a:lnTo>
                    <a:pt x="1165" y="60"/>
                  </a:lnTo>
                  <a:lnTo>
                    <a:pt x="1167" y="45"/>
                  </a:lnTo>
                  <a:lnTo>
                    <a:pt x="1167" y="32"/>
                  </a:lnTo>
                  <a:lnTo>
                    <a:pt x="1170" y="20"/>
                  </a:lnTo>
                  <a:lnTo>
                    <a:pt x="1172" y="10"/>
                  </a:lnTo>
                  <a:lnTo>
                    <a:pt x="1162" y="7"/>
                  </a:lnTo>
                  <a:lnTo>
                    <a:pt x="1150" y="7"/>
                  </a:lnTo>
                  <a:lnTo>
                    <a:pt x="1140" y="5"/>
                  </a:lnTo>
                  <a:lnTo>
                    <a:pt x="1130" y="2"/>
                  </a:lnTo>
                  <a:lnTo>
                    <a:pt x="1120" y="2"/>
                  </a:lnTo>
                  <a:lnTo>
                    <a:pt x="1108" y="0"/>
                  </a:lnTo>
                  <a:lnTo>
                    <a:pt x="1095" y="0"/>
                  </a:lnTo>
                  <a:lnTo>
                    <a:pt x="1080" y="0"/>
                  </a:lnTo>
                  <a:lnTo>
                    <a:pt x="1058" y="0"/>
                  </a:lnTo>
                  <a:lnTo>
                    <a:pt x="1035" y="5"/>
                  </a:lnTo>
                  <a:lnTo>
                    <a:pt x="1018" y="12"/>
                  </a:lnTo>
                  <a:lnTo>
                    <a:pt x="1001" y="25"/>
                  </a:lnTo>
                  <a:lnTo>
                    <a:pt x="986" y="37"/>
                  </a:lnTo>
                  <a:lnTo>
                    <a:pt x="976" y="55"/>
                  </a:lnTo>
                  <a:lnTo>
                    <a:pt x="968" y="72"/>
                  </a:lnTo>
                  <a:lnTo>
                    <a:pt x="966" y="95"/>
                  </a:lnTo>
                  <a:lnTo>
                    <a:pt x="968" y="115"/>
                  </a:lnTo>
                  <a:lnTo>
                    <a:pt x="973" y="132"/>
                  </a:lnTo>
                  <a:lnTo>
                    <a:pt x="983" y="147"/>
                  </a:lnTo>
                  <a:lnTo>
                    <a:pt x="993" y="160"/>
                  </a:lnTo>
                  <a:lnTo>
                    <a:pt x="1006" y="173"/>
                  </a:lnTo>
                  <a:lnTo>
                    <a:pt x="1021" y="183"/>
                  </a:lnTo>
                  <a:lnTo>
                    <a:pt x="1035" y="190"/>
                  </a:lnTo>
                  <a:lnTo>
                    <a:pt x="1050" y="200"/>
                  </a:lnTo>
                  <a:lnTo>
                    <a:pt x="1068" y="210"/>
                  </a:lnTo>
                  <a:lnTo>
                    <a:pt x="1083" y="220"/>
                  </a:lnTo>
                  <a:lnTo>
                    <a:pt x="1095" y="230"/>
                  </a:lnTo>
                  <a:lnTo>
                    <a:pt x="1103" y="238"/>
                  </a:lnTo>
                  <a:lnTo>
                    <a:pt x="1108" y="245"/>
                  </a:lnTo>
                  <a:lnTo>
                    <a:pt x="1112" y="253"/>
                  </a:lnTo>
                  <a:lnTo>
                    <a:pt x="1112" y="260"/>
                  </a:lnTo>
                  <a:lnTo>
                    <a:pt x="1115" y="270"/>
                  </a:lnTo>
                  <a:lnTo>
                    <a:pt x="1112" y="280"/>
                  </a:lnTo>
                  <a:lnTo>
                    <a:pt x="1110" y="288"/>
                  </a:lnTo>
                  <a:lnTo>
                    <a:pt x="1105" y="295"/>
                  </a:lnTo>
                  <a:lnTo>
                    <a:pt x="1100" y="300"/>
                  </a:lnTo>
                  <a:lnTo>
                    <a:pt x="1093" y="305"/>
                  </a:lnTo>
                  <a:lnTo>
                    <a:pt x="1085" y="308"/>
                  </a:lnTo>
                  <a:lnTo>
                    <a:pt x="1075" y="310"/>
                  </a:lnTo>
                  <a:lnTo>
                    <a:pt x="1068" y="310"/>
                  </a:lnTo>
                  <a:lnTo>
                    <a:pt x="1060" y="310"/>
                  </a:lnTo>
                  <a:lnTo>
                    <a:pt x="1053" y="308"/>
                  </a:lnTo>
                  <a:lnTo>
                    <a:pt x="1043" y="305"/>
                  </a:lnTo>
                  <a:lnTo>
                    <a:pt x="1035" y="303"/>
                  </a:lnTo>
                  <a:lnTo>
                    <a:pt x="1028" y="300"/>
                  </a:lnTo>
                  <a:lnTo>
                    <a:pt x="1021" y="295"/>
                  </a:lnTo>
                  <a:lnTo>
                    <a:pt x="1006" y="283"/>
                  </a:lnTo>
                  <a:lnTo>
                    <a:pt x="996" y="268"/>
                  </a:lnTo>
                  <a:lnTo>
                    <a:pt x="986" y="248"/>
                  </a:lnTo>
                  <a:lnTo>
                    <a:pt x="976" y="225"/>
                  </a:lnTo>
                  <a:close/>
                </a:path>
              </a:pathLst>
            </a:custGeom>
            <a:solidFill>
              <a:srgbClr val="17357C"/>
            </a:solidFill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2078" name="Freeform 23"/>
            <p:cNvSpPr>
              <a:spLocks noEditPoints="1"/>
            </p:cNvSpPr>
            <p:nvPr/>
          </p:nvSpPr>
          <p:spPr bwMode="auto">
            <a:xfrm>
              <a:off x="2361" y="2180"/>
              <a:ext cx="1193" cy="91"/>
            </a:xfrm>
            <a:custGeom>
              <a:avLst/>
              <a:gdLst>
                <a:gd name="T0" fmla="*/ 42 w 1192"/>
                <a:gd name="T1" fmla="*/ 43 h 91"/>
                <a:gd name="T2" fmla="*/ 40 w 1192"/>
                <a:gd name="T3" fmla="*/ 3 h 91"/>
                <a:gd name="T4" fmla="*/ 27 w 1192"/>
                <a:gd name="T5" fmla="*/ 28 h 91"/>
                <a:gd name="T6" fmla="*/ 2 w 1192"/>
                <a:gd name="T7" fmla="*/ 53 h 91"/>
                <a:gd name="T8" fmla="*/ 74 w 1192"/>
                <a:gd name="T9" fmla="*/ 3 h 91"/>
                <a:gd name="T10" fmla="*/ 99 w 1192"/>
                <a:gd name="T11" fmla="*/ 28 h 91"/>
                <a:gd name="T12" fmla="*/ 92 w 1192"/>
                <a:gd name="T13" fmla="*/ 71 h 91"/>
                <a:gd name="T14" fmla="*/ 139 w 1192"/>
                <a:gd name="T15" fmla="*/ 41 h 91"/>
                <a:gd name="T16" fmla="*/ 134 w 1192"/>
                <a:gd name="T17" fmla="*/ 21 h 91"/>
                <a:gd name="T18" fmla="*/ 156 w 1192"/>
                <a:gd name="T19" fmla="*/ 66 h 91"/>
                <a:gd name="T20" fmla="*/ 151 w 1192"/>
                <a:gd name="T21" fmla="*/ 61 h 91"/>
                <a:gd name="T22" fmla="*/ 171 w 1192"/>
                <a:gd name="T23" fmla="*/ 21 h 91"/>
                <a:gd name="T24" fmla="*/ 236 w 1192"/>
                <a:gd name="T25" fmla="*/ 53 h 91"/>
                <a:gd name="T26" fmla="*/ 246 w 1192"/>
                <a:gd name="T27" fmla="*/ 46 h 91"/>
                <a:gd name="T28" fmla="*/ 223 w 1192"/>
                <a:gd name="T29" fmla="*/ 26 h 91"/>
                <a:gd name="T30" fmla="*/ 280 w 1192"/>
                <a:gd name="T31" fmla="*/ 68 h 91"/>
                <a:gd name="T32" fmla="*/ 295 w 1192"/>
                <a:gd name="T33" fmla="*/ 73 h 91"/>
                <a:gd name="T34" fmla="*/ 285 w 1192"/>
                <a:gd name="T35" fmla="*/ 53 h 91"/>
                <a:gd name="T36" fmla="*/ 449 w 1192"/>
                <a:gd name="T37" fmla="*/ 13 h 91"/>
                <a:gd name="T38" fmla="*/ 430 w 1192"/>
                <a:gd name="T39" fmla="*/ 71 h 91"/>
                <a:gd name="T40" fmla="*/ 412 w 1192"/>
                <a:gd name="T41" fmla="*/ 31 h 91"/>
                <a:gd name="T42" fmla="*/ 412 w 1192"/>
                <a:gd name="T43" fmla="*/ 38 h 91"/>
                <a:gd name="T44" fmla="*/ 474 w 1192"/>
                <a:gd name="T45" fmla="*/ 53 h 91"/>
                <a:gd name="T46" fmla="*/ 524 w 1192"/>
                <a:gd name="T47" fmla="*/ 53 h 91"/>
                <a:gd name="T48" fmla="*/ 516 w 1192"/>
                <a:gd name="T49" fmla="*/ 36 h 91"/>
                <a:gd name="T50" fmla="*/ 544 w 1192"/>
                <a:gd name="T51" fmla="*/ 31 h 91"/>
                <a:gd name="T52" fmla="*/ 554 w 1192"/>
                <a:gd name="T53" fmla="*/ 48 h 91"/>
                <a:gd name="T54" fmla="*/ 566 w 1192"/>
                <a:gd name="T55" fmla="*/ 11 h 91"/>
                <a:gd name="T56" fmla="*/ 586 w 1192"/>
                <a:gd name="T57" fmla="*/ 21 h 91"/>
                <a:gd name="T58" fmla="*/ 618 w 1192"/>
                <a:gd name="T59" fmla="*/ 33 h 91"/>
                <a:gd name="T60" fmla="*/ 651 w 1192"/>
                <a:gd name="T61" fmla="*/ 68 h 91"/>
                <a:gd name="T62" fmla="*/ 653 w 1192"/>
                <a:gd name="T63" fmla="*/ 63 h 91"/>
                <a:gd name="T64" fmla="*/ 698 w 1192"/>
                <a:gd name="T65" fmla="*/ 53 h 91"/>
                <a:gd name="T66" fmla="*/ 690 w 1192"/>
                <a:gd name="T67" fmla="*/ 36 h 91"/>
                <a:gd name="T68" fmla="*/ 718 w 1192"/>
                <a:gd name="T69" fmla="*/ 31 h 91"/>
                <a:gd name="T70" fmla="*/ 728 w 1192"/>
                <a:gd name="T71" fmla="*/ 48 h 91"/>
                <a:gd name="T72" fmla="*/ 752 w 1192"/>
                <a:gd name="T73" fmla="*/ 63 h 91"/>
                <a:gd name="T74" fmla="*/ 740 w 1192"/>
                <a:gd name="T75" fmla="*/ 28 h 91"/>
                <a:gd name="T76" fmla="*/ 755 w 1192"/>
                <a:gd name="T77" fmla="*/ 26 h 91"/>
                <a:gd name="T78" fmla="*/ 777 w 1192"/>
                <a:gd name="T79" fmla="*/ 58 h 91"/>
                <a:gd name="T80" fmla="*/ 839 w 1192"/>
                <a:gd name="T81" fmla="*/ 63 h 91"/>
                <a:gd name="T82" fmla="*/ 814 w 1192"/>
                <a:gd name="T83" fmla="*/ 23 h 91"/>
                <a:gd name="T84" fmla="*/ 844 w 1192"/>
                <a:gd name="T85" fmla="*/ 8 h 91"/>
                <a:gd name="T86" fmla="*/ 862 w 1192"/>
                <a:gd name="T87" fmla="*/ 61 h 91"/>
                <a:gd name="T88" fmla="*/ 914 w 1192"/>
                <a:gd name="T89" fmla="*/ 26 h 91"/>
                <a:gd name="T90" fmla="*/ 896 w 1192"/>
                <a:gd name="T91" fmla="*/ 63 h 91"/>
                <a:gd name="T92" fmla="*/ 929 w 1192"/>
                <a:gd name="T93" fmla="*/ 71 h 91"/>
                <a:gd name="T94" fmla="*/ 959 w 1192"/>
                <a:gd name="T95" fmla="*/ 56 h 91"/>
                <a:gd name="T96" fmla="*/ 1018 w 1192"/>
                <a:gd name="T97" fmla="*/ 71 h 91"/>
                <a:gd name="T98" fmla="*/ 1013 w 1192"/>
                <a:gd name="T99" fmla="*/ 26 h 91"/>
                <a:gd name="T100" fmla="*/ 1038 w 1192"/>
                <a:gd name="T101" fmla="*/ 21 h 91"/>
                <a:gd name="T102" fmla="*/ 1070 w 1192"/>
                <a:gd name="T103" fmla="*/ 71 h 91"/>
                <a:gd name="T104" fmla="*/ 1070 w 1192"/>
                <a:gd name="T105" fmla="*/ 26 h 91"/>
                <a:gd name="T106" fmla="*/ 1142 w 1192"/>
                <a:gd name="T107" fmla="*/ 33 h 91"/>
                <a:gd name="T108" fmla="*/ 1152 w 1192"/>
                <a:gd name="T109" fmla="*/ 56 h 91"/>
                <a:gd name="T110" fmla="*/ 1155 w 1192"/>
                <a:gd name="T111" fmla="*/ 41 h 91"/>
                <a:gd name="T112" fmla="*/ 1182 w 1192"/>
                <a:gd name="T113" fmla="*/ 33 h 91"/>
                <a:gd name="T114" fmla="*/ 1190 w 1192"/>
                <a:gd name="T115" fmla="*/ 46 h 91"/>
                <a:gd name="T116" fmla="*/ 360 w 1192"/>
                <a:gd name="T117" fmla="*/ 66 h 91"/>
                <a:gd name="T118" fmla="*/ 357 w 1192"/>
                <a:gd name="T119" fmla="*/ 36 h 91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1192" h="91">
                  <a:moveTo>
                    <a:pt x="0" y="48"/>
                  </a:moveTo>
                  <a:lnTo>
                    <a:pt x="10" y="48"/>
                  </a:lnTo>
                  <a:lnTo>
                    <a:pt x="10" y="51"/>
                  </a:lnTo>
                  <a:lnTo>
                    <a:pt x="12" y="56"/>
                  </a:lnTo>
                  <a:lnTo>
                    <a:pt x="15" y="58"/>
                  </a:lnTo>
                  <a:lnTo>
                    <a:pt x="17" y="61"/>
                  </a:lnTo>
                  <a:lnTo>
                    <a:pt x="22" y="63"/>
                  </a:lnTo>
                  <a:lnTo>
                    <a:pt x="30" y="63"/>
                  </a:lnTo>
                  <a:lnTo>
                    <a:pt x="35" y="63"/>
                  </a:lnTo>
                  <a:lnTo>
                    <a:pt x="37" y="61"/>
                  </a:lnTo>
                  <a:lnTo>
                    <a:pt x="42" y="58"/>
                  </a:lnTo>
                  <a:lnTo>
                    <a:pt x="45" y="58"/>
                  </a:lnTo>
                  <a:lnTo>
                    <a:pt x="45" y="53"/>
                  </a:lnTo>
                  <a:lnTo>
                    <a:pt x="45" y="51"/>
                  </a:lnTo>
                  <a:lnTo>
                    <a:pt x="45" y="48"/>
                  </a:lnTo>
                  <a:lnTo>
                    <a:pt x="45" y="46"/>
                  </a:lnTo>
                  <a:lnTo>
                    <a:pt x="42" y="43"/>
                  </a:lnTo>
                  <a:lnTo>
                    <a:pt x="37" y="41"/>
                  </a:lnTo>
                  <a:lnTo>
                    <a:pt x="32" y="41"/>
                  </a:lnTo>
                  <a:lnTo>
                    <a:pt x="25" y="38"/>
                  </a:lnTo>
                  <a:lnTo>
                    <a:pt x="17" y="36"/>
                  </a:lnTo>
                  <a:lnTo>
                    <a:pt x="12" y="33"/>
                  </a:lnTo>
                  <a:lnTo>
                    <a:pt x="7" y="31"/>
                  </a:lnTo>
                  <a:lnTo>
                    <a:pt x="5" y="28"/>
                  </a:lnTo>
                  <a:lnTo>
                    <a:pt x="2" y="23"/>
                  </a:lnTo>
                  <a:lnTo>
                    <a:pt x="2" y="18"/>
                  </a:lnTo>
                  <a:lnTo>
                    <a:pt x="2" y="13"/>
                  </a:lnTo>
                  <a:lnTo>
                    <a:pt x="5" y="11"/>
                  </a:lnTo>
                  <a:lnTo>
                    <a:pt x="10" y="5"/>
                  </a:lnTo>
                  <a:lnTo>
                    <a:pt x="15" y="3"/>
                  </a:lnTo>
                  <a:lnTo>
                    <a:pt x="20" y="0"/>
                  </a:lnTo>
                  <a:lnTo>
                    <a:pt x="27" y="0"/>
                  </a:lnTo>
                  <a:lnTo>
                    <a:pt x="35" y="0"/>
                  </a:lnTo>
                  <a:lnTo>
                    <a:pt x="40" y="3"/>
                  </a:lnTo>
                  <a:lnTo>
                    <a:pt x="45" y="5"/>
                  </a:lnTo>
                  <a:lnTo>
                    <a:pt x="50" y="11"/>
                  </a:lnTo>
                  <a:lnTo>
                    <a:pt x="52" y="16"/>
                  </a:lnTo>
                  <a:lnTo>
                    <a:pt x="52" y="21"/>
                  </a:lnTo>
                  <a:lnTo>
                    <a:pt x="45" y="21"/>
                  </a:lnTo>
                  <a:lnTo>
                    <a:pt x="42" y="16"/>
                  </a:lnTo>
                  <a:lnTo>
                    <a:pt x="40" y="11"/>
                  </a:lnTo>
                  <a:lnTo>
                    <a:pt x="35" y="8"/>
                  </a:lnTo>
                  <a:lnTo>
                    <a:pt x="27" y="8"/>
                  </a:lnTo>
                  <a:lnTo>
                    <a:pt x="20" y="8"/>
                  </a:lnTo>
                  <a:lnTo>
                    <a:pt x="15" y="11"/>
                  </a:lnTo>
                  <a:lnTo>
                    <a:pt x="12" y="16"/>
                  </a:lnTo>
                  <a:lnTo>
                    <a:pt x="12" y="18"/>
                  </a:lnTo>
                  <a:lnTo>
                    <a:pt x="12" y="21"/>
                  </a:lnTo>
                  <a:lnTo>
                    <a:pt x="15" y="26"/>
                  </a:lnTo>
                  <a:lnTo>
                    <a:pt x="20" y="28"/>
                  </a:lnTo>
                  <a:lnTo>
                    <a:pt x="27" y="28"/>
                  </a:lnTo>
                  <a:lnTo>
                    <a:pt x="37" y="31"/>
                  </a:lnTo>
                  <a:lnTo>
                    <a:pt x="42" y="33"/>
                  </a:lnTo>
                  <a:lnTo>
                    <a:pt x="47" y="36"/>
                  </a:lnTo>
                  <a:lnTo>
                    <a:pt x="52" y="41"/>
                  </a:lnTo>
                  <a:lnTo>
                    <a:pt x="54" y="46"/>
                  </a:lnTo>
                  <a:lnTo>
                    <a:pt x="54" y="51"/>
                  </a:lnTo>
                  <a:lnTo>
                    <a:pt x="54" y="56"/>
                  </a:lnTo>
                  <a:lnTo>
                    <a:pt x="52" y="61"/>
                  </a:lnTo>
                  <a:lnTo>
                    <a:pt x="47" y="66"/>
                  </a:lnTo>
                  <a:lnTo>
                    <a:pt x="42" y="68"/>
                  </a:lnTo>
                  <a:lnTo>
                    <a:pt x="37" y="71"/>
                  </a:lnTo>
                  <a:lnTo>
                    <a:pt x="30" y="71"/>
                  </a:lnTo>
                  <a:lnTo>
                    <a:pt x="20" y="71"/>
                  </a:lnTo>
                  <a:lnTo>
                    <a:pt x="15" y="68"/>
                  </a:lnTo>
                  <a:lnTo>
                    <a:pt x="7" y="66"/>
                  </a:lnTo>
                  <a:lnTo>
                    <a:pt x="5" y="61"/>
                  </a:lnTo>
                  <a:lnTo>
                    <a:pt x="2" y="53"/>
                  </a:lnTo>
                  <a:lnTo>
                    <a:pt x="0" y="48"/>
                  </a:lnTo>
                  <a:close/>
                  <a:moveTo>
                    <a:pt x="84" y="63"/>
                  </a:moveTo>
                  <a:lnTo>
                    <a:pt x="84" y="71"/>
                  </a:lnTo>
                  <a:lnTo>
                    <a:pt x="82" y="71"/>
                  </a:lnTo>
                  <a:lnTo>
                    <a:pt x="79" y="71"/>
                  </a:lnTo>
                  <a:lnTo>
                    <a:pt x="74" y="71"/>
                  </a:lnTo>
                  <a:lnTo>
                    <a:pt x="72" y="68"/>
                  </a:lnTo>
                  <a:lnTo>
                    <a:pt x="69" y="68"/>
                  </a:lnTo>
                  <a:lnTo>
                    <a:pt x="67" y="66"/>
                  </a:lnTo>
                  <a:lnTo>
                    <a:pt x="67" y="61"/>
                  </a:lnTo>
                  <a:lnTo>
                    <a:pt x="67" y="56"/>
                  </a:lnTo>
                  <a:lnTo>
                    <a:pt x="67" y="26"/>
                  </a:lnTo>
                  <a:lnTo>
                    <a:pt x="62" y="26"/>
                  </a:lnTo>
                  <a:lnTo>
                    <a:pt x="62" y="21"/>
                  </a:lnTo>
                  <a:lnTo>
                    <a:pt x="67" y="21"/>
                  </a:lnTo>
                  <a:lnTo>
                    <a:pt x="67" y="8"/>
                  </a:lnTo>
                  <a:lnTo>
                    <a:pt x="74" y="3"/>
                  </a:lnTo>
                  <a:lnTo>
                    <a:pt x="74" y="21"/>
                  </a:lnTo>
                  <a:lnTo>
                    <a:pt x="84" y="21"/>
                  </a:lnTo>
                  <a:lnTo>
                    <a:pt x="84" y="26"/>
                  </a:lnTo>
                  <a:lnTo>
                    <a:pt x="74" y="26"/>
                  </a:lnTo>
                  <a:lnTo>
                    <a:pt x="74" y="56"/>
                  </a:lnTo>
                  <a:lnTo>
                    <a:pt x="74" y="58"/>
                  </a:lnTo>
                  <a:lnTo>
                    <a:pt x="74" y="61"/>
                  </a:lnTo>
                  <a:lnTo>
                    <a:pt x="77" y="61"/>
                  </a:lnTo>
                  <a:lnTo>
                    <a:pt x="79" y="63"/>
                  </a:lnTo>
                  <a:lnTo>
                    <a:pt x="82" y="63"/>
                  </a:lnTo>
                  <a:lnTo>
                    <a:pt x="84" y="63"/>
                  </a:lnTo>
                  <a:close/>
                  <a:moveTo>
                    <a:pt x="92" y="71"/>
                  </a:moveTo>
                  <a:lnTo>
                    <a:pt x="92" y="21"/>
                  </a:lnTo>
                  <a:lnTo>
                    <a:pt x="99" y="21"/>
                  </a:lnTo>
                  <a:lnTo>
                    <a:pt x="99" y="28"/>
                  </a:lnTo>
                  <a:lnTo>
                    <a:pt x="102" y="23"/>
                  </a:lnTo>
                  <a:lnTo>
                    <a:pt x="104" y="21"/>
                  </a:lnTo>
                  <a:lnTo>
                    <a:pt x="107" y="21"/>
                  </a:lnTo>
                  <a:lnTo>
                    <a:pt x="109" y="18"/>
                  </a:lnTo>
                  <a:lnTo>
                    <a:pt x="114" y="21"/>
                  </a:lnTo>
                  <a:lnTo>
                    <a:pt x="119" y="21"/>
                  </a:lnTo>
                  <a:lnTo>
                    <a:pt x="117" y="31"/>
                  </a:lnTo>
                  <a:lnTo>
                    <a:pt x="112" y="28"/>
                  </a:lnTo>
                  <a:lnTo>
                    <a:pt x="109" y="28"/>
                  </a:lnTo>
                  <a:lnTo>
                    <a:pt x="107" y="28"/>
                  </a:lnTo>
                  <a:lnTo>
                    <a:pt x="104" y="31"/>
                  </a:lnTo>
                  <a:lnTo>
                    <a:pt x="102" y="31"/>
                  </a:lnTo>
                  <a:lnTo>
                    <a:pt x="102" y="33"/>
                  </a:lnTo>
                  <a:lnTo>
                    <a:pt x="99" y="38"/>
                  </a:lnTo>
                  <a:lnTo>
                    <a:pt x="99" y="43"/>
                  </a:lnTo>
                  <a:lnTo>
                    <a:pt x="99" y="71"/>
                  </a:lnTo>
                  <a:lnTo>
                    <a:pt x="92" y="71"/>
                  </a:lnTo>
                  <a:close/>
                  <a:moveTo>
                    <a:pt x="156" y="63"/>
                  </a:moveTo>
                  <a:lnTo>
                    <a:pt x="151" y="66"/>
                  </a:lnTo>
                  <a:lnTo>
                    <a:pt x="146" y="68"/>
                  </a:lnTo>
                  <a:lnTo>
                    <a:pt x="141" y="71"/>
                  </a:lnTo>
                  <a:lnTo>
                    <a:pt x="136" y="71"/>
                  </a:lnTo>
                  <a:lnTo>
                    <a:pt x="129" y="71"/>
                  </a:lnTo>
                  <a:lnTo>
                    <a:pt x="124" y="66"/>
                  </a:lnTo>
                  <a:lnTo>
                    <a:pt x="122" y="63"/>
                  </a:lnTo>
                  <a:lnTo>
                    <a:pt x="122" y="56"/>
                  </a:lnTo>
                  <a:lnTo>
                    <a:pt x="122" y="53"/>
                  </a:lnTo>
                  <a:lnTo>
                    <a:pt x="122" y="51"/>
                  </a:lnTo>
                  <a:lnTo>
                    <a:pt x="124" y="48"/>
                  </a:lnTo>
                  <a:lnTo>
                    <a:pt x="127" y="46"/>
                  </a:lnTo>
                  <a:lnTo>
                    <a:pt x="129" y="43"/>
                  </a:lnTo>
                  <a:lnTo>
                    <a:pt x="131" y="43"/>
                  </a:lnTo>
                  <a:lnTo>
                    <a:pt x="136" y="41"/>
                  </a:lnTo>
                  <a:lnTo>
                    <a:pt x="139" y="41"/>
                  </a:lnTo>
                  <a:lnTo>
                    <a:pt x="149" y="41"/>
                  </a:lnTo>
                  <a:lnTo>
                    <a:pt x="154" y="38"/>
                  </a:lnTo>
                  <a:lnTo>
                    <a:pt x="154" y="36"/>
                  </a:lnTo>
                  <a:lnTo>
                    <a:pt x="154" y="31"/>
                  </a:lnTo>
                  <a:lnTo>
                    <a:pt x="151" y="28"/>
                  </a:lnTo>
                  <a:lnTo>
                    <a:pt x="149" y="26"/>
                  </a:lnTo>
                  <a:lnTo>
                    <a:pt x="144" y="26"/>
                  </a:lnTo>
                  <a:lnTo>
                    <a:pt x="139" y="26"/>
                  </a:lnTo>
                  <a:lnTo>
                    <a:pt x="134" y="28"/>
                  </a:lnTo>
                  <a:lnTo>
                    <a:pt x="131" y="31"/>
                  </a:lnTo>
                  <a:lnTo>
                    <a:pt x="129" y="36"/>
                  </a:lnTo>
                  <a:lnTo>
                    <a:pt x="122" y="33"/>
                  </a:lnTo>
                  <a:lnTo>
                    <a:pt x="124" y="31"/>
                  </a:lnTo>
                  <a:lnTo>
                    <a:pt x="127" y="26"/>
                  </a:lnTo>
                  <a:lnTo>
                    <a:pt x="129" y="23"/>
                  </a:lnTo>
                  <a:lnTo>
                    <a:pt x="134" y="21"/>
                  </a:lnTo>
                  <a:lnTo>
                    <a:pt x="139" y="21"/>
                  </a:lnTo>
                  <a:lnTo>
                    <a:pt x="144" y="18"/>
                  </a:lnTo>
                  <a:lnTo>
                    <a:pt x="149" y="21"/>
                  </a:lnTo>
                  <a:lnTo>
                    <a:pt x="154" y="21"/>
                  </a:lnTo>
                  <a:lnTo>
                    <a:pt x="159" y="23"/>
                  </a:lnTo>
                  <a:lnTo>
                    <a:pt x="161" y="23"/>
                  </a:lnTo>
                  <a:lnTo>
                    <a:pt x="161" y="28"/>
                  </a:lnTo>
                  <a:lnTo>
                    <a:pt x="164" y="31"/>
                  </a:lnTo>
                  <a:lnTo>
                    <a:pt x="164" y="33"/>
                  </a:lnTo>
                  <a:lnTo>
                    <a:pt x="164" y="38"/>
                  </a:lnTo>
                  <a:lnTo>
                    <a:pt x="164" y="48"/>
                  </a:lnTo>
                  <a:lnTo>
                    <a:pt x="164" y="58"/>
                  </a:lnTo>
                  <a:lnTo>
                    <a:pt x="164" y="63"/>
                  </a:lnTo>
                  <a:lnTo>
                    <a:pt x="164" y="66"/>
                  </a:lnTo>
                  <a:lnTo>
                    <a:pt x="166" y="71"/>
                  </a:lnTo>
                  <a:lnTo>
                    <a:pt x="156" y="71"/>
                  </a:lnTo>
                  <a:lnTo>
                    <a:pt x="156" y="66"/>
                  </a:lnTo>
                  <a:lnTo>
                    <a:pt x="156" y="63"/>
                  </a:lnTo>
                  <a:close/>
                  <a:moveTo>
                    <a:pt x="154" y="46"/>
                  </a:moveTo>
                  <a:lnTo>
                    <a:pt x="149" y="46"/>
                  </a:lnTo>
                  <a:lnTo>
                    <a:pt x="141" y="48"/>
                  </a:lnTo>
                  <a:lnTo>
                    <a:pt x="136" y="48"/>
                  </a:lnTo>
                  <a:lnTo>
                    <a:pt x="134" y="51"/>
                  </a:lnTo>
                  <a:lnTo>
                    <a:pt x="131" y="51"/>
                  </a:lnTo>
                  <a:lnTo>
                    <a:pt x="131" y="53"/>
                  </a:lnTo>
                  <a:lnTo>
                    <a:pt x="129" y="53"/>
                  </a:lnTo>
                  <a:lnTo>
                    <a:pt x="129" y="56"/>
                  </a:lnTo>
                  <a:lnTo>
                    <a:pt x="129" y="61"/>
                  </a:lnTo>
                  <a:lnTo>
                    <a:pt x="131" y="63"/>
                  </a:lnTo>
                  <a:lnTo>
                    <a:pt x="134" y="63"/>
                  </a:lnTo>
                  <a:lnTo>
                    <a:pt x="139" y="63"/>
                  </a:lnTo>
                  <a:lnTo>
                    <a:pt x="144" y="63"/>
                  </a:lnTo>
                  <a:lnTo>
                    <a:pt x="149" y="63"/>
                  </a:lnTo>
                  <a:lnTo>
                    <a:pt x="151" y="61"/>
                  </a:lnTo>
                  <a:lnTo>
                    <a:pt x="154" y="56"/>
                  </a:lnTo>
                  <a:lnTo>
                    <a:pt x="154" y="53"/>
                  </a:lnTo>
                  <a:lnTo>
                    <a:pt x="154" y="48"/>
                  </a:lnTo>
                  <a:lnTo>
                    <a:pt x="154" y="46"/>
                  </a:lnTo>
                  <a:close/>
                  <a:moveTo>
                    <a:pt x="194" y="63"/>
                  </a:moveTo>
                  <a:lnTo>
                    <a:pt x="196" y="71"/>
                  </a:lnTo>
                  <a:lnTo>
                    <a:pt x="191" y="71"/>
                  </a:lnTo>
                  <a:lnTo>
                    <a:pt x="189" y="71"/>
                  </a:lnTo>
                  <a:lnTo>
                    <a:pt x="186" y="71"/>
                  </a:lnTo>
                  <a:lnTo>
                    <a:pt x="181" y="68"/>
                  </a:lnTo>
                  <a:lnTo>
                    <a:pt x="179" y="66"/>
                  </a:lnTo>
                  <a:lnTo>
                    <a:pt x="179" y="61"/>
                  </a:lnTo>
                  <a:lnTo>
                    <a:pt x="179" y="56"/>
                  </a:lnTo>
                  <a:lnTo>
                    <a:pt x="179" y="26"/>
                  </a:lnTo>
                  <a:lnTo>
                    <a:pt x="171" y="26"/>
                  </a:lnTo>
                  <a:lnTo>
                    <a:pt x="171" y="21"/>
                  </a:lnTo>
                  <a:lnTo>
                    <a:pt x="179" y="21"/>
                  </a:lnTo>
                  <a:lnTo>
                    <a:pt x="179" y="8"/>
                  </a:lnTo>
                  <a:lnTo>
                    <a:pt x="186" y="3"/>
                  </a:lnTo>
                  <a:lnTo>
                    <a:pt x="186" y="21"/>
                  </a:lnTo>
                  <a:lnTo>
                    <a:pt x="194" y="21"/>
                  </a:lnTo>
                  <a:lnTo>
                    <a:pt x="194" y="26"/>
                  </a:lnTo>
                  <a:lnTo>
                    <a:pt x="186" y="26"/>
                  </a:lnTo>
                  <a:lnTo>
                    <a:pt x="186" y="56"/>
                  </a:lnTo>
                  <a:lnTo>
                    <a:pt x="186" y="58"/>
                  </a:lnTo>
                  <a:lnTo>
                    <a:pt x="186" y="61"/>
                  </a:lnTo>
                  <a:lnTo>
                    <a:pt x="189" y="61"/>
                  </a:lnTo>
                  <a:lnTo>
                    <a:pt x="189" y="63"/>
                  </a:lnTo>
                  <a:lnTo>
                    <a:pt x="191" y="63"/>
                  </a:lnTo>
                  <a:lnTo>
                    <a:pt x="194" y="63"/>
                  </a:lnTo>
                  <a:close/>
                  <a:moveTo>
                    <a:pt x="236" y="53"/>
                  </a:moveTo>
                  <a:lnTo>
                    <a:pt x="246" y="56"/>
                  </a:lnTo>
                  <a:lnTo>
                    <a:pt x="241" y="61"/>
                  </a:lnTo>
                  <a:lnTo>
                    <a:pt x="238" y="66"/>
                  </a:lnTo>
                  <a:lnTo>
                    <a:pt x="231" y="71"/>
                  </a:lnTo>
                  <a:lnTo>
                    <a:pt x="223" y="71"/>
                  </a:lnTo>
                  <a:lnTo>
                    <a:pt x="213" y="68"/>
                  </a:lnTo>
                  <a:lnTo>
                    <a:pt x="206" y="63"/>
                  </a:lnTo>
                  <a:lnTo>
                    <a:pt x="201" y="56"/>
                  </a:lnTo>
                  <a:lnTo>
                    <a:pt x="199" y="46"/>
                  </a:lnTo>
                  <a:lnTo>
                    <a:pt x="201" y="33"/>
                  </a:lnTo>
                  <a:lnTo>
                    <a:pt x="206" y="26"/>
                  </a:lnTo>
                  <a:lnTo>
                    <a:pt x="213" y="21"/>
                  </a:lnTo>
                  <a:lnTo>
                    <a:pt x="223" y="18"/>
                  </a:lnTo>
                  <a:lnTo>
                    <a:pt x="231" y="21"/>
                  </a:lnTo>
                  <a:lnTo>
                    <a:pt x="238" y="26"/>
                  </a:lnTo>
                  <a:lnTo>
                    <a:pt x="243" y="33"/>
                  </a:lnTo>
                  <a:lnTo>
                    <a:pt x="246" y="46"/>
                  </a:lnTo>
                  <a:lnTo>
                    <a:pt x="246" y="48"/>
                  </a:lnTo>
                  <a:lnTo>
                    <a:pt x="208" y="48"/>
                  </a:lnTo>
                  <a:lnTo>
                    <a:pt x="208" y="53"/>
                  </a:lnTo>
                  <a:lnTo>
                    <a:pt x="213" y="61"/>
                  </a:lnTo>
                  <a:lnTo>
                    <a:pt x="218" y="63"/>
                  </a:lnTo>
                  <a:lnTo>
                    <a:pt x="223" y="63"/>
                  </a:lnTo>
                  <a:lnTo>
                    <a:pt x="228" y="63"/>
                  </a:lnTo>
                  <a:lnTo>
                    <a:pt x="231" y="61"/>
                  </a:lnTo>
                  <a:lnTo>
                    <a:pt x="233" y="58"/>
                  </a:lnTo>
                  <a:lnTo>
                    <a:pt x="236" y="53"/>
                  </a:lnTo>
                  <a:close/>
                  <a:moveTo>
                    <a:pt x="208" y="41"/>
                  </a:moveTo>
                  <a:lnTo>
                    <a:pt x="236" y="41"/>
                  </a:lnTo>
                  <a:lnTo>
                    <a:pt x="236" y="36"/>
                  </a:lnTo>
                  <a:lnTo>
                    <a:pt x="233" y="31"/>
                  </a:lnTo>
                  <a:lnTo>
                    <a:pt x="228" y="28"/>
                  </a:lnTo>
                  <a:lnTo>
                    <a:pt x="223" y="26"/>
                  </a:lnTo>
                  <a:lnTo>
                    <a:pt x="218" y="28"/>
                  </a:lnTo>
                  <a:lnTo>
                    <a:pt x="213" y="31"/>
                  </a:lnTo>
                  <a:lnTo>
                    <a:pt x="211" y="33"/>
                  </a:lnTo>
                  <a:lnTo>
                    <a:pt x="208" y="41"/>
                  </a:lnTo>
                  <a:close/>
                  <a:moveTo>
                    <a:pt x="253" y="73"/>
                  </a:moveTo>
                  <a:lnTo>
                    <a:pt x="261" y="76"/>
                  </a:lnTo>
                  <a:lnTo>
                    <a:pt x="263" y="78"/>
                  </a:lnTo>
                  <a:lnTo>
                    <a:pt x="266" y="81"/>
                  </a:lnTo>
                  <a:lnTo>
                    <a:pt x="268" y="83"/>
                  </a:lnTo>
                  <a:lnTo>
                    <a:pt x="273" y="83"/>
                  </a:lnTo>
                  <a:lnTo>
                    <a:pt x="278" y="83"/>
                  </a:lnTo>
                  <a:lnTo>
                    <a:pt x="283" y="81"/>
                  </a:lnTo>
                  <a:lnTo>
                    <a:pt x="285" y="78"/>
                  </a:lnTo>
                  <a:lnTo>
                    <a:pt x="285" y="73"/>
                  </a:lnTo>
                  <a:lnTo>
                    <a:pt x="285" y="71"/>
                  </a:lnTo>
                  <a:lnTo>
                    <a:pt x="288" y="63"/>
                  </a:lnTo>
                  <a:lnTo>
                    <a:pt x="280" y="68"/>
                  </a:lnTo>
                  <a:lnTo>
                    <a:pt x="273" y="71"/>
                  </a:lnTo>
                  <a:lnTo>
                    <a:pt x="263" y="68"/>
                  </a:lnTo>
                  <a:lnTo>
                    <a:pt x="258" y="63"/>
                  </a:lnTo>
                  <a:lnTo>
                    <a:pt x="253" y="53"/>
                  </a:lnTo>
                  <a:lnTo>
                    <a:pt x="251" y="46"/>
                  </a:lnTo>
                  <a:lnTo>
                    <a:pt x="253" y="38"/>
                  </a:lnTo>
                  <a:lnTo>
                    <a:pt x="256" y="31"/>
                  </a:lnTo>
                  <a:lnTo>
                    <a:pt x="258" y="26"/>
                  </a:lnTo>
                  <a:lnTo>
                    <a:pt x="261" y="23"/>
                  </a:lnTo>
                  <a:lnTo>
                    <a:pt x="268" y="21"/>
                  </a:lnTo>
                  <a:lnTo>
                    <a:pt x="273" y="18"/>
                  </a:lnTo>
                  <a:lnTo>
                    <a:pt x="280" y="21"/>
                  </a:lnTo>
                  <a:lnTo>
                    <a:pt x="288" y="26"/>
                  </a:lnTo>
                  <a:lnTo>
                    <a:pt x="288" y="21"/>
                  </a:lnTo>
                  <a:lnTo>
                    <a:pt x="295" y="21"/>
                  </a:lnTo>
                  <a:lnTo>
                    <a:pt x="295" y="63"/>
                  </a:lnTo>
                  <a:lnTo>
                    <a:pt x="295" y="73"/>
                  </a:lnTo>
                  <a:lnTo>
                    <a:pt x="293" y="78"/>
                  </a:lnTo>
                  <a:lnTo>
                    <a:pt x="290" y="83"/>
                  </a:lnTo>
                  <a:lnTo>
                    <a:pt x="285" y="86"/>
                  </a:lnTo>
                  <a:lnTo>
                    <a:pt x="280" y="88"/>
                  </a:lnTo>
                  <a:lnTo>
                    <a:pt x="273" y="91"/>
                  </a:lnTo>
                  <a:lnTo>
                    <a:pt x="266" y="88"/>
                  </a:lnTo>
                  <a:lnTo>
                    <a:pt x="258" y="86"/>
                  </a:lnTo>
                  <a:lnTo>
                    <a:pt x="256" y="81"/>
                  </a:lnTo>
                  <a:lnTo>
                    <a:pt x="253" y="73"/>
                  </a:lnTo>
                  <a:close/>
                  <a:moveTo>
                    <a:pt x="261" y="43"/>
                  </a:moveTo>
                  <a:lnTo>
                    <a:pt x="261" y="53"/>
                  </a:lnTo>
                  <a:lnTo>
                    <a:pt x="263" y="58"/>
                  </a:lnTo>
                  <a:lnTo>
                    <a:pt x="268" y="61"/>
                  </a:lnTo>
                  <a:lnTo>
                    <a:pt x="273" y="63"/>
                  </a:lnTo>
                  <a:lnTo>
                    <a:pt x="278" y="61"/>
                  </a:lnTo>
                  <a:lnTo>
                    <a:pt x="283" y="58"/>
                  </a:lnTo>
                  <a:lnTo>
                    <a:pt x="285" y="53"/>
                  </a:lnTo>
                  <a:lnTo>
                    <a:pt x="288" y="43"/>
                  </a:lnTo>
                  <a:lnTo>
                    <a:pt x="285" y="36"/>
                  </a:lnTo>
                  <a:lnTo>
                    <a:pt x="283" y="31"/>
                  </a:lnTo>
                  <a:lnTo>
                    <a:pt x="278" y="28"/>
                  </a:lnTo>
                  <a:lnTo>
                    <a:pt x="273" y="26"/>
                  </a:lnTo>
                  <a:lnTo>
                    <a:pt x="268" y="28"/>
                  </a:lnTo>
                  <a:lnTo>
                    <a:pt x="263" y="31"/>
                  </a:lnTo>
                  <a:lnTo>
                    <a:pt x="261" y="36"/>
                  </a:lnTo>
                  <a:lnTo>
                    <a:pt x="261" y="43"/>
                  </a:lnTo>
                  <a:close/>
                  <a:moveTo>
                    <a:pt x="402" y="71"/>
                  </a:moveTo>
                  <a:lnTo>
                    <a:pt x="402" y="0"/>
                  </a:lnTo>
                  <a:lnTo>
                    <a:pt x="427" y="0"/>
                  </a:lnTo>
                  <a:lnTo>
                    <a:pt x="434" y="3"/>
                  </a:lnTo>
                  <a:lnTo>
                    <a:pt x="439" y="3"/>
                  </a:lnTo>
                  <a:lnTo>
                    <a:pt x="444" y="5"/>
                  </a:lnTo>
                  <a:lnTo>
                    <a:pt x="447" y="11"/>
                  </a:lnTo>
                  <a:lnTo>
                    <a:pt x="449" y="13"/>
                  </a:lnTo>
                  <a:lnTo>
                    <a:pt x="449" y="18"/>
                  </a:lnTo>
                  <a:lnTo>
                    <a:pt x="449" y="23"/>
                  </a:lnTo>
                  <a:lnTo>
                    <a:pt x="449" y="28"/>
                  </a:lnTo>
                  <a:lnTo>
                    <a:pt x="444" y="31"/>
                  </a:lnTo>
                  <a:lnTo>
                    <a:pt x="442" y="33"/>
                  </a:lnTo>
                  <a:lnTo>
                    <a:pt x="447" y="36"/>
                  </a:lnTo>
                  <a:lnTo>
                    <a:pt x="449" y="41"/>
                  </a:lnTo>
                  <a:lnTo>
                    <a:pt x="452" y="43"/>
                  </a:lnTo>
                  <a:lnTo>
                    <a:pt x="454" y="51"/>
                  </a:lnTo>
                  <a:lnTo>
                    <a:pt x="454" y="56"/>
                  </a:lnTo>
                  <a:lnTo>
                    <a:pt x="452" y="58"/>
                  </a:lnTo>
                  <a:lnTo>
                    <a:pt x="449" y="63"/>
                  </a:lnTo>
                  <a:lnTo>
                    <a:pt x="447" y="66"/>
                  </a:lnTo>
                  <a:lnTo>
                    <a:pt x="444" y="68"/>
                  </a:lnTo>
                  <a:lnTo>
                    <a:pt x="439" y="68"/>
                  </a:lnTo>
                  <a:lnTo>
                    <a:pt x="434" y="68"/>
                  </a:lnTo>
                  <a:lnTo>
                    <a:pt x="430" y="71"/>
                  </a:lnTo>
                  <a:lnTo>
                    <a:pt x="402" y="71"/>
                  </a:lnTo>
                  <a:close/>
                  <a:moveTo>
                    <a:pt x="412" y="31"/>
                  </a:moveTo>
                  <a:lnTo>
                    <a:pt x="427" y="31"/>
                  </a:lnTo>
                  <a:lnTo>
                    <a:pt x="432" y="31"/>
                  </a:lnTo>
                  <a:lnTo>
                    <a:pt x="434" y="28"/>
                  </a:lnTo>
                  <a:lnTo>
                    <a:pt x="437" y="28"/>
                  </a:lnTo>
                  <a:lnTo>
                    <a:pt x="439" y="26"/>
                  </a:lnTo>
                  <a:lnTo>
                    <a:pt x="442" y="23"/>
                  </a:lnTo>
                  <a:lnTo>
                    <a:pt x="442" y="21"/>
                  </a:lnTo>
                  <a:lnTo>
                    <a:pt x="442" y="16"/>
                  </a:lnTo>
                  <a:lnTo>
                    <a:pt x="439" y="13"/>
                  </a:lnTo>
                  <a:lnTo>
                    <a:pt x="437" y="11"/>
                  </a:lnTo>
                  <a:lnTo>
                    <a:pt x="434" y="11"/>
                  </a:lnTo>
                  <a:lnTo>
                    <a:pt x="432" y="11"/>
                  </a:lnTo>
                  <a:lnTo>
                    <a:pt x="425" y="11"/>
                  </a:lnTo>
                  <a:lnTo>
                    <a:pt x="412" y="11"/>
                  </a:lnTo>
                  <a:lnTo>
                    <a:pt x="412" y="31"/>
                  </a:lnTo>
                  <a:close/>
                  <a:moveTo>
                    <a:pt x="412" y="61"/>
                  </a:moveTo>
                  <a:lnTo>
                    <a:pt x="430" y="61"/>
                  </a:lnTo>
                  <a:lnTo>
                    <a:pt x="432" y="61"/>
                  </a:lnTo>
                  <a:lnTo>
                    <a:pt x="434" y="61"/>
                  </a:lnTo>
                  <a:lnTo>
                    <a:pt x="437" y="61"/>
                  </a:lnTo>
                  <a:lnTo>
                    <a:pt x="439" y="58"/>
                  </a:lnTo>
                  <a:lnTo>
                    <a:pt x="442" y="58"/>
                  </a:lnTo>
                  <a:lnTo>
                    <a:pt x="444" y="56"/>
                  </a:lnTo>
                  <a:lnTo>
                    <a:pt x="444" y="53"/>
                  </a:lnTo>
                  <a:lnTo>
                    <a:pt x="444" y="51"/>
                  </a:lnTo>
                  <a:lnTo>
                    <a:pt x="444" y="46"/>
                  </a:lnTo>
                  <a:lnTo>
                    <a:pt x="442" y="43"/>
                  </a:lnTo>
                  <a:lnTo>
                    <a:pt x="439" y="41"/>
                  </a:lnTo>
                  <a:lnTo>
                    <a:pt x="437" y="38"/>
                  </a:lnTo>
                  <a:lnTo>
                    <a:pt x="432" y="38"/>
                  </a:lnTo>
                  <a:lnTo>
                    <a:pt x="427" y="38"/>
                  </a:lnTo>
                  <a:lnTo>
                    <a:pt x="412" y="38"/>
                  </a:lnTo>
                  <a:lnTo>
                    <a:pt x="412" y="61"/>
                  </a:lnTo>
                  <a:close/>
                  <a:moveTo>
                    <a:pt x="497" y="71"/>
                  </a:moveTo>
                  <a:lnTo>
                    <a:pt x="497" y="63"/>
                  </a:lnTo>
                  <a:lnTo>
                    <a:pt x="492" y="68"/>
                  </a:lnTo>
                  <a:lnTo>
                    <a:pt x="482" y="71"/>
                  </a:lnTo>
                  <a:lnTo>
                    <a:pt x="477" y="71"/>
                  </a:lnTo>
                  <a:lnTo>
                    <a:pt x="474" y="68"/>
                  </a:lnTo>
                  <a:lnTo>
                    <a:pt x="469" y="68"/>
                  </a:lnTo>
                  <a:lnTo>
                    <a:pt x="469" y="66"/>
                  </a:lnTo>
                  <a:lnTo>
                    <a:pt x="467" y="63"/>
                  </a:lnTo>
                  <a:lnTo>
                    <a:pt x="464" y="58"/>
                  </a:lnTo>
                  <a:lnTo>
                    <a:pt x="464" y="56"/>
                  </a:lnTo>
                  <a:lnTo>
                    <a:pt x="464" y="51"/>
                  </a:lnTo>
                  <a:lnTo>
                    <a:pt x="464" y="21"/>
                  </a:lnTo>
                  <a:lnTo>
                    <a:pt x="474" y="21"/>
                  </a:lnTo>
                  <a:lnTo>
                    <a:pt x="474" y="48"/>
                  </a:lnTo>
                  <a:lnTo>
                    <a:pt x="474" y="53"/>
                  </a:lnTo>
                  <a:lnTo>
                    <a:pt x="474" y="56"/>
                  </a:lnTo>
                  <a:lnTo>
                    <a:pt x="474" y="58"/>
                  </a:lnTo>
                  <a:lnTo>
                    <a:pt x="477" y="61"/>
                  </a:lnTo>
                  <a:lnTo>
                    <a:pt x="479" y="63"/>
                  </a:lnTo>
                  <a:lnTo>
                    <a:pt x="484" y="63"/>
                  </a:lnTo>
                  <a:lnTo>
                    <a:pt x="487" y="63"/>
                  </a:lnTo>
                  <a:lnTo>
                    <a:pt x="492" y="61"/>
                  </a:lnTo>
                  <a:lnTo>
                    <a:pt x="494" y="58"/>
                  </a:lnTo>
                  <a:lnTo>
                    <a:pt x="494" y="56"/>
                  </a:lnTo>
                  <a:lnTo>
                    <a:pt x="497" y="53"/>
                  </a:lnTo>
                  <a:lnTo>
                    <a:pt x="497" y="46"/>
                  </a:lnTo>
                  <a:lnTo>
                    <a:pt x="497" y="21"/>
                  </a:lnTo>
                  <a:lnTo>
                    <a:pt x="504" y="21"/>
                  </a:lnTo>
                  <a:lnTo>
                    <a:pt x="504" y="71"/>
                  </a:lnTo>
                  <a:lnTo>
                    <a:pt x="497" y="71"/>
                  </a:lnTo>
                  <a:close/>
                  <a:moveTo>
                    <a:pt x="514" y="56"/>
                  </a:moveTo>
                  <a:lnTo>
                    <a:pt x="524" y="53"/>
                  </a:lnTo>
                  <a:lnTo>
                    <a:pt x="524" y="58"/>
                  </a:lnTo>
                  <a:lnTo>
                    <a:pt x="526" y="61"/>
                  </a:lnTo>
                  <a:lnTo>
                    <a:pt x="531" y="63"/>
                  </a:lnTo>
                  <a:lnTo>
                    <a:pt x="536" y="63"/>
                  </a:lnTo>
                  <a:lnTo>
                    <a:pt x="541" y="63"/>
                  </a:lnTo>
                  <a:lnTo>
                    <a:pt x="544" y="61"/>
                  </a:lnTo>
                  <a:lnTo>
                    <a:pt x="546" y="58"/>
                  </a:lnTo>
                  <a:lnTo>
                    <a:pt x="546" y="56"/>
                  </a:lnTo>
                  <a:lnTo>
                    <a:pt x="546" y="53"/>
                  </a:lnTo>
                  <a:lnTo>
                    <a:pt x="544" y="51"/>
                  </a:lnTo>
                  <a:lnTo>
                    <a:pt x="541" y="51"/>
                  </a:lnTo>
                  <a:lnTo>
                    <a:pt x="536" y="48"/>
                  </a:lnTo>
                  <a:lnTo>
                    <a:pt x="529" y="46"/>
                  </a:lnTo>
                  <a:lnTo>
                    <a:pt x="524" y="46"/>
                  </a:lnTo>
                  <a:lnTo>
                    <a:pt x="519" y="43"/>
                  </a:lnTo>
                  <a:lnTo>
                    <a:pt x="519" y="41"/>
                  </a:lnTo>
                  <a:lnTo>
                    <a:pt x="516" y="36"/>
                  </a:lnTo>
                  <a:lnTo>
                    <a:pt x="516" y="33"/>
                  </a:lnTo>
                  <a:lnTo>
                    <a:pt x="516" y="31"/>
                  </a:lnTo>
                  <a:lnTo>
                    <a:pt x="516" y="28"/>
                  </a:lnTo>
                  <a:lnTo>
                    <a:pt x="519" y="26"/>
                  </a:lnTo>
                  <a:lnTo>
                    <a:pt x="521" y="23"/>
                  </a:lnTo>
                  <a:lnTo>
                    <a:pt x="524" y="21"/>
                  </a:lnTo>
                  <a:lnTo>
                    <a:pt x="526" y="21"/>
                  </a:lnTo>
                  <a:lnTo>
                    <a:pt x="531" y="18"/>
                  </a:lnTo>
                  <a:lnTo>
                    <a:pt x="534" y="18"/>
                  </a:lnTo>
                  <a:lnTo>
                    <a:pt x="539" y="21"/>
                  </a:lnTo>
                  <a:lnTo>
                    <a:pt x="544" y="21"/>
                  </a:lnTo>
                  <a:lnTo>
                    <a:pt x="549" y="23"/>
                  </a:lnTo>
                  <a:lnTo>
                    <a:pt x="551" y="26"/>
                  </a:lnTo>
                  <a:lnTo>
                    <a:pt x="551" y="28"/>
                  </a:lnTo>
                  <a:lnTo>
                    <a:pt x="554" y="33"/>
                  </a:lnTo>
                  <a:lnTo>
                    <a:pt x="546" y="33"/>
                  </a:lnTo>
                  <a:lnTo>
                    <a:pt x="544" y="31"/>
                  </a:lnTo>
                  <a:lnTo>
                    <a:pt x="541" y="28"/>
                  </a:lnTo>
                  <a:lnTo>
                    <a:pt x="539" y="26"/>
                  </a:lnTo>
                  <a:lnTo>
                    <a:pt x="534" y="26"/>
                  </a:lnTo>
                  <a:lnTo>
                    <a:pt x="529" y="26"/>
                  </a:lnTo>
                  <a:lnTo>
                    <a:pt x="526" y="28"/>
                  </a:lnTo>
                  <a:lnTo>
                    <a:pt x="524" y="31"/>
                  </a:lnTo>
                  <a:lnTo>
                    <a:pt x="524" y="33"/>
                  </a:lnTo>
                  <a:lnTo>
                    <a:pt x="524" y="36"/>
                  </a:lnTo>
                  <a:lnTo>
                    <a:pt x="526" y="36"/>
                  </a:lnTo>
                  <a:lnTo>
                    <a:pt x="529" y="38"/>
                  </a:lnTo>
                  <a:lnTo>
                    <a:pt x="531" y="38"/>
                  </a:lnTo>
                  <a:lnTo>
                    <a:pt x="536" y="41"/>
                  </a:lnTo>
                  <a:lnTo>
                    <a:pt x="544" y="41"/>
                  </a:lnTo>
                  <a:lnTo>
                    <a:pt x="549" y="43"/>
                  </a:lnTo>
                  <a:lnTo>
                    <a:pt x="551" y="46"/>
                  </a:lnTo>
                  <a:lnTo>
                    <a:pt x="554" y="48"/>
                  </a:lnTo>
                  <a:lnTo>
                    <a:pt x="554" y="51"/>
                  </a:lnTo>
                  <a:lnTo>
                    <a:pt x="556" y="56"/>
                  </a:lnTo>
                  <a:lnTo>
                    <a:pt x="554" y="58"/>
                  </a:lnTo>
                  <a:lnTo>
                    <a:pt x="554" y="63"/>
                  </a:lnTo>
                  <a:lnTo>
                    <a:pt x="551" y="66"/>
                  </a:lnTo>
                  <a:lnTo>
                    <a:pt x="546" y="68"/>
                  </a:lnTo>
                  <a:lnTo>
                    <a:pt x="541" y="71"/>
                  </a:lnTo>
                  <a:lnTo>
                    <a:pt x="536" y="71"/>
                  </a:lnTo>
                  <a:lnTo>
                    <a:pt x="526" y="71"/>
                  </a:lnTo>
                  <a:lnTo>
                    <a:pt x="521" y="66"/>
                  </a:lnTo>
                  <a:lnTo>
                    <a:pt x="516" y="61"/>
                  </a:lnTo>
                  <a:lnTo>
                    <a:pt x="514" y="56"/>
                  </a:lnTo>
                  <a:close/>
                  <a:moveTo>
                    <a:pt x="566" y="11"/>
                  </a:moveTo>
                  <a:lnTo>
                    <a:pt x="566" y="0"/>
                  </a:lnTo>
                  <a:lnTo>
                    <a:pt x="574" y="0"/>
                  </a:lnTo>
                  <a:lnTo>
                    <a:pt x="574" y="11"/>
                  </a:lnTo>
                  <a:lnTo>
                    <a:pt x="566" y="11"/>
                  </a:lnTo>
                  <a:close/>
                  <a:moveTo>
                    <a:pt x="566" y="71"/>
                  </a:moveTo>
                  <a:lnTo>
                    <a:pt x="566" y="21"/>
                  </a:lnTo>
                  <a:lnTo>
                    <a:pt x="574" y="21"/>
                  </a:lnTo>
                  <a:lnTo>
                    <a:pt x="574" y="71"/>
                  </a:lnTo>
                  <a:lnTo>
                    <a:pt x="566" y="71"/>
                  </a:lnTo>
                  <a:close/>
                  <a:moveTo>
                    <a:pt x="305" y="11"/>
                  </a:moveTo>
                  <a:lnTo>
                    <a:pt x="305" y="0"/>
                  </a:lnTo>
                  <a:lnTo>
                    <a:pt x="313" y="0"/>
                  </a:lnTo>
                  <a:lnTo>
                    <a:pt x="313" y="11"/>
                  </a:lnTo>
                  <a:lnTo>
                    <a:pt x="305" y="11"/>
                  </a:lnTo>
                  <a:close/>
                  <a:moveTo>
                    <a:pt x="305" y="71"/>
                  </a:moveTo>
                  <a:lnTo>
                    <a:pt x="305" y="21"/>
                  </a:lnTo>
                  <a:lnTo>
                    <a:pt x="313" y="21"/>
                  </a:lnTo>
                  <a:lnTo>
                    <a:pt x="313" y="71"/>
                  </a:lnTo>
                  <a:lnTo>
                    <a:pt x="305" y="71"/>
                  </a:lnTo>
                  <a:close/>
                  <a:moveTo>
                    <a:pt x="586" y="71"/>
                  </a:moveTo>
                  <a:lnTo>
                    <a:pt x="586" y="21"/>
                  </a:lnTo>
                  <a:lnTo>
                    <a:pt x="593" y="21"/>
                  </a:lnTo>
                  <a:lnTo>
                    <a:pt x="593" y="28"/>
                  </a:lnTo>
                  <a:lnTo>
                    <a:pt x="601" y="21"/>
                  </a:lnTo>
                  <a:lnTo>
                    <a:pt x="608" y="18"/>
                  </a:lnTo>
                  <a:lnTo>
                    <a:pt x="613" y="21"/>
                  </a:lnTo>
                  <a:lnTo>
                    <a:pt x="618" y="21"/>
                  </a:lnTo>
                  <a:lnTo>
                    <a:pt x="621" y="23"/>
                  </a:lnTo>
                  <a:lnTo>
                    <a:pt x="623" y="26"/>
                  </a:lnTo>
                  <a:lnTo>
                    <a:pt x="626" y="28"/>
                  </a:lnTo>
                  <a:lnTo>
                    <a:pt x="626" y="31"/>
                  </a:lnTo>
                  <a:lnTo>
                    <a:pt x="626" y="33"/>
                  </a:lnTo>
                  <a:lnTo>
                    <a:pt x="626" y="38"/>
                  </a:lnTo>
                  <a:lnTo>
                    <a:pt x="626" y="71"/>
                  </a:lnTo>
                  <a:lnTo>
                    <a:pt x="618" y="71"/>
                  </a:lnTo>
                  <a:lnTo>
                    <a:pt x="618" y="41"/>
                  </a:lnTo>
                  <a:lnTo>
                    <a:pt x="618" y="36"/>
                  </a:lnTo>
                  <a:lnTo>
                    <a:pt x="618" y="33"/>
                  </a:lnTo>
                  <a:lnTo>
                    <a:pt x="616" y="31"/>
                  </a:lnTo>
                  <a:lnTo>
                    <a:pt x="613" y="28"/>
                  </a:lnTo>
                  <a:lnTo>
                    <a:pt x="611" y="26"/>
                  </a:lnTo>
                  <a:lnTo>
                    <a:pt x="608" y="26"/>
                  </a:lnTo>
                  <a:lnTo>
                    <a:pt x="603" y="28"/>
                  </a:lnTo>
                  <a:lnTo>
                    <a:pt x="598" y="31"/>
                  </a:lnTo>
                  <a:lnTo>
                    <a:pt x="596" y="36"/>
                  </a:lnTo>
                  <a:lnTo>
                    <a:pt x="596" y="43"/>
                  </a:lnTo>
                  <a:lnTo>
                    <a:pt x="596" y="71"/>
                  </a:lnTo>
                  <a:lnTo>
                    <a:pt x="586" y="71"/>
                  </a:lnTo>
                  <a:close/>
                  <a:moveTo>
                    <a:pt x="673" y="53"/>
                  </a:moveTo>
                  <a:lnTo>
                    <a:pt x="680" y="56"/>
                  </a:lnTo>
                  <a:lnTo>
                    <a:pt x="678" y="61"/>
                  </a:lnTo>
                  <a:lnTo>
                    <a:pt x="673" y="66"/>
                  </a:lnTo>
                  <a:lnTo>
                    <a:pt x="668" y="71"/>
                  </a:lnTo>
                  <a:lnTo>
                    <a:pt x="660" y="71"/>
                  </a:lnTo>
                  <a:lnTo>
                    <a:pt x="651" y="68"/>
                  </a:lnTo>
                  <a:lnTo>
                    <a:pt x="643" y="63"/>
                  </a:lnTo>
                  <a:lnTo>
                    <a:pt x="638" y="56"/>
                  </a:lnTo>
                  <a:lnTo>
                    <a:pt x="636" y="46"/>
                  </a:lnTo>
                  <a:lnTo>
                    <a:pt x="638" y="33"/>
                  </a:lnTo>
                  <a:lnTo>
                    <a:pt x="643" y="26"/>
                  </a:lnTo>
                  <a:lnTo>
                    <a:pt x="651" y="21"/>
                  </a:lnTo>
                  <a:lnTo>
                    <a:pt x="660" y="18"/>
                  </a:lnTo>
                  <a:lnTo>
                    <a:pt x="668" y="21"/>
                  </a:lnTo>
                  <a:lnTo>
                    <a:pt x="675" y="26"/>
                  </a:lnTo>
                  <a:lnTo>
                    <a:pt x="680" y="33"/>
                  </a:lnTo>
                  <a:lnTo>
                    <a:pt x="683" y="46"/>
                  </a:lnTo>
                  <a:lnTo>
                    <a:pt x="683" y="48"/>
                  </a:lnTo>
                  <a:lnTo>
                    <a:pt x="646" y="48"/>
                  </a:lnTo>
                  <a:lnTo>
                    <a:pt x="646" y="53"/>
                  </a:lnTo>
                  <a:lnTo>
                    <a:pt x="651" y="61"/>
                  </a:lnTo>
                  <a:lnTo>
                    <a:pt x="653" y="63"/>
                  </a:lnTo>
                  <a:lnTo>
                    <a:pt x="660" y="63"/>
                  </a:lnTo>
                  <a:lnTo>
                    <a:pt x="663" y="63"/>
                  </a:lnTo>
                  <a:lnTo>
                    <a:pt x="668" y="61"/>
                  </a:lnTo>
                  <a:lnTo>
                    <a:pt x="670" y="58"/>
                  </a:lnTo>
                  <a:lnTo>
                    <a:pt x="673" y="53"/>
                  </a:lnTo>
                  <a:close/>
                  <a:moveTo>
                    <a:pt x="646" y="41"/>
                  </a:moveTo>
                  <a:lnTo>
                    <a:pt x="673" y="41"/>
                  </a:lnTo>
                  <a:lnTo>
                    <a:pt x="673" y="36"/>
                  </a:lnTo>
                  <a:lnTo>
                    <a:pt x="670" y="31"/>
                  </a:lnTo>
                  <a:lnTo>
                    <a:pt x="665" y="28"/>
                  </a:lnTo>
                  <a:lnTo>
                    <a:pt x="660" y="26"/>
                  </a:lnTo>
                  <a:lnTo>
                    <a:pt x="653" y="28"/>
                  </a:lnTo>
                  <a:lnTo>
                    <a:pt x="651" y="31"/>
                  </a:lnTo>
                  <a:lnTo>
                    <a:pt x="646" y="33"/>
                  </a:lnTo>
                  <a:lnTo>
                    <a:pt x="646" y="41"/>
                  </a:lnTo>
                  <a:close/>
                  <a:moveTo>
                    <a:pt x="688" y="56"/>
                  </a:moveTo>
                  <a:lnTo>
                    <a:pt x="698" y="53"/>
                  </a:lnTo>
                  <a:lnTo>
                    <a:pt x="698" y="58"/>
                  </a:lnTo>
                  <a:lnTo>
                    <a:pt x="700" y="61"/>
                  </a:lnTo>
                  <a:lnTo>
                    <a:pt x="705" y="63"/>
                  </a:lnTo>
                  <a:lnTo>
                    <a:pt x="710" y="63"/>
                  </a:lnTo>
                  <a:lnTo>
                    <a:pt x="715" y="63"/>
                  </a:lnTo>
                  <a:lnTo>
                    <a:pt x="718" y="61"/>
                  </a:lnTo>
                  <a:lnTo>
                    <a:pt x="720" y="58"/>
                  </a:lnTo>
                  <a:lnTo>
                    <a:pt x="720" y="56"/>
                  </a:lnTo>
                  <a:lnTo>
                    <a:pt x="720" y="53"/>
                  </a:lnTo>
                  <a:lnTo>
                    <a:pt x="718" y="51"/>
                  </a:lnTo>
                  <a:lnTo>
                    <a:pt x="715" y="51"/>
                  </a:lnTo>
                  <a:lnTo>
                    <a:pt x="710" y="48"/>
                  </a:lnTo>
                  <a:lnTo>
                    <a:pt x="703" y="46"/>
                  </a:lnTo>
                  <a:lnTo>
                    <a:pt x="698" y="46"/>
                  </a:lnTo>
                  <a:lnTo>
                    <a:pt x="693" y="43"/>
                  </a:lnTo>
                  <a:lnTo>
                    <a:pt x="693" y="41"/>
                  </a:lnTo>
                  <a:lnTo>
                    <a:pt x="690" y="36"/>
                  </a:lnTo>
                  <a:lnTo>
                    <a:pt x="690" y="33"/>
                  </a:lnTo>
                  <a:lnTo>
                    <a:pt x="690" y="31"/>
                  </a:lnTo>
                  <a:lnTo>
                    <a:pt x="690" y="28"/>
                  </a:lnTo>
                  <a:lnTo>
                    <a:pt x="693" y="26"/>
                  </a:lnTo>
                  <a:lnTo>
                    <a:pt x="695" y="23"/>
                  </a:lnTo>
                  <a:lnTo>
                    <a:pt x="698" y="21"/>
                  </a:lnTo>
                  <a:lnTo>
                    <a:pt x="700" y="21"/>
                  </a:lnTo>
                  <a:lnTo>
                    <a:pt x="705" y="18"/>
                  </a:lnTo>
                  <a:lnTo>
                    <a:pt x="708" y="18"/>
                  </a:lnTo>
                  <a:lnTo>
                    <a:pt x="713" y="21"/>
                  </a:lnTo>
                  <a:lnTo>
                    <a:pt x="718" y="21"/>
                  </a:lnTo>
                  <a:lnTo>
                    <a:pt x="723" y="23"/>
                  </a:lnTo>
                  <a:lnTo>
                    <a:pt x="725" y="26"/>
                  </a:lnTo>
                  <a:lnTo>
                    <a:pt x="728" y="28"/>
                  </a:lnTo>
                  <a:lnTo>
                    <a:pt x="728" y="33"/>
                  </a:lnTo>
                  <a:lnTo>
                    <a:pt x="720" y="33"/>
                  </a:lnTo>
                  <a:lnTo>
                    <a:pt x="718" y="31"/>
                  </a:lnTo>
                  <a:lnTo>
                    <a:pt x="715" y="28"/>
                  </a:lnTo>
                  <a:lnTo>
                    <a:pt x="713" y="26"/>
                  </a:lnTo>
                  <a:lnTo>
                    <a:pt x="708" y="26"/>
                  </a:lnTo>
                  <a:lnTo>
                    <a:pt x="703" y="26"/>
                  </a:lnTo>
                  <a:lnTo>
                    <a:pt x="700" y="28"/>
                  </a:lnTo>
                  <a:lnTo>
                    <a:pt x="698" y="31"/>
                  </a:lnTo>
                  <a:lnTo>
                    <a:pt x="698" y="33"/>
                  </a:lnTo>
                  <a:lnTo>
                    <a:pt x="700" y="36"/>
                  </a:lnTo>
                  <a:lnTo>
                    <a:pt x="703" y="38"/>
                  </a:lnTo>
                  <a:lnTo>
                    <a:pt x="705" y="38"/>
                  </a:lnTo>
                  <a:lnTo>
                    <a:pt x="710" y="41"/>
                  </a:lnTo>
                  <a:lnTo>
                    <a:pt x="718" y="41"/>
                  </a:lnTo>
                  <a:lnTo>
                    <a:pt x="723" y="43"/>
                  </a:lnTo>
                  <a:lnTo>
                    <a:pt x="725" y="46"/>
                  </a:lnTo>
                  <a:lnTo>
                    <a:pt x="728" y="48"/>
                  </a:lnTo>
                  <a:lnTo>
                    <a:pt x="730" y="51"/>
                  </a:lnTo>
                  <a:lnTo>
                    <a:pt x="730" y="56"/>
                  </a:lnTo>
                  <a:lnTo>
                    <a:pt x="728" y="58"/>
                  </a:lnTo>
                  <a:lnTo>
                    <a:pt x="728" y="63"/>
                  </a:lnTo>
                  <a:lnTo>
                    <a:pt x="725" y="66"/>
                  </a:lnTo>
                  <a:lnTo>
                    <a:pt x="720" y="68"/>
                  </a:lnTo>
                  <a:lnTo>
                    <a:pt x="715" y="71"/>
                  </a:lnTo>
                  <a:lnTo>
                    <a:pt x="710" y="71"/>
                  </a:lnTo>
                  <a:lnTo>
                    <a:pt x="700" y="71"/>
                  </a:lnTo>
                  <a:lnTo>
                    <a:pt x="695" y="66"/>
                  </a:lnTo>
                  <a:lnTo>
                    <a:pt x="690" y="61"/>
                  </a:lnTo>
                  <a:lnTo>
                    <a:pt x="688" y="56"/>
                  </a:lnTo>
                  <a:close/>
                  <a:moveTo>
                    <a:pt x="735" y="56"/>
                  </a:moveTo>
                  <a:lnTo>
                    <a:pt x="745" y="53"/>
                  </a:lnTo>
                  <a:lnTo>
                    <a:pt x="745" y="58"/>
                  </a:lnTo>
                  <a:lnTo>
                    <a:pt x="747" y="61"/>
                  </a:lnTo>
                  <a:lnTo>
                    <a:pt x="752" y="63"/>
                  </a:lnTo>
                  <a:lnTo>
                    <a:pt x="757" y="63"/>
                  </a:lnTo>
                  <a:lnTo>
                    <a:pt x="762" y="63"/>
                  </a:lnTo>
                  <a:lnTo>
                    <a:pt x="765" y="61"/>
                  </a:lnTo>
                  <a:lnTo>
                    <a:pt x="767" y="58"/>
                  </a:lnTo>
                  <a:lnTo>
                    <a:pt x="767" y="56"/>
                  </a:lnTo>
                  <a:lnTo>
                    <a:pt x="767" y="53"/>
                  </a:lnTo>
                  <a:lnTo>
                    <a:pt x="765" y="51"/>
                  </a:lnTo>
                  <a:lnTo>
                    <a:pt x="762" y="51"/>
                  </a:lnTo>
                  <a:lnTo>
                    <a:pt x="757" y="48"/>
                  </a:lnTo>
                  <a:lnTo>
                    <a:pt x="750" y="46"/>
                  </a:lnTo>
                  <a:lnTo>
                    <a:pt x="745" y="46"/>
                  </a:lnTo>
                  <a:lnTo>
                    <a:pt x="742" y="43"/>
                  </a:lnTo>
                  <a:lnTo>
                    <a:pt x="740" y="41"/>
                  </a:lnTo>
                  <a:lnTo>
                    <a:pt x="737" y="36"/>
                  </a:lnTo>
                  <a:lnTo>
                    <a:pt x="737" y="33"/>
                  </a:lnTo>
                  <a:lnTo>
                    <a:pt x="737" y="31"/>
                  </a:lnTo>
                  <a:lnTo>
                    <a:pt x="740" y="28"/>
                  </a:lnTo>
                  <a:lnTo>
                    <a:pt x="740" y="26"/>
                  </a:lnTo>
                  <a:lnTo>
                    <a:pt x="742" y="23"/>
                  </a:lnTo>
                  <a:lnTo>
                    <a:pt x="745" y="21"/>
                  </a:lnTo>
                  <a:lnTo>
                    <a:pt x="747" y="21"/>
                  </a:lnTo>
                  <a:lnTo>
                    <a:pt x="752" y="18"/>
                  </a:lnTo>
                  <a:lnTo>
                    <a:pt x="755" y="18"/>
                  </a:lnTo>
                  <a:lnTo>
                    <a:pt x="760" y="21"/>
                  </a:lnTo>
                  <a:lnTo>
                    <a:pt x="765" y="21"/>
                  </a:lnTo>
                  <a:lnTo>
                    <a:pt x="770" y="23"/>
                  </a:lnTo>
                  <a:lnTo>
                    <a:pt x="772" y="26"/>
                  </a:lnTo>
                  <a:lnTo>
                    <a:pt x="775" y="28"/>
                  </a:lnTo>
                  <a:lnTo>
                    <a:pt x="775" y="33"/>
                  </a:lnTo>
                  <a:lnTo>
                    <a:pt x="767" y="33"/>
                  </a:lnTo>
                  <a:lnTo>
                    <a:pt x="765" y="31"/>
                  </a:lnTo>
                  <a:lnTo>
                    <a:pt x="765" y="28"/>
                  </a:lnTo>
                  <a:lnTo>
                    <a:pt x="760" y="26"/>
                  </a:lnTo>
                  <a:lnTo>
                    <a:pt x="755" y="26"/>
                  </a:lnTo>
                  <a:lnTo>
                    <a:pt x="750" y="26"/>
                  </a:lnTo>
                  <a:lnTo>
                    <a:pt x="747" y="28"/>
                  </a:lnTo>
                  <a:lnTo>
                    <a:pt x="745" y="31"/>
                  </a:lnTo>
                  <a:lnTo>
                    <a:pt x="745" y="33"/>
                  </a:lnTo>
                  <a:lnTo>
                    <a:pt x="747" y="36"/>
                  </a:lnTo>
                  <a:lnTo>
                    <a:pt x="750" y="38"/>
                  </a:lnTo>
                  <a:lnTo>
                    <a:pt x="752" y="38"/>
                  </a:lnTo>
                  <a:lnTo>
                    <a:pt x="757" y="41"/>
                  </a:lnTo>
                  <a:lnTo>
                    <a:pt x="765" y="41"/>
                  </a:lnTo>
                  <a:lnTo>
                    <a:pt x="770" y="43"/>
                  </a:lnTo>
                  <a:lnTo>
                    <a:pt x="772" y="46"/>
                  </a:lnTo>
                  <a:lnTo>
                    <a:pt x="775" y="48"/>
                  </a:lnTo>
                  <a:lnTo>
                    <a:pt x="777" y="51"/>
                  </a:lnTo>
                  <a:lnTo>
                    <a:pt x="777" y="56"/>
                  </a:lnTo>
                  <a:lnTo>
                    <a:pt x="777" y="58"/>
                  </a:lnTo>
                  <a:lnTo>
                    <a:pt x="775" y="63"/>
                  </a:lnTo>
                  <a:lnTo>
                    <a:pt x="772" y="66"/>
                  </a:lnTo>
                  <a:lnTo>
                    <a:pt x="767" y="68"/>
                  </a:lnTo>
                  <a:lnTo>
                    <a:pt x="762" y="71"/>
                  </a:lnTo>
                  <a:lnTo>
                    <a:pt x="757" y="71"/>
                  </a:lnTo>
                  <a:lnTo>
                    <a:pt x="747" y="71"/>
                  </a:lnTo>
                  <a:lnTo>
                    <a:pt x="742" y="66"/>
                  </a:lnTo>
                  <a:lnTo>
                    <a:pt x="737" y="61"/>
                  </a:lnTo>
                  <a:lnTo>
                    <a:pt x="735" y="56"/>
                  </a:lnTo>
                  <a:close/>
                  <a:moveTo>
                    <a:pt x="812" y="48"/>
                  </a:moveTo>
                  <a:lnTo>
                    <a:pt x="819" y="48"/>
                  </a:lnTo>
                  <a:lnTo>
                    <a:pt x="819" y="51"/>
                  </a:lnTo>
                  <a:lnTo>
                    <a:pt x="822" y="56"/>
                  </a:lnTo>
                  <a:lnTo>
                    <a:pt x="824" y="58"/>
                  </a:lnTo>
                  <a:lnTo>
                    <a:pt x="829" y="61"/>
                  </a:lnTo>
                  <a:lnTo>
                    <a:pt x="834" y="63"/>
                  </a:lnTo>
                  <a:lnTo>
                    <a:pt x="839" y="63"/>
                  </a:lnTo>
                  <a:lnTo>
                    <a:pt x="844" y="63"/>
                  </a:lnTo>
                  <a:lnTo>
                    <a:pt x="849" y="61"/>
                  </a:lnTo>
                  <a:lnTo>
                    <a:pt x="852" y="58"/>
                  </a:lnTo>
                  <a:lnTo>
                    <a:pt x="854" y="58"/>
                  </a:lnTo>
                  <a:lnTo>
                    <a:pt x="857" y="53"/>
                  </a:lnTo>
                  <a:lnTo>
                    <a:pt x="857" y="51"/>
                  </a:lnTo>
                  <a:lnTo>
                    <a:pt x="857" y="48"/>
                  </a:lnTo>
                  <a:lnTo>
                    <a:pt x="854" y="46"/>
                  </a:lnTo>
                  <a:lnTo>
                    <a:pt x="852" y="43"/>
                  </a:lnTo>
                  <a:lnTo>
                    <a:pt x="849" y="41"/>
                  </a:lnTo>
                  <a:lnTo>
                    <a:pt x="844" y="41"/>
                  </a:lnTo>
                  <a:lnTo>
                    <a:pt x="837" y="38"/>
                  </a:lnTo>
                  <a:lnTo>
                    <a:pt x="829" y="36"/>
                  </a:lnTo>
                  <a:lnTo>
                    <a:pt x="824" y="33"/>
                  </a:lnTo>
                  <a:lnTo>
                    <a:pt x="819" y="31"/>
                  </a:lnTo>
                  <a:lnTo>
                    <a:pt x="817" y="28"/>
                  </a:lnTo>
                  <a:lnTo>
                    <a:pt x="814" y="23"/>
                  </a:lnTo>
                  <a:lnTo>
                    <a:pt x="814" y="18"/>
                  </a:lnTo>
                  <a:lnTo>
                    <a:pt x="814" y="13"/>
                  </a:lnTo>
                  <a:lnTo>
                    <a:pt x="817" y="11"/>
                  </a:lnTo>
                  <a:lnTo>
                    <a:pt x="819" y="5"/>
                  </a:lnTo>
                  <a:lnTo>
                    <a:pt x="824" y="3"/>
                  </a:lnTo>
                  <a:lnTo>
                    <a:pt x="832" y="0"/>
                  </a:lnTo>
                  <a:lnTo>
                    <a:pt x="837" y="0"/>
                  </a:lnTo>
                  <a:lnTo>
                    <a:pt x="844" y="0"/>
                  </a:lnTo>
                  <a:lnTo>
                    <a:pt x="852" y="3"/>
                  </a:lnTo>
                  <a:lnTo>
                    <a:pt x="857" y="5"/>
                  </a:lnTo>
                  <a:lnTo>
                    <a:pt x="859" y="11"/>
                  </a:lnTo>
                  <a:lnTo>
                    <a:pt x="862" y="16"/>
                  </a:lnTo>
                  <a:lnTo>
                    <a:pt x="864" y="21"/>
                  </a:lnTo>
                  <a:lnTo>
                    <a:pt x="854" y="21"/>
                  </a:lnTo>
                  <a:lnTo>
                    <a:pt x="852" y="16"/>
                  </a:lnTo>
                  <a:lnTo>
                    <a:pt x="849" y="11"/>
                  </a:lnTo>
                  <a:lnTo>
                    <a:pt x="844" y="8"/>
                  </a:lnTo>
                  <a:lnTo>
                    <a:pt x="837" y="8"/>
                  </a:lnTo>
                  <a:lnTo>
                    <a:pt x="832" y="8"/>
                  </a:lnTo>
                  <a:lnTo>
                    <a:pt x="827" y="11"/>
                  </a:lnTo>
                  <a:lnTo>
                    <a:pt x="824" y="16"/>
                  </a:lnTo>
                  <a:lnTo>
                    <a:pt x="822" y="18"/>
                  </a:lnTo>
                  <a:lnTo>
                    <a:pt x="822" y="21"/>
                  </a:lnTo>
                  <a:lnTo>
                    <a:pt x="824" y="26"/>
                  </a:lnTo>
                  <a:lnTo>
                    <a:pt x="829" y="28"/>
                  </a:lnTo>
                  <a:lnTo>
                    <a:pt x="839" y="28"/>
                  </a:lnTo>
                  <a:lnTo>
                    <a:pt x="847" y="31"/>
                  </a:lnTo>
                  <a:lnTo>
                    <a:pt x="854" y="33"/>
                  </a:lnTo>
                  <a:lnTo>
                    <a:pt x="859" y="36"/>
                  </a:lnTo>
                  <a:lnTo>
                    <a:pt x="862" y="41"/>
                  </a:lnTo>
                  <a:lnTo>
                    <a:pt x="864" y="46"/>
                  </a:lnTo>
                  <a:lnTo>
                    <a:pt x="864" y="51"/>
                  </a:lnTo>
                  <a:lnTo>
                    <a:pt x="864" y="56"/>
                  </a:lnTo>
                  <a:lnTo>
                    <a:pt x="862" y="61"/>
                  </a:lnTo>
                  <a:lnTo>
                    <a:pt x="859" y="66"/>
                  </a:lnTo>
                  <a:lnTo>
                    <a:pt x="854" y="68"/>
                  </a:lnTo>
                  <a:lnTo>
                    <a:pt x="847" y="71"/>
                  </a:lnTo>
                  <a:lnTo>
                    <a:pt x="839" y="71"/>
                  </a:lnTo>
                  <a:lnTo>
                    <a:pt x="832" y="71"/>
                  </a:lnTo>
                  <a:lnTo>
                    <a:pt x="824" y="68"/>
                  </a:lnTo>
                  <a:lnTo>
                    <a:pt x="819" y="66"/>
                  </a:lnTo>
                  <a:lnTo>
                    <a:pt x="814" y="61"/>
                  </a:lnTo>
                  <a:lnTo>
                    <a:pt x="812" y="53"/>
                  </a:lnTo>
                  <a:lnTo>
                    <a:pt x="812" y="48"/>
                  </a:lnTo>
                  <a:close/>
                  <a:moveTo>
                    <a:pt x="874" y="46"/>
                  </a:moveTo>
                  <a:lnTo>
                    <a:pt x="874" y="33"/>
                  </a:lnTo>
                  <a:lnTo>
                    <a:pt x="882" y="26"/>
                  </a:lnTo>
                  <a:lnTo>
                    <a:pt x="889" y="21"/>
                  </a:lnTo>
                  <a:lnTo>
                    <a:pt x="896" y="18"/>
                  </a:lnTo>
                  <a:lnTo>
                    <a:pt x="906" y="21"/>
                  </a:lnTo>
                  <a:lnTo>
                    <a:pt x="914" y="26"/>
                  </a:lnTo>
                  <a:lnTo>
                    <a:pt x="919" y="33"/>
                  </a:lnTo>
                  <a:lnTo>
                    <a:pt x="919" y="43"/>
                  </a:lnTo>
                  <a:lnTo>
                    <a:pt x="919" y="53"/>
                  </a:lnTo>
                  <a:lnTo>
                    <a:pt x="916" y="58"/>
                  </a:lnTo>
                  <a:lnTo>
                    <a:pt x="914" y="63"/>
                  </a:lnTo>
                  <a:lnTo>
                    <a:pt x="909" y="68"/>
                  </a:lnTo>
                  <a:lnTo>
                    <a:pt x="901" y="71"/>
                  </a:lnTo>
                  <a:lnTo>
                    <a:pt x="896" y="71"/>
                  </a:lnTo>
                  <a:lnTo>
                    <a:pt x="887" y="68"/>
                  </a:lnTo>
                  <a:lnTo>
                    <a:pt x="879" y="63"/>
                  </a:lnTo>
                  <a:lnTo>
                    <a:pt x="874" y="56"/>
                  </a:lnTo>
                  <a:lnTo>
                    <a:pt x="874" y="46"/>
                  </a:lnTo>
                  <a:close/>
                  <a:moveTo>
                    <a:pt x="882" y="46"/>
                  </a:moveTo>
                  <a:lnTo>
                    <a:pt x="882" y="53"/>
                  </a:lnTo>
                  <a:lnTo>
                    <a:pt x="887" y="58"/>
                  </a:lnTo>
                  <a:lnTo>
                    <a:pt x="891" y="63"/>
                  </a:lnTo>
                  <a:lnTo>
                    <a:pt x="896" y="63"/>
                  </a:lnTo>
                  <a:lnTo>
                    <a:pt x="901" y="63"/>
                  </a:lnTo>
                  <a:lnTo>
                    <a:pt x="906" y="58"/>
                  </a:lnTo>
                  <a:lnTo>
                    <a:pt x="909" y="53"/>
                  </a:lnTo>
                  <a:lnTo>
                    <a:pt x="911" y="46"/>
                  </a:lnTo>
                  <a:lnTo>
                    <a:pt x="909" y="36"/>
                  </a:lnTo>
                  <a:lnTo>
                    <a:pt x="906" y="31"/>
                  </a:lnTo>
                  <a:lnTo>
                    <a:pt x="901" y="28"/>
                  </a:lnTo>
                  <a:lnTo>
                    <a:pt x="896" y="26"/>
                  </a:lnTo>
                  <a:lnTo>
                    <a:pt x="891" y="28"/>
                  </a:lnTo>
                  <a:lnTo>
                    <a:pt x="887" y="31"/>
                  </a:lnTo>
                  <a:lnTo>
                    <a:pt x="882" y="36"/>
                  </a:lnTo>
                  <a:lnTo>
                    <a:pt x="882" y="46"/>
                  </a:lnTo>
                  <a:close/>
                  <a:moveTo>
                    <a:pt x="929" y="71"/>
                  </a:moveTo>
                  <a:lnTo>
                    <a:pt x="929" y="0"/>
                  </a:lnTo>
                  <a:lnTo>
                    <a:pt x="936" y="0"/>
                  </a:lnTo>
                  <a:lnTo>
                    <a:pt x="936" y="71"/>
                  </a:lnTo>
                  <a:lnTo>
                    <a:pt x="929" y="71"/>
                  </a:lnTo>
                  <a:close/>
                  <a:moveTo>
                    <a:pt x="983" y="71"/>
                  </a:moveTo>
                  <a:lnTo>
                    <a:pt x="983" y="63"/>
                  </a:lnTo>
                  <a:lnTo>
                    <a:pt x="976" y="68"/>
                  </a:lnTo>
                  <a:lnTo>
                    <a:pt x="966" y="71"/>
                  </a:lnTo>
                  <a:lnTo>
                    <a:pt x="963" y="71"/>
                  </a:lnTo>
                  <a:lnTo>
                    <a:pt x="959" y="68"/>
                  </a:lnTo>
                  <a:lnTo>
                    <a:pt x="956" y="68"/>
                  </a:lnTo>
                  <a:lnTo>
                    <a:pt x="954" y="66"/>
                  </a:lnTo>
                  <a:lnTo>
                    <a:pt x="951" y="63"/>
                  </a:lnTo>
                  <a:lnTo>
                    <a:pt x="951" y="58"/>
                  </a:lnTo>
                  <a:lnTo>
                    <a:pt x="951" y="56"/>
                  </a:lnTo>
                  <a:lnTo>
                    <a:pt x="951" y="51"/>
                  </a:lnTo>
                  <a:lnTo>
                    <a:pt x="951" y="21"/>
                  </a:lnTo>
                  <a:lnTo>
                    <a:pt x="959" y="21"/>
                  </a:lnTo>
                  <a:lnTo>
                    <a:pt x="959" y="48"/>
                  </a:lnTo>
                  <a:lnTo>
                    <a:pt x="959" y="53"/>
                  </a:lnTo>
                  <a:lnTo>
                    <a:pt x="959" y="56"/>
                  </a:lnTo>
                  <a:lnTo>
                    <a:pt x="961" y="58"/>
                  </a:lnTo>
                  <a:lnTo>
                    <a:pt x="961" y="61"/>
                  </a:lnTo>
                  <a:lnTo>
                    <a:pt x="966" y="63"/>
                  </a:lnTo>
                  <a:lnTo>
                    <a:pt x="968" y="63"/>
                  </a:lnTo>
                  <a:lnTo>
                    <a:pt x="971" y="63"/>
                  </a:lnTo>
                  <a:lnTo>
                    <a:pt x="976" y="61"/>
                  </a:lnTo>
                  <a:lnTo>
                    <a:pt x="978" y="58"/>
                  </a:lnTo>
                  <a:lnTo>
                    <a:pt x="981" y="56"/>
                  </a:lnTo>
                  <a:lnTo>
                    <a:pt x="981" y="53"/>
                  </a:lnTo>
                  <a:lnTo>
                    <a:pt x="981" y="46"/>
                  </a:lnTo>
                  <a:lnTo>
                    <a:pt x="981" y="21"/>
                  </a:lnTo>
                  <a:lnTo>
                    <a:pt x="991" y="21"/>
                  </a:lnTo>
                  <a:lnTo>
                    <a:pt x="991" y="71"/>
                  </a:lnTo>
                  <a:lnTo>
                    <a:pt x="983" y="71"/>
                  </a:lnTo>
                  <a:close/>
                  <a:moveTo>
                    <a:pt x="1021" y="63"/>
                  </a:moveTo>
                  <a:lnTo>
                    <a:pt x="1023" y="71"/>
                  </a:lnTo>
                  <a:lnTo>
                    <a:pt x="1018" y="71"/>
                  </a:lnTo>
                  <a:lnTo>
                    <a:pt x="1016" y="71"/>
                  </a:lnTo>
                  <a:lnTo>
                    <a:pt x="1011" y="71"/>
                  </a:lnTo>
                  <a:lnTo>
                    <a:pt x="1008" y="68"/>
                  </a:lnTo>
                  <a:lnTo>
                    <a:pt x="1006" y="68"/>
                  </a:lnTo>
                  <a:lnTo>
                    <a:pt x="1006" y="66"/>
                  </a:lnTo>
                  <a:lnTo>
                    <a:pt x="1006" y="61"/>
                  </a:lnTo>
                  <a:lnTo>
                    <a:pt x="1003" y="56"/>
                  </a:lnTo>
                  <a:lnTo>
                    <a:pt x="1003" y="26"/>
                  </a:lnTo>
                  <a:lnTo>
                    <a:pt x="998" y="26"/>
                  </a:lnTo>
                  <a:lnTo>
                    <a:pt x="998" y="21"/>
                  </a:lnTo>
                  <a:lnTo>
                    <a:pt x="1003" y="21"/>
                  </a:lnTo>
                  <a:lnTo>
                    <a:pt x="1003" y="8"/>
                  </a:lnTo>
                  <a:lnTo>
                    <a:pt x="1013" y="3"/>
                  </a:lnTo>
                  <a:lnTo>
                    <a:pt x="1013" y="21"/>
                  </a:lnTo>
                  <a:lnTo>
                    <a:pt x="1021" y="21"/>
                  </a:lnTo>
                  <a:lnTo>
                    <a:pt x="1021" y="26"/>
                  </a:lnTo>
                  <a:lnTo>
                    <a:pt x="1013" y="26"/>
                  </a:lnTo>
                  <a:lnTo>
                    <a:pt x="1013" y="56"/>
                  </a:lnTo>
                  <a:lnTo>
                    <a:pt x="1013" y="58"/>
                  </a:lnTo>
                  <a:lnTo>
                    <a:pt x="1013" y="61"/>
                  </a:lnTo>
                  <a:lnTo>
                    <a:pt x="1016" y="61"/>
                  </a:lnTo>
                  <a:lnTo>
                    <a:pt x="1016" y="63"/>
                  </a:lnTo>
                  <a:lnTo>
                    <a:pt x="1018" y="63"/>
                  </a:lnTo>
                  <a:lnTo>
                    <a:pt x="1021" y="63"/>
                  </a:lnTo>
                  <a:close/>
                  <a:moveTo>
                    <a:pt x="1028" y="11"/>
                  </a:moveTo>
                  <a:lnTo>
                    <a:pt x="1028" y="0"/>
                  </a:lnTo>
                  <a:lnTo>
                    <a:pt x="1038" y="0"/>
                  </a:lnTo>
                  <a:lnTo>
                    <a:pt x="1038" y="11"/>
                  </a:lnTo>
                  <a:lnTo>
                    <a:pt x="1028" y="11"/>
                  </a:lnTo>
                  <a:close/>
                  <a:moveTo>
                    <a:pt x="1028" y="71"/>
                  </a:moveTo>
                  <a:lnTo>
                    <a:pt x="1028" y="21"/>
                  </a:lnTo>
                  <a:lnTo>
                    <a:pt x="1038" y="21"/>
                  </a:lnTo>
                  <a:lnTo>
                    <a:pt x="1038" y="71"/>
                  </a:lnTo>
                  <a:lnTo>
                    <a:pt x="1028" y="71"/>
                  </a:lnTo>
                  <a:close/>
                  <a:moveTo>
                    <a:pt x="1048" y="46"/>
                  </a:moveTo>
                  <a:lnTo>
                    <a:pt x="1048" y="33"/>
                  </a:lnTo>
                  <a:lnTo>
                    <a:pt x="1055" y="26"/>
                  </a:lnTo>
                  <a:lnTo>
                    <a:pt x="1063" y="21"/>
                  </a:lnTo>
                  <a:lnTo>
                    <a:pt x="1070" y="18"/>
                  </a:lnTo>
                  <a:lnTo>
                    <a:pt x="1080" y="21"/>
                  </a:lnTo>
                  <a:lnTo>
                    <a:pt x="1088" y="26"/>
                  </a:lnTo>
                  <a:lnTo>
                    <a:pt x="1093" y="33"/>
                  </a:lnTo>
                  <a:lnTo>
                    <a:pt x="1093" y="43"/>
                  </a:lnTo>
                  <a:lnTo>
                    <a:pt x="1093" y="53"/>
                  </a:lnTo>
                  <a:lnTo>
                    <a:pt x="1090" y="58"/>
                  </a:lnTo>
                  <a:lnTo>
                    <a:pt x="1088" y="63"/>
                  </a:lnTo>
                  <a:lnTo>
                    <a:pt x="1083" y="68"/>
                  </a:lnTo>
                  <a:lnTo>
                    <a:pt x="1075" y="71"/>
                  </a:lnTo>
                  <a:lnTo>
                    <a:pt x="1070" y="71"/>
                  </a:lnTo>
                  <a:lnTo>
                    <a:pt x="1060" y="68"/>
                  </a:lnTo>
                  <a:lnTo>
                    <a:pt x="1053" y="63"/>
                  </a:lnTo>
                  <a:lnTo>
                    <a:pt x="1048" y="56"/>
                  </a:lnTo>
                  <a:lnTo>
                    <a:pt x="1048" y="46"/>
                  </a:lnTo>
                  <a:close/>
                  <a:moveTo>
                    <a:pt x="1055" y="46"/>
                  </a:moveTo>
                  <a:lnTo>
                    <a:pt x="1058" y="53"/>
                  </a:lnTo>
                  <a:lnTo>
                    <a:pt x="1060" y="58"/>
                  </a:lnTo>
                  <a:lnTo>
                    <a:pt x="1065" y="63"/>
                  </a:lnTo>
                  <a:lnTo>
                    <a:pt x="1070" y="63"/>
                  </a:lnTo>
                  <a:lnTo>
                    <a:pt x="1075" y="63"/>
                  </a:lnTo>
                  <a:lnTo>
                    <a:pt x="1080" y="58"/>
                  </a:lnTo>
                  <a:lnTo>
                    <a:pt x="1083" y="53"/>
                  </a:lnTo>
                  <a:lnTo>
                    <a:pt x="1085" y="46"/>
                  </a:lnTo>
                  <a:lnTo>
                    <a:pt x="1083" y="36"/>
                  </a:lnTo>
                  <a:lnTo>
                    <a:pt x="1080" y="31"/>
                  </a:lnTo>
                  <a:lnTo>
                    <a:pt x="1075" y="28"/>
                  </a:lnTo>
                  <a:lnTo>
                    <a:pt x="1070" y="26"/>
                  </a:lnTo>
                  <a:lnTo>
                    <a:pt x="1065" y="28"/>
                  </a:lnTo>
                  <a:lnTo>
                    <a:pt x="1060" y="31"/>
                  </a:lnTo>
                  <a:lnTo>
                    <a:pt x="1058" y="36"/>
                  </a:lnTo>
                  <a:lnTo>
                    <a:pt x="1055" y="46"/>
                  </a:lnTo>
                  <a:close/>
                  <a:moveTo>
                    <a:pt x="1103" y="71"/>
                  </a:moveTo>
                  <a:lnTo>
                    <a:pt x="1103" y="21"/>
                  </a:lnTo>
                  <a:lnTo>
                    <a:pt x="1110" y="21"/>
                  </a:lnTo>
                  <a:lnTo>
                    <a:pt x="1110" y="28"/>
                  </a:lnTo>
                  <a:lnTo>
                    <a:pt x="1117" y="21"/>
                  </a:lnTo>
                  <a:lnTo>
                    <a:pt x="1125" y="18"/>
                  </a:lnTo>
                  <a:lnTo>
                    <a:pt x="1130" y="21"/>
                  </a:lnTo>
                  <a:lnTo>
                    <a:pt x="1135" y="21"/>
                  </a:lnTo>
                  <a:lnTo>
                    <a:pt x="1137" y="23"/>
                  </a:lnTo>
                  <a:lnTo>
                    <a:pt x="1140" y="26"/>
                  </a:lnTo>
                  <a:lnTo>
                    <a:pt x="1142" y="28"/>
                  </a:lnTo>
                  <a:lnTo>
                    <a:pt x="1142" y="31"/>
                  </a:lnTo>
                  <a:lnTo>
                    <a:pt x="1142" y="33"/>
                  </a:lnTo>
                  <a:lnTo>
                    <a:pt x="1142" y="38"/>
                  </a:lnTo>
                  <a:lnTo>
                    <a:pt x="1142" y="71"/>
                  </a:lnTo>
                  <a:lnTo>
                    <a:pt x="1135" y="71"/>
                  </a:lnTo>
                  <a:lnTo>
                    <a:pt x="1135" y="41"/>
                  </a:lnTo>
                  <a:lnTo>
                    <a:pt x="1135" y="36"/>
                  </a:lnTo>
                  <a:lnTo>
                    <a:pt x="1132" y="33"/>
                  </a:lnTo>
                  <a:lnTo>
                    <a:pt x="1132" y="31"/>
                  </a:lnTo>
                  <a:lnTo>
                    <a:pt x="1130" y="28"/>
                  </a:lnTo>
                  <a:lnTo>
                    <a:pt x="1127" y="26"/>
                  </a:lnTo>
                  <a:lnTo>
                    <a:pt x="1125" y="26"/>
                  </a:lnTo>
                  <a:lnTo>
                    <a:pt x="1120" y="28"/>
                  </a:lnTo>
                  <a:lnTo>
                    <a:pt x="1115" y="31"/>
                  </a:lnTo>
                  <a:lnTo>
                    <a:pt x="1113" y="36"/>
                  </a:lnTo>
                  <a:lnTo>
                    <a:pt x="1113" y="43"/>
                  </a:lnTo>
                  <a:lnTo>
                    <a:pt x="1113" y="71"/>
                  </a:lnTo>
                  <a:lnTo>
                    <a:pt x="1103" y="71"/>
                  </a:lnTo>
                  <a:close/>
                  <a:moveTo>
                    <a:pt x="1152" y="56"/>
                  </a:moveTo>
                  <a:lnTo>
                    <a:pt x="1160" y="53"/>
                  </a:lnTo>
                  <a:lnTo>
                    <a:pt x="1162" y="58"/>
                  </a:lnTo>
                  <a:lnTo>
                    <a:pt x="1165" y="61"/>
                  </a:lnTo>
                  <a:lnTo>
                    <a:pt x="1167" y="63"/>
                  </a:lnTo>
                  <a:lnTo>
                    <a:pt x="1172" y="63"/>
                  </a:lnTo>
                  <a:lnTo>
                    <a:pt x="1180" y="63"/>
                  </a:lnTo>
                  <a:lnTo>
                    <a:pt x="1182" y="61"/>
                  </a:lnTo>
                  <a:lnTo>
                    <a:pt x="1185" y="58"/>
                  </a:lnTo>
                  <a:lnTo>
                    <a:pt x="1185" y="56"/>
                  </a:lnTo>
                  <a:lnTo>
                    <a:pt x="1185" y="53"/>
                  </a:lnTo>
                  <a:lnTo>
                    <a:pt x="1182" y="51"/>
                  </a:lnTo>
                  <a:lnTo>
                    <a:pt x="1180" y="51"/>
                  </a:lnTo>
                  <a:lnTo>
                    <a:pt x="1175" y="48"/>
                  </a:lnTo>
                  <a:lnTo>
                    <a:pt x="1167" y="46"/>
                  </a:lnTo>
                  <a:lnTo>
                    <a:pt x="1162" y="46"/>
                  </a:lnTo>
                  <a:lnTo>
                    <a:pt x="1157" y="43"/>
                  </a:lnTo>
                  <a:lnTo>
                    <a:pt x="1155" y="41"/>
                  </a:lnTo>
                  <a:lnTo>
                    <a:pt x="1155" y="36"/>
                  </a:lnTo>
                  <a:lnTo>
                    <a:pt x="1155" y="33"/>
                  </a:lnTo>
                  <a:lnTo>
                    <a:pt x="1155" y="31"/>
                  </a:lnTo>
                  <a:lnTo>
                    <a:pt x="1155" y="28"/>
                  </a:lnTo>
                  <a:lnTo>
                    <a:pt x="1157" y="26"/>
                  </a:lnTo>
                  <a:lnTo>
                    <a:pt x="1160" y="23"/>
                  </a:lnTo>
                  <a:lnTo>
                    <a:pt x="1162" y="21"/>
                  </a:lnTo>
                  <a:lnTo>
                    <a:pt x="1165" y="21"/>
                  </a:lnTo>
                  <a:lnTo>
                    <a:pt x="1167" y="18"/>
                  </a:lnTo>
                  <a:lnTo>
                    <a:pt x="1172" y="18"/>
                  </a:lnTo>
                  <a:lnTo>
                    <a:pt x="1177" y="21"/>
                  </a:lnTo>
                  <a:lnTo>
                    <a:pt x="1182" y="21"/>
                  </a:lnTo>
                  <a:lnTo>
                    <a:pt x="1187" y="23"/>
                  </a:lnTo>
                  <a:lnTo>
                    <a:pt x="1190" y="26"/>
                  </a:lnTo>
                  <a:lnTo>
                    <a:pt x="1190" y="28"/>
                  </a:lnTo>
                  <a:lnTo>
                    <a:pt x="1192" y="33"/>
                  </a:lnTo>
                  <a:lnTo>
                    <a:pt x="1182" y="33"/>
                  </a:lnTo>
                  <a:lnTo>
                    <a:pt x="1182" y="31"/>
                  </a:lnTo>
                  <a:lnTo>
                    <a:pt x="1180" y="28"/>
                  </a:lnTo>
                  <a:lnTo>
                    <a:pt x="1177" y="26"/>
                  </a:lnTo>
                  <a:lnTo>
                    <a:pt x="1172" y="26"/>
                  </a:lnTo>
                  <a:lnTo>
                    <a:pt x="1167" y="26"/>
                  </a:lnTo>
                  <a:lnTo>
                    <a:pt x="1165" y="28"/>
                  </a:lnTo>
                  <a:lnTo>
                    <a:pt x="1162" y="31"/>
                  </a:lnTo>
                  <a:lnTo>
                    <a:pt x="1162" y="33"/>
                  </a:lnTo>
                  <a:lnTo>
                    <a:pt x="1162" y="36"/>
                  </a:lnTo>
                  <a:lnTo>
                    <a:pt x="1165" y="36"/>
                  </a:lnTo>
                  <a:lnTo>
                    <a:pt x="1167" y="38"/>
                  </a:lnTo>
                  <a:lnTo>
                    <a:pt x="1170" y="38"/>
                  </a:lnTo>
                  <a:lnTo>
                    <a:pt x="1175" y="41"/>
                  </a:lnTo>
                  <a:lnTo>
                    <a:pt x="1182" y="41"/>
                  </a:lnTo>
                  <a:lnTo>
                    <a:pt x="1185" y="43"/>
                  </a:lnTo>
                  <a:lnTo>
                    <a:pt x="1190" y="46"/>
                  </a:lnTo>
                  <a:lnTo>
                    <a:pt x="1192" y="48"/>
                  </a:lnTo>
                  <a:lnTo>
                    <a:pt x="1192" y="51"/>
                  </a:lnTo>
                  <a:lnTo>
                    <a:pt x="1192" y="56"/>
                  </a:lnTo>
                  <a:lnTo>
                    <a:pt x="1192" y="58"/>
                  </a:lnTo>
                  <a:lnTo>
                    <a:pt x="1192" y="63"/>
                  </a:lnTo>
                  <a:lnTo>
                    <a:pt x="1187" y="66"/>
                  </a:lnTo>
                  <a:lnTo>
                    <a:pt x="1185" y="68"/>
                  </a:lnTo>
                  <a:lnTo>
                    <a:pt x="1180" y="71"/>
                  </a:lnTo>
                  <a:lnTo>
                    <a:pt x="1175" y="71"/>
                  </a:lnTo>
                  <a:lnTo>
                    <a:pt x="1165" y="71"/>
                  </a:lnTo>
                  <a:lnTo>
                    <a:pt x="1160" y="66"/>
                  </a:lnTo>
                  <a:lnTo>
                    <a:pt x="1155" y="61"/>
                  </a:lnTo>
                  <a:lnTo>
                    <a:pt x="1152" y="56"/>
                  </a:lnTo>
                  <a:close/>
                  <a:moveTo>
                    <a:pt x="357" y="51"/>
                  </a:moveTo>
                  <a:lnTo>
                    <a:pt x="365" y="53"/>
                  </a:lnTo>
                  <a:lnTo>
                    <a:pt x="362" y="61"/>
                  </a:lnTo>
                  <a:lnTo>
                    <a:pt x="360" y="66"/>
                  </a:lnTo>
                  <a:lnTo>
                    <a:pt x="353" y="71"/>
                  </a:lnTo>
                  <a:lnTo>
                    <a:pt x="345" y="71"/>
                  </a:lnTo>
                  <a:lnTo>
                    <a:pt x="335" y="68"/>
                  </a:lnTo>
                  <a:lnTo>
                    <a:pt x="330" y="63"/>
                  </a:lnTo>
                  <a:lnTo>
                    <a:pt x="325" y="56"/>
                  </a:lnTo>
                  <a:lnTo>
                    <a:pt x="323" y="46"/>
                  </a:lnTo>
                  <a:lnTo>
                    <a:pt x="323" y="38"/>
                  </a:lnTo>
                  <a:lnTo>
                    <a:pt x="325" y="31"/>
                  </a:lnTo>
                  <a:lnTo>
                    <a:pt x="330" y="26"/>
                  </a:lnTo>
                  <a:lnTo>
                    <a:pt x="333" y="23"/>
                  </a:lnTo>
                  <a:lnTo>
                    <a:pt x="340" y="21"/>
                  </a:lnTo>
                  <a:lnTo>
                    <a:pt x="345" y="18"/>
                  </a:lnTo>
                  <a:lnTo>
                    <a:pt x="353" y="21"/>
                  </a:lnTo>
                  <a:lnTo>
                    <a:pt x="357" y="23"/>
                  </a:lnTo>
                  <a:lnTo>
                    <a:pt x="362" y="28"/>
                  </a:lnTo>
                  <a:lnTo>
                    <a:pt x="365" y="36"/>
                  </a:lnTo>
                  <a:lnTo>
                    <a:pt x="357" y="36"/>
                  </a:lnTo>
                  <a:lnTo>
                    <a:pt x="355" y="31"/>
                  </a:lnTo>
                  <a:lnTo>
                    <a:pt x="353" y="28"/>
                  </a:lnTo>
                  <a:lnTo>
                    <a:pt x="350" y="26"/>
                  </a:lnTo>
                  <a:lnTo>
                    <a:pt x="345" y="26"/>
                  </a:lnTo>
                  <a:lnTo>
                    <a:pt x="340" y="28"/>
                  </a:lnTo>
                  <a:lnTo>
                    <a:pt x="335" y="31"/>
                  </a:lnTo>
                  <a:lnTo>
                    <a:pt x="333" y="36"/>
                  </a:lnTo>
                  <a:lnTo>
                    <a:pt x="333" y="46"/>
                  </a:lnTo>
                  <a:lnTo>
                    <a:pt x="333" y="53"/>
                  </a:lnTo>
                  <a:lnTo>
                    <a:pt x="335" y="58"/>
                  </a:lnTo>
                  <a:lnTo>
                    <a:pt x="340" y="63"/>
                  </a:lnTo>
                  <a:lnTo>
                    <a:pt x="345" y="63"/>
                  </a:lnTo>
                  <a:lnTo>
                    <a:pt x="350" y="63"/>
                  </a:lnTo>
                  <a:lnTo>
                    <a:pt x="353" y="61"/>
                  </a:lnTo>
                  <a:lnTo>
                    <a:pt x="355" y="58"/>
                  </a:lnTo>
                  <a:lnTo>
                    <a:pt x="357" y="51"/>
                  </a:lnTo>
                  <a:close/>
                </a:path>
              </a:pathLst>
            </a:custGeom>
            <a:solidFill>
              <a:srgbClr val="17357C"/>
            </a:solidFill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2079" name="Rectangle 24"/>
            <p:cNvSpPr>
              <a:spLocks noChangeArrowheads="1"/>
            </p:cNvSpPr>
            <p:nvPr/>
          </p:nvSpPr>
          <p:spPr bwMode="auto">
            <a:xfrm>
              <a:off x="1214" y="1814"/>
              <a:ext cx="80" cy="82"/>
            </a:xfrm>
            <a:prstGeom prst="rect">
              <a:avLst/>
            </a:prstGeom>
            <a:solidFill>
              <a:srgbClr val="17357C"/>
            </a:solidFill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ru-RU" sz="240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86" r:id="rId1"/>
    <p:sldLayoutId id="2147483787" r:id="rId2"/>
    <p:sldLayoutId id="2147483788" r:id="rId3"/>
    <p:sldLayoutId id="2147483789" r:id="rId4"/>
    <p:sldLayoutId id="2147483790" r:id="rId5"/>
    <p:sldLayoutId id="2147483791" r:id="rId6"/>
    <p:sldLayoutId id="2147483792" r:id="rId7"/>
    <p:sldLayoutId id="2147483793" r:id="rId8"/>
    <p:sldLayoutId id="2147483794" r:id="rId9"/>
    <p:sldLayoutId id="2147483795" r:id="rId10"/>
    <p:sldLayoutId id="2147483796" r:id="rId11"/>
    <p:sldLayoutId id="2147483797" r:id="rId12"/>
  </p:sldLayoutIdLst>
  <p:hf hdr="0" ftr="0" dt="0"/>
  <p:txStyles>
    <p:titleStyle>
      <a:lvl1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rgbClr val="000000"/>
          </a:solidFill>
          <a:latin typeface="+mj-lt"/>
          <a:ea typeface="ＭＳ Ｐゴシック" pitchFamily="34" charset="-128"/>
          <a:cs typeface="ＭＳ Ｐゴシック" charset="0"/>
        </a:defRPr>
      </a:lvl1pPr>
      <a:lvl2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rgbClr val="000000"/>
          </a:solidFill>
          <a:latin typeface="Arial" charset="0"/>
          <a:ea typeface="ＭＳ Ｐゴシック" pitchFamily="34" charset="-128"/>
          <a:cs typeface="ＭＳ Ｐゴシック" charset="0"/>
        </a:defRPr>
      </a:lvl2pPr>
      <a:lvl3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rgbClr val="000000"/>
          </a:solidFill>
          <a:latin typeface="Arial" charset="0"/>
          <a:ea typeface="ＭＳ Ｐゴシック" pitchFamily="34" charset="-128"/>
          <a:cs typeface="ＭＳ Ｐゴシック" charset="0"/>
        </a:defRPr>
      </a:lvl3pPr>
      <a:lvl4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rgbClr val="000000"/>
          </a:solidFill>
          <a:latin typeface="Arial" charset="0"/>
          <a:ea typeface="ＭＳ Ｐゴシック" pitchFamily="34" charset="-128"/>
          <a:cs typeface="ＭＳ Ｐゴシック" charset="0"/>
        </a:defRPr>
      </a:lvl4pPr>
      <a:lvl5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rgbClr val="000000"/>
          </a:solidFill>
          <a:latin typeface="Arial" charset="0"/>
          <a:ea typeface="ＭＳ Ｐゴシック" pitchFamily="34" charset="-128"/>
          <a:cs typeface="ＭＳ Ｐゴシック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600">
          <a:solidFill>
            <a:srgbClr val="000000"/>
          </a:solidFill>
          <a:latin typeface="+mn-lt"/>
          <a:ea typeface="ＭＳ Ｐゴシック" pitchFamily="34" charset="-128"/>
          <a:cs typeface="ＭＳ Ｐゴシック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400">
          <a:solidFill>
            <a:srgbClr val="000000"/>
          </a:solidFill>
          <a:latin typeface="+mn-lt"/>
          <a:ea typeface="ＭＳ Ｐゴシック" pitchFamily="34" charset="-128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200">
          <a:solidFill>
            <a:srgbClr val="000000"/>
          </a:solidFill>
          <a:latin typeface="+mn-lt"/>
          <a:ea typeface="ＭＳ Ｐゴシック" pitchFamily="34" charset="-128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000">
          <a:solidFill>
            <a:srgbClr val="000000"/>
          </a:solidFill>
          <a:latin typeface="+mn-lt"/>
          <a:ea typeface="ＭＳ Ｐゴシック" pitchFamily="34" charset="-128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000">
          <a:solidFill>
            <a:srgbClr val="000000"/>
          </a:solidFill>
          <a:latin typeface="+mn-lt"/>
          <a:ea typeface="ＭＳ Ｐゴシック" pitchFamily="34" charset="-128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000">
          <a:solidFill>
            <a:srgbClr val="000000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000">
          <a:solidFill>
            <a:srgbClr val="000000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000">
          <a:solidFill>
            <a:srgbClr val="000000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000">
          <a:solidFill>
            <a:srgbClr val="000000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jpeg"/><Relationship Id="rId2" Type="http://schemas.openxmlformats.org/officeDocument/2006/relationships/tags" Target="../tags/tag19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5" Type="http://schemas.openxmlformats.org/officeDocument/2006/relationships/image" Target="../media/image2.jpeg"/><Relationship Id="rId4" Type="http://schemas.openxmlformats.org/officeDocument/2006/relationships/oleObject" Target="../embeddings/oleObject2.bin"/><Relationship Id="rId9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321.xml"/><Relationship Id="rId2" Type="http://schemas.openxmlformats.org/officeDocument/2006/relationships/tags" Target="../tags/tag320.xml"/><Relationship Id="rId1" Type="http://schemas.openxmlformats.org/officeDocument/2006/relationships/vmlDrawing" Target="../drawings/vmlDrawing10.vml"/><Relationship Id="rId5" Type="http://schemas.openxmlformats.org/officeDocument/2006/relationships/oleObject" Target="../embeddings/oleObject19.bin"/><Relationship Id="rId4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323.xml"/><Relationship Id="rId2" Type="http://schemas.openxmlformats.org/officeDocument/2006/relationships/tags" Target="../tags/tag322.xml"/><Relationship Id="rId1" Type="http://schemas.openxmlformats.org/officeDocument/2006/relationships/vmlDrawing" Target="../drawings/vmlDrawing11.vml"/><Relationship Id="rId5" Type="http://schemas.openxmlformats.org/officeDocument/2006/relationships/oleObject" Target="../embeddings/oleObject20.bin"/><Relationship Id="rId4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325.xml"/><Relationship Id="rId2" Type="http://schemas.openxmlformats.org/officeDocument/2006/relationships/tags" Target="../tags/tag324.xml"/><Relationship Id="rId1" Type="http://schemas.openxmlformats.org/officeDocument/2006/relationships/vmlDrawing" Target="../drawings/vmlDrawing12.vml"/><Relationship Id="rId5" Type="http://schemas.openxmlformats.org/officeDocument/2006/relationships/oleObject" Target="../embeddings/oleObject21.bin"/><Relationship Id="rId4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327.xml"/><Relationship Id="rId2" Type="http://schemas.openxmlformats.org/officeDocument/2006/relationships/tags" Target="../tags/tag326.xml"/><Relationship Id="rId1" Type="http://schemas.openxmlformats.org/officeDocument/2006/relationships/vmlDrawing" Target="../drawings/vmlDrawing13.vml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13" Type="http://schemas.openxmlformats.org/officeDocument/2006/relationships/tags" Target="../tags/tag339.xml"/><Relationship Id="rId18" Type="http://schemas.openxmlformats.org/officeDocument/2006/relationships/tags" Target="../tags/tag344.xml"/><Relationship Id="rId26" Type="http://schemas.openxmlformats.org/officeDocument/2006/relationships/tags" Target="../tags/tag352.xml"/><Relationship Id="rId39" Type="http://schemas.openxmlformats.org/officeDocument/2006/relationships/tags" Target="../tags/tag365.xml"/><Relationship Id="rId3" Type="http://schemas.openxmlformats.org/officeDocument/2006/relationships/tags" Target="../tags/tag329.xml"/><Relationship Id="rId21" Type="http://schemas.openxmlformats.org/officeDocument/2006/relationships/tags" Target="../tags/tag347.xml"/><Relationship Id="rId34" Type="http://schemas.openxmlformats.org/officeDocument/2006/relationships/tags" Target="../tags/tag360.xml"/><Relationship Id="rId42" Type="http://schemas.openxmlformats.org/officeDocument/2006/relationships/tags" Target="../tags/tag368.xml"/><Relationship Id="rId47" Type="http://schemas.openxmlformats.org/officeDocument/2006/relationships/tags" Target="../tags/tag373.xml"/><Relationship Id="rId50" Type="http://schemas.openxmlformats.org/officeDocument/2006/relationships/tags" Target="../tags/tag376.xml"/><Relationship Id="rId7" Type="http://schemas.openxmlformats.org/officeDocument/2006/relationships/tags" Target="../tags/tag333.xml"/><Relationship Id="rId12" Type="http://schemas.openxmlformats.org/officeDocument/2006/relationships/tags" Target="../tags/tag338.xml"/><Relationship Id="rId17" Type="http://schemas.openxmlformats.org/officeDocument/2006/relationships/tags" Target="../tags/tag343.xml"/><Relationship Id="rId25" Type="http://schemas.openxmlformats.org/officeDocument/2006/relationships/tags" Target="../tags/tag351.xml"/><Relationship Id="rId33" Type="http://schemas.openxmlformats.org/officeDocument/2006/relationships/tags" Target="../tags/tag359.xml"/><Relationship Id="rId38" Type="http://schemas.openxmlformats.org/officeDocument/2006/relationships/tags" Target="../tags/tag364.xml"/><Relationship Id="rId46" Type="http://schemas.openxmlformats.org/officeDocument/2006/relationships/tags" Target="../tags/tag372.xml"/><Relationship Id="rId2" Type="http://schemas.openxmlformats.org/officeDocument/2006/relationships/tags" Target="../tags/tag328.xml"/><Relationship Id="rId16" Type="http://schemas.openxmlformats.org/officeDocument/2006/relationships/tags" Target="../tags/tag342.xml"/><Relationship Id="rId20" Type="http://schemas.openxmlformats.org/officeDocument/2006/relationships/tags" Target="../tags/tag346.xml"/><Relationship Id="rId29" Type="http://schemas.openxmlformats.org/officeDocument/2006/relationships/tags" Target="../tags/tag355.xml"/><Relationship Id="rId41" Type="http://schemas.openxmlformats.org/officeDocument/2006/relationships/tags" Target="../tags/tag367.xml"/><Relationship Id="rId1" Type="http://schemas.openxmlformats.org/officeDocument/2006/relationships/vmlDrawing" Target="../drawings/vmlDrawing14.vml"/><Relationship Id="rId6" Type="http://schemas.openxmlformats.org/officeDocument/2006/relationships/tags" Target="../tags/tag332.xml"/><Relationship Id="rId11" Type="http://schemas.openxmlformats.org/officeDocument/2006/relationships/tags" Target="../tags/tag337.xml"/><Relationship Id="rId24" Type="http://schemas.openxmlformats.org/officeDocument/2006/relationships/tags" Target="../tags/tag350.xml"/><Relationship Id="rId32" Type="http://schemas.openxmlformats.org/officeDocument/2006/relationships/tags" Target="../tags/tag358.xml"/><Relationship Id="rId37" Type="http://schemas.openxmlformats.org/officeDocument/2006/relationships/tags" Target="../tags/tag363.xml"/><Relationship Id="rId40" Type="http://schemas.openxmlformats.org/officeDocument/2006/relationships/tags" Target="../tags/tag366.xml"/><Relationship Id="rId45" Type="http://schemas.openxmlformats.org/officeDocument/2006/relationships/tags" Target="../tags/tag371.xml"/><Relationship Id="rId53" Type="http://schemas.openxmlformats.org/officeDocument/2006/relationships/oleObject" Target="../embeddings/oleObject24.bin"/><Relationship Id="rId5" Type="http://schemas.openxmlformats.org/officeDocument/2006/relationships/tags" Target="../tags/tag331.xml"/><Relationship Id="rId15" Type="http://schemas.openxmlformats.org/officeDocument/2006/relationships/tags" Target="../tags/tag341.xml"/><Relationship Id="rId23" Type="http://schemas.openxmlformats.org/officeDocument/2006/relationships/tags" Target="../tags/tag349.xml"/><Relationship Id="rId28" Type="http://schemas.openxmlformats.org/officeDocument/2006/relationships/tags" Target="../tags/tag354.xml"/><Relationship Id="rId36" Type="http://schemas.openxmlformats.org/officeDocument/2006/relationships/tags" Target="../tags/tag362.xml"/><Relationship Id="rId49" Type="http://schemas.openxmlformats.org/officeDocument/2006/relationships/tags" Target="../tags/tag375.xml"/><Relationship Id="rId10" Type="http://schemas.openxmlformats.org/officeDocument/2006/relationships/tags" Target="../tags/tag336.xml"/><Relationship Id="rId19" Type="http://schemas.openxmlformats.org/officeDocument/2006/relationships/tags" Target="../tags/tag345.xml"/><Relationship Id="rId31" Type="http://schemas.openxmlformats.org/officeDocument/2006/relationships/tags" Target="../tags/tag357.xml"/><Relationship Id="rId44" Type="http://schemas.openxmlformats.org/officeDocument/2006/relationships/tags" Target="../tags/tag370.xml"/><Relationship Id="rId52" Type="http://schemas.openxmlformats.org/officeDocument/2006/relationships/oleObject" Target="../embeddings/oleObject23.bin"/><Relationship Id="rId4" Type="http://schemas.openxmlformats.org/officeDocument/2006/relationships/tags" Target="../tags/tag330.xml"/><Relationship Id="rId9" Type="http://schemas.openxmlformats.org/officeDocument/2006/relationships/tags" Target="../tags/tag335.xml"/><Relationship Id="rId14" Type="http://schemas.openxmlformats.org/officeDocument/2006/relationships/tags" Target="../tags/tag340.xml"/><Relationship Id="rId22" Type="http://schemas.openxmlformats.org/officeDocument/2006/relationships/tags" Target="../tags/tag348.xml"/><Relationship Id="rId27" Type="http://schemas.openxmlformats.org/officeDocument/2006/relationships/tags" Target="../tags/tag353.xml"/><Relationship Id="rId30" Type="http://schemas.openxmlformats.org/officeDocument/2006/relationships/tags" Target="../tags/tag356.xml"/><Relationship Id="rId35" Type="http://schemas.openxmlformats.org/officeDocument/2006/relationships/tags" Target="../tags/tag361.xml"/><Relationship Id="rId43" Type="http://schemas.openxmlformats.org/officeDocument/2006/relationships/tags" Target="../tags/tag369.xml"/><Relationship Id="rId48" Type="http://schemas.openxmlformats.org/officeDocument/2006/relationships/tags" Target="../tags/tag374.xml"/><Relationship Id="rId8" Type="http://schemas.openxmlformats.org/officeDocument/2006/relationships/tags" Target="../tags/tag334.xml"/><Relationship Id="rId5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383.xml"/><Relationship Id="rId13" Type="http://schemas.openxmlformats.org/officeDocument/2006/relationships/tags" Target="../tags/tag388.xml"/><Relationship Id="rId18" Type="http://schemas.openxmlformats.org/officeDocument/2006/relationships/tags" Target="../tags/tag393.xml"/><Relationship Id="rId26" Type="http://schemas.openxmlformats.org/officeDocument/2006/relationships/slideLayout" Target="../slideLayouts/slideLayout13.xml"/><Relationship Id="rId3" Type="http://schemas.openxmlformats.org/officeDocument/2006/relationships/tags" Target="../tags/tag378.xml"/><Relationship Id="rId21" Type="http://schemas.openxmlformats.org/officeDocument/2006/relationships/tags" Target="../tags/tag396.xml"/><Relationship Id="rId7" Type="http://schemas.openxmlformats.org/officeDocument/2006/relationships/tags" Target="../tags/tag382.xml"/><Relationship Id="rId12" Type="http://schemas.openxmlformats.org/officeDocument/2006/relationships/tags" Target="../tags/tag387.xml"/><Relationship Id="rId17" Type="http://schemas.openxmlformats.org/officeDocument/2006/relationships/tags" Target="../tags/tag392.xml"/><Relationship Id="rId25" Type="http://schemas.openxmlformats.org/officeDocument/2006/relationships/tags" Target="../tags/tag400.xml"/><Relationship Id="rId2" Type="http://schemas.openxmlformats.org/officeDocument/2006/relationships/tags" Target="../tags/tag377.xml"/><Relationship Id="rId16" Type="http://schemas.openxmlformats.org/officeDocument/2006/relationships/tags" Target="../tags/tag391.xml"/><Relationship Id="rId20" Type="http://schemas.openxmlformats.org/officeDocument/2006/relationships/tags" Target="../tags/tag395.xml"/><Relationship Id="rId1" Type="http://schemas.openxmlformats.org/officeDocument/2006/relationships/vmlDrawing" Target="../drawings/vmlDrawing15.vml"/><Relationship Id="rId6" Type="http://schemas.openxmlformats.org/officeDocument/2006/relationships/tags" Target="../tags/tag381.xml"/><Relationship Id="rId11" Type="http://schemas.openxmlformats.org/officeDocument/2006/relationships/tags" Target="../tags/tag386.xml"/><Relationship Id="rId24" Type="http://schemas.openxmlformats.org/officeDocument/2006/relationships/tags" Target="../tags/tag399.xml"/><Relationship Id="rId5" Type="http://schemas.openxmlformats.org/officeDocument/2006/relationships/tags" Target="../tags/tag380.xml"/><Relationship Id="rId15" Type="http://schemas.openxmlformats.org/officeDocument/2006/relationships/tags" Target="../tags/tag390.xml"/><Relationship Id="rId23" Type="http://schemas.openxmlformats.org/officeDocument/2006/relationships/tags" Target="../tags/tag398.xml"/><Relationship Id="rId28" Type="http://schemas.openxmlformats.org/officeDocument/2006/relationships/oleObject" Target="../embeddings/oleObject26.bin"/><Relationship Id="rId10" Type="http://schemas.openxmlformats.org/officeDocument/2006/relationships/tags" Target="../tags/tag385.xml"/><Relationship Id="rId19" Type="http://schemas.openxmlformats.org/officeDocument/2006/relationships/tags" Target="../tags/tag394.xml"/><Relationship Id="rId4" Type="http://schemas.openxmlformats.org/officeDocument/2006/relationships/tags" Target="../tags/tag379.xml"/><Relationship Id="rId9" Type="http://schemas.openxmlformats.org/officeDocument/2006/relationships/tags" Target="../tags/tag384.xml"/><Relationship Id="rId14" Type="http://schemas.openxmlformats.org/officeDocument/2006/relationships/tags" Target="../tags/tag389.xml"/><Relationship Id="rId22" Type="http://schemas.openxmlformats.org/officeDocument/2006/relationships/tags" Target="../tags/tag397.xml"/><Relationship Id="rId27" Type="http://schemas.openxmlformats.org/officeDocument/2006/relationships/oleObject" Target="../embeddings/oleObject25.bin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407.xml"/><Relationship Id="rId13" Type="http://schemas.openxmlformats.org/officeDocument/2006/relationships/tags" Target="../tags/tag412.xml"/><Relationship Id="rId18" Type="http://schemas.openxmlformats.org/officeDocument/2006/relationships/tags" Target="../tags/tag417.xml"/><Relationship Id="rId26" Type="http://schemas.openxmlformats.org/officeDocument/2006/relationships/tags" Target="../tags/tag425.xml"/><Relationship Id="rId39" Type="http://schemas.openxmlformats.org/officeDocument/2006/relationships/tags" Target="../tags/tag438.xml"/><Relationship Id="rId3" Type="http://schemas.openxmlformats.org/officeDocument/2006/relationships/tags" Target="../tags/tag402.xml"/><Relationship Id="rId21" Type="http://schemas.openxmlformats.org/officeDocument/2006/relationships/tags" Target="../tags/tag420.xml"/><Relationship Id="rId34" Type="http://schemas.openxmlformats.org/officeDocument/2006/relationships/tags" Target="../tags/tag433.xml"/><Relationship Id="rId42" Type="http://schemas.openxmlformats.org/officeDocument/2006/relationships/tags" Target="../tags/tag441.xml"/><Relationship Id="rId47" Type="http://schemas.openxmlformats.org/officeDocument/2006/relationships/oleObject" Target="../embeddings/oleObject27.bin"/><Relationship Id="rId7" Type="http://schemas.openxmlformats.org/officeDocument/2006/relationships/tags" Target="../tags/tag406.xml"/><Relationship Id="rId12" Type="http://schemas.openxmlformats.org/officeDocument/2006/relationships/tags" Target="../tags/tag411.xml"/><Relationship Id="rId17" Type="http://schemas.openxmlformats.org/officeDocument/2006/relationships/tags" Target="../tags/tag416.xml"/><Relationship Id="rId25" Type="http://schemas.openxmlformats.org/officeDocument/2006/relationships/tags" Target="../tags/tag424.xml"/><Relationship Id="rId33" Type="http://schemas.openxmlformats.org/officeDocument/2006/relationships/tags" Target="../tags/tag432.xml"/><Relationship Id="rId38" Type="http://schemas.openxmlformats.org/officeDocument/2006/relationships/tags" Target="../tags/tag437.xml"/><Relationship Id="rId46" Type="http://schemas.openxmlformats.org/officeDocument/2006/relationships/slideLayout" Target="../slideLayouts/slideLayout13.xml"/><Relationship Id="rId2" Type="http://schemas.openxmlformats.org/officeDocument/2006/relationships/tags" Target="../tags/tag401.xml"/><Relationship Id="rId16" Type="http://schemas.openxmlformats.org/officeDocument/2006/relationships/tags" Target="../tags/tag415.xml"/><Relationship Id="rId20" Type="http://schemas.openxmlformats.org/officeDocument/2006/relationships/tags" Target="../tags/tag419.xml"/><Relationship Id="rId29" Type="http://schemas.openxmlformats.org/officeDocument/2006/relationships/tags" Target="../tags/tag428.xml"/><Relationship Id="rId41" Type="http://schemas.openxmlformats.org/officeDocument/2006/relationships/tags" Target="../tags/tag440.xml"/><Relationship Id="rId1" Type="http://schemas.openxmlformats.org/officeDocument/2006/relationships/vmlDrawing" Target="../drawings/vmlDrawing16.vml"/><Relationship Id="rId6" Type="http://schemas.openxmlformats.org/officeDocument/2006/relationships/tags" Target="../tags/tag405.xml"/><Relationship Id="rId11" Type="http://schemas.openxmlformats.org/officeDocument/2006/relationships/tags" Target="../tags/tag410.xml"/><Relationship Id="rId24" Type="http://schemas.openxmlformats.org/officeDocument/2006/relationships/tags" Target="../tags/tag423.xml"/><Relationship Id="rId32" Type="http://schemas.openxmlformats.org/officeDocument/2006/relationships/tags" Target="../tags/tag431.xml"/><Relationship Id="rId37" Type="http://schemas.openxmlformats.org/officeDocument/2006/relationships/tags" Target="../tags/tag436.xml"/><Relationship Id="rId40" Type="http://schemas.openxmlformats.org/officeDocument/2006/relationships/tags" Target="../tags/tag439.xml"/><Relationship Id="rId45" Type="http://schemas.openxmlformats.org/officeDocument/2006/relationships/tags" Target="../tags/tag444.xml"/><Relationship Id="rId5" Type="http://schemas.openxmlformats.org/officeDocument/2006/relationships/tags" Target="../tags/tag404.xml"/><Relationship Id="rId15" Type="http://schemas.openxmlformats.org/officeDocument/2006/relationships/tags" Target="../tags/tag414.xml"/><Relationship Id="rId23" Type="http://schemas.openxmlformats.org/officeDocument/2006/relationships/tags" Target="../tags/tag422.xml"/><Relationship Id="rId28" Type="http://schemas.openxmlformats.org/officeDocument/2006/relationships/tags" Target="../tags/tag427.xml"/><Relationship Id="rId36" Type="http://schemas.openxmlformats.org/officeDocument/2006/relationships/tags" Target="../tags/tag435.xml"/><Relationship Id="rId10" Type="http://schemas.openxmlformats.org/officeDocument/2006/relationships/tags" Target="../tags/tag409.xml"/><Relationship Id="rId19" Type="http://schemas.openxmlformats.org/officeDocument/2006/relationships/tags" Target="../tags/tag418.xml"/><Relationship Id="rId31" Type="http://schemas.openxmlformats.org/officeDocument/2006/relationships/tags" Target="../tags/tag430.xml"/><Relationship Id="rId44" Type="http://schemas.openxmlformats.org/officeDocument/2006/relationships/tags" Target="../tags/tag443.xml"/><Relationship Id="rId4" Type="http://schemas.openxmlformats.org/officeDocument/2006/relationships/tags" Target="../tags/tag403.xml"/><Relationship Id="rId9" Type="http://schemas.openxmlformats.org/officeDocument/2006/relationships/tags" Target="../tags/tag408.xml"/><Relationship Id="rId14" Type="http://schemas.openxmlformats.org/officeDocument/2006/relationships/tags" Target="../tags/tag413.xml"/><Relationship Id="rId22" Type="http://schemas.openxmlformats.org/officeDocument/2006/relationships/tags" Target="../tags/tag421.xml"/><Relationship Id="rId27" Type="http://schemas.openxmlformats.org/officeDocument/2006/relationships/tags" Target="../tags/tag426.xml"/><Relationship Id="rId30" Type="http://schemas.openxmlformats.org/officeDocument/2006/relationships/tags" Target="../tags/tag429.xml"/><Relationship Id="rId35" Type="http://schemas.openxmlformats.org/officeDocument/2006/relationships/tags" Target="../tags/tag434.xml"/><Relationship Id="rId43" Type="http://schemas.openxmlformats.org/officeDocument/2006/relationships/tags" Target="../tags/tag442.xml"/><Relationship Id="rId48" Type="http://schemas.openxmlformats.org/officeDocument/2006/relationships/oleObject" Target="../embeddings/oleObject28.bin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451.xml"/><Relationship Id="rId13" Type="http://schemas.openxmlformats.org/officeDocument/2006/relationships/tags" Target="../tags/tag456.xml"/><Relationship Id="rId18" Type="http://schemas.openxmlformats.org/officeDocument/2006/relationships/tags" Target="../tags/tag461.xml"/><Relationship Id="rId26" Type="http://schemas.openxmlformats.org/officeDocument/2006/relationships/tags" Target="../tags/tag469.xml"/><Relationship Id="rId39" Type="http://schemas.openxmlformats.org/officeDocument/2006/relationships/oleObject" Target="../embeddings/oleObject29.bin"/><Relationship Id="rId3" Type="http://schemas.openxmlformats.org/officeDocument/2006/relationships/tags" Target="../tags/tag446.xml"/><Relationship Id="rId21" Type="http://schemas.openxmlformats.org/officeDocument/2006/relationships/tags" Target="../tags/tag464.xml"/><Relationship Id="rId34" Type="http://schemas.openxmlformats.org/officeDocument/2006/relationships/tags" Target="../tags/tag477.xml"/><Relationship Id="rId7" Type="http://schemas.openxmlformats.org/officeDocument/2006/relationships/tags" Target="../tags/tag450.xml"/><Relationship Id="rId12" Type="http://schemas.openxmlformats.org/officeDocument/2006/relationships/tags" Target="../tags/tag455.xml"/><Relationship Id="rId17" Type="http://schemas.openxmlformats.org/officeDocument/2006/relationships/tags" Target="../tags/tag460.xml"/><Relationship Id="rId25" Type="http://schemas.openxmlformats.org/officeDocument/2006/relationships/tags" Target="../tags/tag468.xml"/><Relationship Id="rId33" Type="http://schemas.openxmlformats.org/officeDocument/2006/relationships/tags" Target="../tags/tag476.xml"/><Relationship Id="rId38" Type="http://schemas.openxmlformats.org/officeDocument/2006/relationships/slideLayout" Target="../slideLayouts/slideLayout13.xml"/><Relationship Id="rId2" Type="http://schemas.openxmlformats.org/officeDocument/2006/relationships/tags" Target="../tags/tag445.xml"/><Relationship Id="rId16" Type="http://schemas.openxmlformats.org/officeDocument/2006/relationships/tags" Target="../tags/tag459.xml"/><Relationship Id="rId20" Type="http://schemas.openxmlformats.org/officeDocument/2006/relationships/tags" Target="../tags/tag463.xml"/><Relationship Id="rId29" Type="http://schemas.openxmlformats.org/officeDocument/2006/relationships/tags" Target="../tags/tag472.xml"/><Relationship Id="rId41" Type="http://schemas.openxmlformats.org/officeDocument/2006/relationships/oleObject" Target="../embeddings/oleObject31.bin"/><Relationship Id="rId1" Type="http://schemas.openxmlformats.org/officeDocument/2006/relationships/vmlDrawing" Target="../drawings/vmlDrawing17.vml"/><Relationship Id="rId6" Type="http://schemas.openxmlformats.org/officeDocument/2006/relationships/tags" Target="../tags/tag449.xml"/><Relationship Id="rId11" Type="http://schemas.openxmlformats.org/officeDocument/2006/relationships/tags" Target="../tags/tag454.xml"/><Relationship Id="rId24" Type="http://schemas.openxmlformats.org/officeDocument/2006/relationships/tags" Target="../tags/tag467.xml"/><Relationship Id="rId32" Type="http://schemas.openxmlformats.org/officeDocument/2006/relationships/tags" Target="../tags/tag475.xml"/><Relationship Id="rId37" Type="http://schemas.openxmlformats.org/officeDocument/2006/relationships/tags" Target="../tags/tag480.xml"/><Relationship Id="rId40" Type="http://schemas.openxmlformats.org/officeDocument/2006/relationships/oleObject" Target="../embeddings/oleObject30.bin"/><Relationship Id="rId5" Type="http://schemas.openxmlformats.org/officeDocument/2006/relationships/tags" Target="../tags/tag448.xml"/><Relationship Id="rId15" Type="http://schemas.openxmlformats.org/officeDocument/2006/relationships/tags" Target="../tags/tag458.xml"/><Relationship Id="rId23" Type="http://schemas.openxmlformats.org/officeDocument/2006/relationships/tags" Target="../tags/tag466.xml"/><Relationship Id="rId28" Type="http://schemas.openxmlformats.org/officeDocument/2006/relationships/tags" Target="../tags/tag471.xml"/><Relationship Id="rId36" Type="http://schemas.openxmlformats.org/officeDocument/2006/relationships/tags" Target="../tags/tag479.xml"/><Relationship Id="rId10" Type="http://schemas.openxmlformats.org/officeDocument/2006/relationships/tags" Target="../tags/tag453.xml"/><Relationship Id="rId19" Type="http://schemas.openxmlformats.org/officeDocument/2006/relationships/tags" Target="../tags/tag462.xml"/><Relationship Id="rId31" Type="http://schemas.openxmlformats.org/officeDocument/2006/relationships/tags" Target="../tags/tag474.xml"/><Relationship Id="rId4" Type="http://schemas.openxmlformats.org/officeDocument/2006/relationships/tags" Target="../tags/tag447.xml"/><Relationship Id="rId9" Type="http://schemas.openxmlformats.org/officeDocument/2006/relationships/tags" Target="../tags/tag452.xml"/><Relationship Id="rId14" Type="http://schemas.openxmlformats.org/officeDocument/2006/relationships/tags" Target="../tags/tag457.xml"/><Relationship Id="rId22" Type="http://schemas.openxmlformats.org/officeDocument/2006/relationships/tags" Target="../tags/tag465.xml"/><Relationship Id="rId27" Type="http://schemas.openxmlformats.org/officeDocument/2006/relationships/tags" Target="../tags/tag470.xml"/><Relationship Id="rId30" Type="http://schemas.openxmlformats.org/officeDocument/2006/relationships/tags" Target="../tags/tag473.xml"/><Relationship Id="rId35" Type="http://schemas.openxmlformats.org/officeDocument/2006/relationships/tags" Target="../tags/tag478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487.xml"/><Relationship Id="rId13" Type="http://schemas.openxmlformats.org/officeDocument/2006/relationships/tags" Target="../tags/tag492.xml"/><Relationship Id="rId18" Type="http://schemas.openxmlformats.org/officeDocument/2006/relationships/tags" Target="../tags/tag497.xml"/><Relationship Id="rId26" Type="http://schemas.openxmlformats.org/officeDocument/2006/relationships/slideLayout" Target="../slideLayouts/slideLayout13.xml"/><Relationship Id="rId3" Type="http://schemas.openxmlformats.org/officeDocument/2006/relationships/tags" Target="../tags/tag482.xml"/><Relationship Id="rId21" Type="http://schemas.openxmlformats.org/officeDocument/2006/relationships/tags" Target="../tags/tag500.xml"/><Relationship Id="rId7" Type="http://schemas.openxmlformats.org/officeDocument/2006/relationships/tags" Target="../tags/tag486.xml"/><Relationship Id="rId12" Type="http://schemas.openxmlformats.org/officeDocument/2006/relationships/tags" Target="../tags/tag491.xml"/><Relationship Id="rId17" Type="http://schemas.openxmlformats.org/officeDocument/2006/relationships/tags" Target="../tags/tag496.xml"/><Relationship Id="rId25" Type="http://schemas.openxmlformats.org/officeDocument/2006/relationships/tags" Target="../tags/tag504.xml"/><Relationship Id="rId2" Type="http://schemas.openxmlformats.org/officeDocument/2006/relationships/tags" Target="../tags/tag481.xml"/><Relationship Id="rId16" Type="http://schemas.openxmlformats.org/officeDocument/2006/relationships/tags" Target="../tags/tag495.xml"/><Relationship Id="rId20" Type="http://schemas.openxmlformats.org/officeDocument/2006/relationships/tags" Target="../tags/tag499.xml"/><Relationship Id="rId1" Type="http://schemas.openxmlformats.org/officeDocument/2006/relationships/vmlDrawing" Target="../drawings/vmlDrawing18.vml"/><Relationship Id="rId6" Type="http://schemas.openxmlformats.org/officeDocument/2006/relationships/tags" Target="../tags/tag485.xml"/><Relationship Id="rId11" Type="http://schemas.openxmlformats.org/officeDocument/2006/relationships/tags" Target="../tags/tag490.xml"/><Relationship Id="rId24" Type="http://schemas.openxmlformats.org/officeDocument/2006/relationships/tags" Target="../tags/tag503.xml"/><Relationship Id="rId5" Type="http://schemas.openxmlformats.org/officeDocument/2006/relationships/tags" Target="../tags/tag484.xml"/><Relationship Id="rId15" Type="http://schemas.openxmlformats.org/officeDocument/2006/relationships/tags" Target="../tags/tag494.xml"/><Relationship Id="rId23" Type="http://schemas.openxmlformats.org/officeDocument/2006/relationships/tags" Target="../tags/tag502.xml"/><Relationship Id="rId28" Type="http://schemas.openxmlformats.org/officeDocument/2006/relationships/oleObject" Target="../embeddings/oleObject33.bin"/><Relationship Id="rId10" Type="http://schemas.openxmlformats.org/officeDocument/2006/relationships/tags" Target="../tags/tag489.xml"/><Relationship Id="rId19" Type="http://schemas.openxmlformats.org/officeDocument/2006/relationships/tags" Target="../tags/tag498.xml"/><Relationship Id="rId4" Type="http://schemas.openxmlformats.org/officeDocument/2006/relationships/tags" Target="../tags/tag483.xml"/><Relationship Id="rId9" Type="http://schemas.openxmlformats.org/officeDocument/2006/relationships/tags" Target="../tags/tag488.xml"/><Relationship Id="rId14" Type="http://schemas.openxmlformats.org/officeDocument/2006/relationships/tags" Target="../tags/tag493.xml"/><Relationship Id="rId22" Type="http://schemas.openxmlformats.org/officeDocument/2006/relationships/tags" Target="../tags/tag501.xml"/><Relationship Id="rId27" Type="http://schemas.openxmlformats.org/officeDocument/2006/relationships/oleObject" Target="../embeddings/oleObject32.bin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13" Type="http://schemas.openxmlformats.org/officeDocument/2006/relationships/tags" Target="../tags/tag31.xml"/><Relationship Id="rId18" Type="http://schemas.openxmlformats.org/officeDocument/2006/relationships/tags" Target="../tags/tag36.xml"/><Relationship Id="rId26" Type="http://schemas.openxmlformats.org/officeDocument/2006/relationships/tags" Target="../tags/tag44.xml"/><Relationship Id="rId39" Type="http://schemas.openxmlformats.org/officeDocument/2006/relationships/tags" Target="../tags/tag57.xml"/><Relationship Id="rId21" Type="http://schemas.openxmlformats.org/officeDocument/2006/relationships/tags" Target="../tags/tag39.xml"/><Relationship Id="rId34" Type="http://schemas.openxmlformats.org/officeDocument/2006/relationships/tags" Target="../tags/tag52.xml"/><Relationship Id="rId42" Type="http://schemas.openxmlformats.org/officeDocument/2006/relationships/tags" Target="../tags/tag60.xml"/><Relationship Id="rId47" Type="http://schemas.openxmlformats.org/officeDocument/2006/relationships/tags" Target="../tags/tag65.xml"/><Relationship Id="rId50" Type="http://schemas.openxmlformats.org/officeDocument/2006/relationships/tags" Target="../tags/tag68.xml"/><Relationship Id="rId55" Type="http://schemas.openxmlformats.org/officeDocument/2006/relationships/tags" Target="../tags/tag73.xml"/><Relationship Id="rId63" Type="http://schemas.openxmlformats.org/officeDocument/2006/relationships/tags" Target="../tags/tag81.xml"/><Relationship Id="rId68" Type="http://schemas.openxmlformats.org/officeDocument/2006/relationships/tags" Target="../tags/tag86.xml"/><Relationship Id="rId76" Type="http://schemas.openxmlformats.org/officeDocument/2006/relationships/oleObject" Target="../embeddings/oleObject5.bin"/><Relationship Id="rId7" Type="http://schemas.openxmlformats.org/officeDocument/2006/relationships/tags" Target="../tags/tag25.xml"/><Relationship Id="rId71" Type="http://schemas.openxmlformats.org/officeDocument/2006/relationships/tags" Target="../tags/tag89.xml"/><Relationship Id="rId2" Type="http://schemas.openxmlformats.org/officeDocument/2006/relationships/tags" Target="../tags/tag20.xml"/><Relationship Id="rId16" Type="http://schemas.openxmlformats.org/officeDocument/2006/relationships/tags" Target="../tags/tag34.xml"/><Relationship Id="rId29" Type="http://schemas.openxmlformats.org/officeDocument/2006/relationships/tags" Target="../tags/tag47.xml"/><Relationship Id="rId11" Type="http://schemas.openxmlformats.org/officeDocument/2006/relationships/tags" Target="../tags/tag29.xml"/><Relationship Id="rId24" Type="http://schemas.openxmlformats.org/officeDocument/2006/relationships/tags" Target="../tags/tag42.xml"/><Relationship Id="rId32" Type="http://schemas.openxmlformats.org/officeDocument/2006/relationships/tags" Target="../tags/tag50.xml"/><Relationship Id="rId37" Type="http://schemas.openxmlformats.org/officeDocument/2006/relationships/tags" Target="../tags/tag55.xml"/><Relationship Id="rId40" Type="http://schemas.openxmlformats.org/officeDocument/2006/relationships/tags" Target="../tags/tag58.xml"/><Relationship Id="rId45" Type="http://schemas.openxmlformats.org/officeDocument/2006/relationships/tags" Target="../tags/tag63.xml"/><Relationship Id="rId53" Type="http://schemas.openxmlformats.org/officeDocument/2006/relationships/tags" Target="../tags/tag71.xml"/><Relationship Id="rId58" Type="http://schemas.openxmlformats.org/officeDocument/2006/relationships/tags" Target="../tags/tag76.xml"/><Relationship Id="rId66" Type="http://schemas.openxmlformats.org/officeDocument/2006/relationships/tags" Target="../tags/tag84.xml"/><Relationship Id="rId74" Type="http://schemas.openxmlformats.org/officeDocument/2006/relationships/oleObject" Target="../embeddings/oleObject3.bin"/><Relationship Id="rId79" Type="http://schemas.openxmlformats.org/officeDocument/2006/relationships/oleObject" Target="../embeddings/oleObject8.bin"/><Relationship Id="rId5" Type="http://schemas.openxmlformats.org/officeDocument/2006/relationships/tags" Target="../tags/tag23.xml"/><Relationship Id="rId61" Type="http://schemas.openxmlformats.org/officeDocument/2006/relationships/tags" Target="../tags/tag79.xml"/><Relationship Id="rId10" Type="http://schemas.openxmlformats.org/officeDocument/2006/relationships/tags" Target="../tags/tag28.xml"/><Relationship Id="rId19" Type="http://schemas.openxmlformats.org/officeDocument/2006/relationships/tags" Target="../tags/tag37.xml"/><Relationship Id="rId31" Type="http://schemas.openxmlformats.org/officeDocument/2006/relationships/tags" Target="../tags/tag49.xml"/><Relationship Id="rId44" Type="http://schemas.openxmlformats.org/officeDocument/2006/relationships/tags" Target="../tags/tag62.xml"/><Relationship Id="rId52" Type="http://schemas.openxmlformats.org/officeDocument/2006/relationships/tags" Target="../tags/tag70.xml"/><Relationship Id="rId60" Type="http://schemas.openxmlformats.org/officeDocument/2006/relationships/tags" Target="../tags/tag78.xml"/><Relationship Id="rId65" Type="http://schemas.openxmlformats.org/officeDocument/2006/relationships/tags" Target="../tags/tag83.xml"/><Relationship Id="rId73" Type="http://schemas.openxmlformats.org/officeDocument/2006/relationships/slideLayout" Target="../slideLayouts/slideLayout14.xml"/><Relationship Id="rId78" Type="http://schemas.openxmlformats.org/officeDocument/2006/relationships/oleObject" Target="../embeddings/oleObject7.bin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tags" Target="../tags/tag32.xml"/><Relationship Id="rId22" Type="http://schemas.openxmlformats.org/officeDocument/2006/relationships/tags" Target="../tags/tag40.xml"/><Relationship Id="rId27" Type="http://schemas.openxmlformats.org/officeDocument/2006/relationships/tags" Target="../tags/tag45.xml"/><Relationship Id="rId30" Type="http://schemas.openxmlformats.org/officeDocument/2006/relationships/tags" Target="../tags/tag48.xml"/><Relationship Id="rId35" Type="http://schemas.openxmlformats.org/officeDocument/2006/relationships/tags" Target="../tags/tag53.xml"/><Relationship Id="rId43" Type="http://schemas.openxmlformats.org/officeDocument/2006/relationships/tags" Target="../tags/tag61.xml"/><Relationship Id="rId48" Type="http://schemas.openxmlformats.org/officeDocument/2006/relationships/tags" Target="../tags/tag66.xml"/><Relationship Id="rId56" Type="http://schemas.openxmlformats.org/officeDocument/2006/relationships/tags" Target="../tags/tag74.xml"/><Relationship Id="rId64" Type="http://schemas.openxmlformats.org/officeDocument/2006/relationships/tags" Target="../tags/tag82.xml"/><Relationship Id="rId69" Type="http://schemas.openxmlformats.org/officeDocument/2006/relationships/tags" Target="../tags/tag87.xml"/><Relationship Id="rId77" Type="http://schemas.openxmlformats.org/officeDocument/2006/relationships/oleObject" Target="../embeddings/oleObject6.bin"/><Relationship Id="rId8" Type="http://schemas.openxmlformats.org/officeDocument/2006/relationships/tags" Target="../tags/tag26.xml"/><Relationship Id="rId51" Type="http://schemas.openxmlformats.org/officeDocument/2006/relationships/tags" Target="../tags/tag69.xml"/><Relationship Id="rId72" Type="http://schemas.openxmlformats.org/officeDocument/2006/relationships/tags" Target="../tags/tag90.xml"/><Relationship Id="rId3" Type="http://schemas.openxmlformats.org/officeDocument/2006/relationships/tags" Target="../tags/tag21.xml"/><Relationship Id="rId12" Type="http://schemas.openxmlformats.org/officeDocument/2006/relationships/tags" Target="../tags/tag30.xml"/><Relationship Id="rId17" Type="http://schemas.openxmlformats.org/officeDocument/2006/relationships/tags" Target="../tags/tag35.xml"/><Relationship Id="rId25" Type="http://schemas.openxmlformats.org/officeDocument/2006/relationships/tags" Target="../tags/tag43.xml"/><Relationship Id="rId33" Type="http://schemas.openxmlformats.org/officeDocument/2006/relationships/tags" Target="../tags/tag51.xml"/><Relationship Id="rId38" Type="http://schemas.openxmlformats.org/officeDocument/2006/relationships/tags" Target="../tags/tag56.xml"/><Relationship Id="rId46" Type="http://schemas.openxmlformats.org/officeDocument/2006/relationships/tags" Target="../tags/tag64.xml"/><Relationship Id="rId59" Type="http://schemas.openxmlformats.org/officeDocument/2006/relationships/tags" Target="../tags/tag77.xml"/><Relationship Id="rId67" Type="http://schemas.openxmlformats.org/officeDocument/2006/relationships/tags" Target="../tags/tag85.xml"/><Relationship Id="rId20" Type="http://schemas.openxmlformats.org/officeDocument/2006/relationships/tags" Target="../tags/tag38.xml"/><Relationship Id="rId41" Type="http://schemas.openxmlformats.org/officeDocument/2006/relationships/tags" Target="../tags/tag59.xml"/><Relationship Id="rId54" Type="http://schemas.openxmlformats.org/officeDocument/2006/relationships/tags" Target="../tags/tag72.xml"/><Relationship Id="rId62" Type="http://schemas.openxmlformats.org/officeDocument/2006/relationships/tags" Target="../tags/tag80.xml"/><Relationship Id="rId70" Type="http://schemas.openxmlformats.org/officeDocument/2006/relationships/tags" Target="../tags/tag88.xml"/><Relationship Id="rId75" Type="http://schemas.openxmlformats.org/officeDocument/2006/relationships/oleObject" Target="../embeddings/oleObject4.bin"/><Relationship Id="rId1" Type="http://schemas.openxmlformats.org/officeDocument/2006/relationships/vmlDrawing" Target="../drawings/vmlDrawing3.vml"/><Relationship Id="rId6" Type="http://schemas.openxmlformats.org/officeDocument/2006/relationships/tags" Target="../tags/tag24.xml"/><Relationship Id="rId15" Type="http://schemas.openxmlformats.org/officeDocument/2006/relationships/tags" Target="../tags/tag33.xml"/><Relationship Id="rId23" Type="http://schemas.openxmlformats.org/officeDocument/2006/relationships/tags" Target="../tags/tag41.xml"/><Relationship Id="rId28" Type="http://schemas.openxmlformats.org/officeDocument/2006/relationships/tags" Target="../tags/tag46.xml"/><Relationship Id="rId36" Type="http://schemas.openxmlformats.org/officeDocument/2006/relationships/tags" Target="../tags/tag54.xml"/><Relationship Id="rId49" Type="http://schemas.openxmlformats.org/officeDocument/2006/relationships/tags" Target="../tags/tag67.xml"/><Relationship Id="rId57" Type="http://schemas.openxmlformats.org/officeDocument/2006/relationships/tags" Target="../tags/tag75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97.xml"/><Relationship Id="rId13" Type="http://schemas.openxmlformats.org/officeDocument/2006/relationships/tags" Target="../tags/tag102.xml"/><Relationship Id="rId18" Type="http://schemas.openxmlformats.org/officeDocument/2006/relationships/tags" Target="../tags/tag107.xml"/><Relationship Id="rId26" Type="http://schemas.openxmlformats.org/officeDocument/2006/relationships/oleObject" Target="../embeddings/oleObject9.bin"/><Relationship Id="rId3" Type="http://schemas.openxmlformats.org/officeDocument/2006/relationships/tags" Target="../tags/tag92.xml"/><Relationship Id="rId21" Type="http://schemas.openxmlformats.org/officeDocument/2006/relationships/tags" Target="../tags/tag110.xml"/><Relationship Id="rId7" Type="http://schemas.openxmlformats.org/officeDocument/2006/relationships/tags" Target="../tags/tag96.xml"/><Relationship Id="rId12" Type="http://schemas.openxmlformats.org/officeDocument/2006/relationships/tags" Target="../tags/tag101.xml"/><Relationship Id="rId17" Type="http://schemas.openxmlformats.org/officeDocument/2006/relationships/tags" Target="../tags/tag106.xml"/><Relationship Id="rId25" Type="http://schemas.openxmlformats.org/officeDocument/2006/relationships/notesSlide" Target="../notesSlides/notesSlide1.xml"/><Relationship Id="rId2" Type="http://schemas.openxmlformats.org/officeDocument/2006/relationships/tags" Target="../tags/tag91.xml"/><Relationship Id="rId16" Type="http://schemas.openxmlformats.org/officeDocument/2006/relationships/tags" Target="../tags/tag105.xml"/><Relationship Id="rId20" Type="http://schemas.openxmlformats.org/officeDocument/2006/relationships/tags" Target="../tags/tag109.xml"/><Relationship Id="rId1" Type="http://schemas.openxmlformats.org/officeDocument/2006/relationships/vmlDrawing" Target="../drawings/vmlDrawing4.vml"/><Relationship Id="rId6" Type="http://schemas.openxmlformats.org/officeDocument/2006/relationships/tags" Target="../tags/tag95.xml"/><Relationship Id="rId11" Type="http://schemas.openxmlformats.org/officeDocument/2006/relationships/tags" Target="../tags/tag100.xml"/><Relationship Id="rId24" Type="http://schemas.openxmlformats.org/officeDocument/2006/relationships/slideLayout" Target="../slideLayouts/slideLayout15.xml"/><Relationship Id="rId5" Type="http://schemas.openxmlformats.org/officeDocument/2006/relationships/tags" Target="../tags/tag94.xml"/><Relationship Id="rId15" Type="http://schemas.openxmlformats.org/officeDocument/2006/relationships/tags" Target="../tags/tag104.xml"/><Relationship Id="rId23" Type="http://schemas.openxmlformats.org/officeDocument/2006/relationships/tags" Target="../tags/tag112.xml"/><Relationship Id="rId10" Type="http://schemas.openxmlformats.org/officeDocument/2006/relationships/tags" Target="../tags/tag99.xml"/><Relationship Id="rId19" Type="http://schemas.openxmlformats.org/officeDocument/2006/relationships/tags" Target="../tags/tag108.xml"/><Relationship Id="rId4" Type="http://schemas.openxmlformats.org/officeDocument/2006/relationships/tags" Target="../tags/tag93.xml"/><Relationship Id="rId9" Type="http://schemas.openxmlformats.org/officeDocument/2006/relationships/tags" Target="../tags/tag98.xml"/><Relationship Id="rId14" Type="http://schemas.openxmlformats.org/officeDocument/2006/relationships/tags" Target="../tags/tag103.xml"/><Relationship Id="rId22" Type="http://schemas.openxmlformats.org/officeDocument/2006/relationships/tags" Target="../tags/tag111.xml"/><Relationship Id="rId27" Type="http://schemas.openxmlformats.org/officeDocument/2006/relationships/oleObject" Target="../embeddings/oleObject10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119.xml"/><Relationship Id="rId13" Type="http://schemas.openxmlformats.org/officeDocument/2006/relationships/tags" Target="../tags/tag124.xml"/><Relationship Id="rId18" Type="http://schemas.openxmlformats.org/officeDocument/2006/relationships/tags" Target="../tags/tag129.xml"/><Relationship Id="rId26" Type="http://schemas.openxmlformats.org/officeDocument/2006/relationships/tags" Target="../tags/tag137.xml"/><Relationship Id="rId3" Type="http://schemas.openxmlformats.org/officeDocument/2006/relationships/tags" Target="../tags/tag114.xml"/><Relationship Id="rId21" Type="http://schemas.openxmlformats.org/officeDocument/2006/relationships/tags" Target="../tags/tag132.xml"/><Relationship Id="rId34" Type="http://schemas.openxmlformats.org/officeDocument/2006/relationships/oleObject" Target="../embeddings/oleObject12.bin"/><Relationship Id="rId7" Type="http://schemas.openxmlformats.org/officeDocument/2006/relationships/tags" Target="../tags/tag118.xml"/><Relationship Id="rId12" Type="http://schemas.openxmlformats.org/officeDocument/2006/relationships/tags" Target="../tags/tag123.xml"/><Relationship Id="rId17" Type="http://schemas.openxmlformats.org/officeDocument/2006/relationships/tags" Target="../tags/tag128.xml"/><Relationship Id="rId25" Type="http://schemas.openxmlformats.org/officeDocument/2006/relationships/tags" Target="../tags/tag136.xml"/><Relationship Id="rId33" Type="http://schemas.openxmlformats.org/officeDocument/2006/relationships/oleObject" Target="../embeddings/oleObject11.bin"/><Relationship Id="rId2" Type="http://schemas.openxmlformats.org/officeDocument/2006/relationships/tags" Target="../tags/tag113.xml"/><Relationship Id="rId16" Type="http://schemas.openxmlformats.org/officeDocument/2006/relationships/tags" Target="../tags/tag127.xml"/><Relationship Id="rId20" Type="http://schemas.openxmlformats.org/officeDocument/2006/relationships/tags" Target="../tags/tag131.xml"/><Relationship Id="rId29" Type="http://schemas.openxmlformats.org/officeDocument/2006/relationships/tags" Target="../tags/tag140.xml"/><Relationship Id="rId1" Type="http://schemas.openxmlformats.org/officeDocument/2006/relationships/vmlDrawing" Target="../drawings/vmlDrawing5.vml"/><Relationship Id="rId6" Type="http://schemas.openxmlformats.org/officeDocument/2006/relationships/tags" Target="../tags/tag117.xml"/><Relationship Id="rId11" Type="http://schemas.openxmlformats.org/officeDocument/2006/relationships/tags" Target="../tags/tag122.xml"/><Relationship Id="rId24" Type="http://schemas.openxmlformats.org/officeDocument/2006/relationships/tags" Target="../tags/tag135.xml"/><Relationship Id="rId32" Type="http://schemas.openxmlformats.org/officeDocument/2006/relationships/slideLayout" Target="../slideLayouts/slideLayout14.xml"/><Relationship Id="rId5" Type="http://schemas.openxmlformats.org/officeDocument/2006/relationships/tags" Target="../tags/tag116.xml"/><Relationship Id="rId15" Type="http://schemas.openxmlformats.org/officeDocument/2006/relationships/tags" Target="../tags/tag126.xml"/><Relationship Id="rId23" Type="http://schemas.openxmlformats.org/officeDocument/2006/relationships/tags" Target="../tags/tag134.xml"/><Relationship Id="rId28" Type="http://schemas.openxmlformats.org/officeDocument/2006/relationships/tags" Target="../tags/tag139.xml"/><Relationship Id="rId10" Type="http://schemas.openxmlformats.org/officeDocument/2006/relationships/tags" Target="../tags/tag121.xml"/><Relationship Id="rId19" Type="http://schemas.openxmlformats.org/officeDocument/2006/relationships/tags" Target="../tags/tag130.xml"/><Relationship Id="rId31" Type="http://schemas.openxmlformats.org/officeDocument/2006/relationships/tags" Target="../tags/tag142.xml"/><Relationship Id="rId4" Type="http://schemas.openxmlformats.org/officeDocument/2006/relationships/tags" Target="../tags/tag115.xml"/><Relationship Id="rId9" Type="http://schemas.openxmlformats.org/officeDocument/2006/relationships/tags" Target="../tags/tag120.xml"/><Relationship Id="rId14" Type="http://schemas.openxmlformats.org/officeDocument/2006/relationships/tags" Target="../tags/tag125.xml"/><Relationship Id="rId22" Type="http://schemas.openxmlformats.org/officeDocument/2006/relationships/tags" Target="../tags/tag133.xml"/><Relationship Id="rId27" Type="http://schemas.openxmlformats.org/officeDocument/2006/relationships/tags" Target="../tags/tag138.xml"/><Relationship Id="rId30" Type="http://schemas.openxmlformats.org/officeDocument/2006/relationships/tags" Target="../tags/tag141.xml"/><Relationship Id="rId35" Type="http://schemas.openxmlformats.org/officeDocument/2006/relationships/oleObject" Target="../embeddings/oleObject13.bin"/></Relationships>
</file>

<file path=ppt/slides/_rels/slide6.xml.rels><?xml version="1.0" encoding="UTF-8" standalone="yes"?>
<Relationships xmlns="http://schemas.openxmlformats.org/package/2006/relationships"><Relationship Id="rId26" Type="http://schemas.openxmlformats.org/officeDocument/2006/relationships/tags" Target="../tags/tag167.xml"/><Relationship Id="rId117" Type="http://schemas.openxmlformats.org/officeDocument/2006/relationships/tags" Target="../tags/tag258.xml"/><Relationship Id="rId21" Type="http://schemas.openxmlformats.org/officeDocument/2006/relationships/tags" Target="../tags/tag162.xml"/><Relationship Id="rId42" Type="http://schemas.openxmlformats.org/officeDocument/2006/relationships/tags" Target="../tags/tag183.xml"/><Relationship Id="rId47" Type="http://schemas.openxmlformats.org/officeDocument/2006/relationships/tags" Target="../tags/tag188.xml"/><Relationship Id="rId63" Type="http://schemas.openxmlformats.org/officeDocument/2006/relationships/tags" Target="../tags/tag204.xml"/><Relationship Id="rId68" Type="http://schemas.openxmlformats.org/officeDocument/2006/relationships/tags" Target="../tags/tag209.xml"/><Relationship Id="rId84" Type="http://schemas.openxmlformats.org/officeDocument/2006/relationships/tags" Target="../tags/tag225.xml"/><Relationship Id="rId89" Type="http://schemas.openxmlformats.org/officeDocument/2006/relationships/tags" Target="../tags/tag230.xml"/><Relationship Id="rId112" Type="http://schemas.openxmlformats.org/officeDocument/2006/relationships/tags" Target="../tags/tag253.xml"/><Relationship Id="rId16" Type="http://schemas.openxmlformats.org/officeDocument/2006/relationships/tags" Target="../tags/tag157.xml"/><Relationship Id="rId107" Type="http://schemas.openxmlformats.org/officeDocument/2006/relationships/tags" Target="../tags/tag248.xml"/><Relationship Id="rId11" Type="http://schemas.openxmlformats.org/officeDocument/2006/relationships/tags" Target="../tags/tag152.xml"/><Relationship Id="rId32" Type="http://schemas.openxmlformats.org/officeDocument/2006/relationships/tags" Target="../tags/tag173.xml"/><Relationship Id="rId37" Type="http://schemas.openxmlformats.org/officeDocument/2006/relationships/tags" Target="../tags/tag178.xml"/><Relationship Id="rId53" Type="http://schemas.openxmlformats.org/officeDocument/2006/relationships/tags" Target="../tags/tag194.xml"/><Relationship Id="rId58" Type="http://schemas.openxmlformats.org/officeDocument/2006/relationships/tags" Target="../tags/tag199.xml"/><Relationship Id="rId74" Type="http://schemas.openxmlformats.org/officeDocument/2006/relationships/tags" Target="../tags/tag215.xml"/><Relationship Id="rId79" Type="http://schemas.openxmlformats.org/officeDocument/2006/relationships/tags" Target="../tags/tag220.xml"/><Relationship Id="rId102" Type="http://schemas.openxmlformats.org/officeDocument/2006/relationships/tags" Target="../tags/tag243.xml"/><Relationship Id="rId5" Type="http://schemas.openxmlformats.org/officeDocument/2006/relationships/tags" Target="../tags/tag146.xml"/><Relationship Id="rId61" Type="http://schemas.openxmlformats.org/officeDocument/2006/relationships/tags" Target="../tags/tag202.xml"/><Relationship Id="rId82" Type="http://schemas.openxmlformats.org/officeDocument/2006/relationships/tags" Target="../tags/tag223.xml"/><Relationship Id="rId90" Type="http://schemas.openxmlformats.org/officeDocument/2006/relationships/tags" Target="../tags/tag231.xml"/><Relationship Id="rId95" Type="http://schemas.openxmlformats.org/officeDocument/2006/relationships/tags" Target="../tags/tag236.xml"/><Relationship Id="rId19" Type="http://schemas.openxmlformats.org/officeDocument/2006/relationships/tags" Target="../tags/tag160.xml"/><Relationship Id="rId14" Type="http://schemas.openxmlformats.org/officeDocument/2006/relationships/tags" Target="../tags/tag155.xml"/><Relationship Id="rId22" Type="http://schemas.openxmlformats.org/officeDocument/2006/relationships/tags" Target="../tags/tag163.xml"/><Relationship Id="rId27" Type="http://schemas.openxmlformats.org/officeDocument/2006/relationships/tags" Target="../tags/tag168.xml"/><Relationship Id="rId30" Type="http://schemas.openxmlformats.org/officeDocument/2006/relationships/tags" Target="../tags/tag171.xml"/><Relationship Id="rId35" Type="http://schemas.openxmlformats.org/officeDocument/2006/relationships/tags" Target="../tags/tag176.xml"/><Relationship Id="rId43" Type="http://schemas.openxmlformats.org/officeDocument/2006/relationships/tags" Target="../tags/tag184.xml"/><Relationship Id="rId48" Type="http://schemas.openxmlformats.org/officeDocument/2006/relationships/tags" Target="../tags/tag189.xml"/><Relationship Id="rId56" Type="http://schemas.openxmlformats.org/officeDocument/2006/relationships/tags" Target="../tags/tag197.xml"/><Relationship Id="rId64" Type="http://schemas.openxmlformats.org/officeDocument/2006/relationships/tags" Target="../tags/tag205.xml"/><Relationship Id="rId69" Type="http://schemas.openxmlformats.org/officeDocument/2006/relationships/tags" Target="../tags/tag210.xml"/><Relationship Id="rId77" Type="http://schemas.openxmlformats.org/officeDocument/2006/relationships/tags" Target="../tags/tag218.xml"/><Relationship Id="rId100" Type="http://schemas.openxmlformats.org/officeDocument/2006/relationships/tags" Target="../tags/tag241.xml"/><Relationship Id="rId105" Type="http://schemas.openxmlformats.org/officeDocument/2006/relationships/tags" Target="../tags/tag246.xml"/><Relationship Id="rId113" Type="http://schemas.openxmlformats.org/officeDocument/2006/relationships/tags" Target="../tags/tag254.xml"/><Relationship Id="rId118" Type="http://schemas.openxmlformats.org/officeDocument/2006/relationships/tags" Target="../tags/tag259.xml"/><Relationship Id="rId8" Type="http://schemas.openxmlformats.org/officeDocument/2006/relationships/tags" Target="../tags/tag149.xml"/><Relationship Id="rId51" Type="http://schemas.openxmlformats.org/officeDocument/2006/relationships/tags" Target="../tags/tag192.xml"/><Relationship Id="rId72" Type="http://schemas.openxmlformats.org/officeDocument/2006/relationships/tags" Target="../tags/tag213.xml"/><Relationship Id="rId80" Type="http://schemas.openxmlformats.org/officeDocument/2006/relationships/tags" Target="../tags/tag221.xml"/><Relationship Id="rId85" Type="http://schemas.openxmlformats.org/officeDocument/2006/relationships/tags" Target="../tags/tag226.xml"/><Relationship Id="rId93" Type="http://schemas.openxmlformats.org/officeDocument/2006/relationships/tags" Target="../tags/tag234.xml"/><Relationship Id="rId98" Type="http://schemas.openxmlformats.org/officeDocument/2006/relationships/tags" Target="../tags/tag239.xml"/><Relationship Id="rId121" Type="http://schemas.openxmlformats.org/officeDocument/2006/relationships/oleObject" Target="../embeddings/oleObject14.bin"/><Relationship Id="rId3" Type="http://schemas.openxmlformats.org/officeDocument/2006/relationships/tags" Target="../tags/tag144.xml"/><Relationship Id="rId12" Type="http://schemas.openxmlformats.org/officeDocument/2006/relationships/tags" Target="../tags/tag153.xml"/><Relationship Id="rId17" Type="http://schemas.openxmlformats.org/officeDocument/2006/relationships/tags" Target="../tags/tag158.xml"/><Relationship Id="rId25" Type="http://schemas.openxmlformats.org/officeDocument/2006/relationships/tags" Target="../tags/tag166.xml"/><Relationship Id="rId33" Type="http://schemas.openxmlformats.org/officeDocument/2006/relationships/tags" Target="../tags/tag174.xml"/><Relationship Id="rId38" Type="http://schemas.openxmlformats.org/officeDocument/2006/relationships/tags" Target="../tags/tag179.xml"/><Relationship Id="rId46" Type="http://schemas.openxmlformats.org/officeDocument/2006/relationships/tags" Target="../tags/tag187.xml"/><Relationship Id="rId59" Type="http://schemas.openxmlformats.org/officeDocument/2006/relationships/tags" Target="../tags/tag200.xml"/><Relationship Id="rId67" Type="http://schemas.openxmlformats.org/officeDocument/2006/relationships/tags" Target="../tags/tag208.xml"/><Relationship Id="rId103" Type="http://schemas.openxmlformats.org/officeDocument/2006/relationships/tags" Target="../tags/tag244.xml"/><Relationship Id="rId108" Type="http://schemas.openxmlformats.org/officeDocument/2006/relationships/tags" Target="../tags/tag249.xml"/><Relationship Id="rId116" Type="http://schemas.openxmlformats.org/officeDocument/2006/relationships/tags" Target="../tags/tag257.xml"/><Relationship Id="rId20" Type="http://schemas.openxmlformats.org/officeDocument/2006/relationships/tags" Target="../tags/tag161.xml"/><Relationship Id="rId41" Type="http://schemas.openxmlformats.org/officeDocument/2006/relationships/tags" Target="../tags/tag182.xml"/><Relationship Id="rId54" Type="http://schemas.openxmlformats.org/officeDocument/2006/relationships/tags" Target="../tags/tag195.xml"/><Relationship Id="rId62" Type="http://schemas.openxmlformats.org/officeDocument/2006/relationships/tags" Target="../tags/tag203.xml"/><Relationship Id="rId70" Type="http://schemas.openxmlformats.org/officeDocument/2006/relationships/tags" Target="../tags/tag211.xml"/><Relationship Id="rId75" Type="http://schemas.openxmlformats.org/officeDocument/2006/relationships/tags" Target="../tags/tag216.xml"/><Relationship Id="rId83" Type="http://schemas.openxmlformats.org/officeDocument/2006/relationships/tags" Target="../tags/tag224.xml"/><Relationship Id="rId88" Type="http://schemas.openxmlformats.org/officeDocument/2006/relationships/tags" Target="../tags/tag229.xml"/><Relationship Id="rId91" Type="http://schemas.openxmlformats.org/officeDocument/2006/relationships/tags" Target="../tags/tag232.xml"/><Relationship Id="rId96" Type="http://schemas.openxmlformats.org/officeDocument/2006/relationships/tags" Target="../tags/tag237.xml"/><Relationship Id="rId111" Type="http://schemas.openxmlformats.org/officeDocument/2006/relationships/tags" Target="../tags/tag252.xml"/><Relationship Id="rId1" Type="http://schemas.openxmlformats.org/officeDocument/2006/relationships/vmlDrawing" Target="../drawings/vmlDrawing6.vml"/><Relationship Id="rId6" Type="http://schemas.openxmlformats.org/officeDocument/2006/relationships/tags" Target="../tags/tag147.xml"/><Relationship Id="rId15" Type="http://schemas.openxmlformats.org/officeDocument/2006/relationships/tags" Target="../tags/tag156.xml"/><Relationship Id="rId23" Type="http://schemas.openxmlformats.org/officeDocument/2006/relationships/tags" Target="../tags/tag164.xml"/><Relationship Id="rId28" Type="http://schemas.openxmlformats.org/officeDocument/2006/relationships/tags" Target="../tags/tag169.xml"/><Relationship Id="rId36" Type="http://schemas.openxmlformats.org/officeDocument/2006/relationships/tags" Target="../tags/tag177.xml"/><Relationship Id="rId49" Type="http://schemas.openxmlformats.org/officeDocument/2006/relationships/tags" Target="../tags/tag190.xml"/><Relationship Id="rId57" Type="http://schemas.openxmlformats.org/officeDocument/2006/relationships/tags" Target="../tags/tag198.xml"/><Relationship Id="rId106" Type="http://schemas.openxmlformats.org/officeDocument/2006/relationships/tags" Target="../tags/tag247.xml"/><Relationship Id="rId114" Type="http://schemas.openxmlformats.org/officeDocument/2006/relationships/tags" Target="../tags/tag255.xml"/><Relationship Id="rId119" Type="http://schemas.openxmlformats.org/officeDocument/2006/relationships/tags" Target="../tags/tag260.xml"/><Relationship Id="rId10" Type="http://schemas.openxmlformats.org/officeDocument/2006/relationships/tags" Target="../tags/tag151.xml"/><Relationship Id="rId31" Type="http://schemas.openxmlformats.org/officeDocument/2006/relationships/tags" Target="../tags/tag172.xml"/><Relationship Id="rId44" Type="http://schemas.openxmlformats.org/officeDocument/2006/relationships/tags" Target="../tags/tag185.xml"/><Relationship Id="rId52" Type="http://schemas.openxmlformats.org/officeDocument/2006/relationships/tags" Target="../tags/tag193.xml"/><Relationship Id="rId60" Type="http://schemas.openxmlformats.org/officeDocument/2006/relationships/tags" Target="../tags/tag201.xml"/><Relationship Id="rId65" Type="http://schemas.openxmlformats.org/officeDocument/2006/relationships/tags" Target="../tags/tag206.xml"/><Relationship Id="rId73" Type="http://schemas.openxmlformats.org/officeDocument/2006/relationships/tags" Target="../tags/tag214.xml"/><Relationship Id="rId78" Type="http://schemas.openxmlformats.org/officeDocument/2006/relationships/tags" Target="../tags/tag219.xml"/><Relationship Id="rId81" Type="http://schemas.openxmlformats.org/officeDocument/2006/relationships/tags" Target="../tags/tag222.xml"/><Relationship Id="rId86" Type="http://schemas.openxmlformats.org/officeDocument/2006/relationships/tags" Target="../tags/tag227.xml"/><Relationship Id="rId94" Type="http://schemas.openxmlformats.org/officeDocument/2006/relationships/tags" Target="../tags/tag235.xml"/><Relationship Id="rId99" Type="http://schemas.openxmlformats.org/officeDocument/2006/relationships/tags" Target="../tags/tag240.xml"/><Relationship Id="rId101" Type="http://schemas.openxmlformats.org/officeDocument/2006/relationships/tags" Target="../tags/tag242.xml"/><Relationship Id="rId4" Type="http://schemas.openxmlformats.org/officeDocument/2006/relationships/tags" Target="../tags/tag145.xml"/><Relationship Id="rId9" Type="http://schemas.openxmlformats.org/officeDocument/2006/relationships/tags" Target="../tags/tag150.xml"/><Relationship Id="rId13" Type="http://schemas.openxmlformats.org/officeDocument/2006/relationships/tags" Target="../tags/tag154.xml"/><Relationship Id="rId18" Type="http://schemas.openxmlformats.org/officeDocument/2006/relationships/tags" Target="../tags/tag159.xml"/><Relationship Id="rId39" Type="http://schemas.openxmlformats.org/officeDocument/2006/relationships/tags" Target="../tags/tag180.xml"/><Relationship Id="rId109" Type="http://schemas.openxmlformats.org/officeDocument/2006/relationships/tags" Target="../tags/tag250.xml"/><Relationship Id="rId34" Type="http://schemas.openxmlformats.org/officeDocument/2006/relationships/tags" Target="../tags/tag175.xml"/><Relationship Id="rId50" Type="http://schemas.openxmlformats.org/officeDocument/2006/relationships/tags" Target="../tags/tag191.xml"/><Relationship Id="rId55" Type="http://schemas.openxmlformats.org/officeDocument/2006/relationships/tags" Target="../tags/tag196.xml"/><Relationship Id="rId76" Type="http://schemas.openxmlformats.org/officeDocument/2006/relationships/tags" Target="../tags/tag217.xml"/><Relationship Id="rId97" Type="http://schemas.openxmlformats.org/officeDocument/2006/relationships/tags" Target="../tags/tag238.xml"/><Relationship Id="rId104" Type="http://schemas.openxmlformats.org/officeDocument/2006/relationships/tags" Target="../tags/tag245.xml"/><Relationship Id="rId120" Type="http://schemas.openxmlformats.org/officeDocument/2006/relationships/slideLayout" Target="../slideLayouts/slideLayout13.xml"/><Relationship Id="rId7" Type="http://schemas.openxmlformats.org/officeDocument/2006/relationships/tags" Target="../tags/tag148.xml"/><Relationship Id="rId71" Type="http://schemas.openxmlformats.org/officeDocument/2006/relationships/tags" Target="../tags/tag212.xml"/><Relationship Id="rId92" Type="http://schemas.openxmlformats.org/officeDocument/2006/relationships/tags" Target="../tags/tag233.xml"/><Relationship Id="rId2" Type="http://schemas.openxmlformats.org/officeDocument/2006/relationships/tags" Target="../tags/tag143.xml"/><Relationship Id="rId29" Type="http://schemas.openxmlformats.org/officeDocument/2006/relationships/tags" Target="../tags/tag170.xml"/><Relationship Id="rId24" Type="http://schemas.openxmlformats.org/officeDocument/2006/relationships/tags" Target="../tags/tag165.xml"/><Relationship Id="rId40" Type="http://schemas.openxmlformats.org/officeDocument/2006/relationships/tags" Target="../tags/tag181.xml"/><Relationship Id="rId45" Type="http://schemas.openxmlformats.org/officeDocument/2006/relationships/tags" Target="../tags/tag186.xml"/><Relationship Id="rId66" Type="http://schemas.openxmlformats.org/officeDocument/2006/relationships/tags" Target="../tags/tag207.xml"/><Relationship Id="rId87" Type="http://schemas.openxmlformats.org/officeDocument/2006/relationships/tags" Target="../tags/tag228.xml"/><Relationship Id="rId110" Type="http://schemas.openxmlformats.org/officeDocument/2006/relationships/tags" Target="../tags/tag251.xml"/><Relationship Id="rId115" Type="http://schemas.openxmlformats.org/officeDocument/2006/relationships/tags" Target="../tags/tag25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267.xml"/><Relationship Id="rId13" Type="http://schemas.openxmlformats.org/officeDocument/2006/relationships/tags" Target="../tags/tag272.xml"/><Relationship Id="rId18" Type="http://schemas.openxmlformats.org/officeDocument/2006/relationships/tags" Target="../tags/tag277.xml"/><Relationship Id="rId26" Type="http://schemas.openxmlformats.org/officeDocument/2006/relationships/tags" Target="../tags/tag285.xml"/><Relationship Id="rId39" Type="http://schemas.openxmlformats.org/officeDocument/2006/relationships/tags" Target="../tags/tag298.xml"/><Relationship Id="rId3" Type="http://schemas.openxmlformats.org/officeDocument/2006/relationships/tags" Target="../tags/tag262.xml"/><Relationship Id="rId21" Type="http://schemas.openxmlformats.org/officeDocument/2006/relationships/tags" Target="../tags/tag280.xml"/><Relationship Id="rId34" Type="http://schemas.openxmlformats.org/officeDocument/2006/relationships/tags" Target="../tags/tag293.xml"/><Relationship Id="rId42" Type="http://schemas.openxmlformats.org/officeDocument/2006/relationships/tags" Target="../tags/tag301.xml"/><Relationship Id="rId47" Type="http://schemas.openxmlformats.org/officeDocument/2006/relationships/oleObject" Target="../embeddings/oleObject16.bin"/><Relationship Id="rId7" Type="http://schemas.openxmlformats.org/officeDocument/2006/relationships/tags" Target="../tags/tag266.xml"/><Relationship Id="rId12" Type="http://schemas.openxmlformats.org/officeDocument/2006/relationships/tags" Target="../tags/tag271.xml"/><Relationship Id="rId17" Type="http://schemas.openxmlformats.org/officeDocument/2006/relationships/tags" Target="../tags/tag276.xml"/><Relationship Id="rId25" Type="http://schemas.openxmlformats.org/officeDocument/2006/relationships/tags" Target="../tags/tag284.xml"/><Relationship Id="rId33" Type="http://schemas.openxmlformats.org/officeDocument/2006/relationships/tags" Target="../tags/tag292.xml"/><Relationship Id="rId38" Type="http://schemas.openxmlformats.org/officeDocument/2006/relationships/tags" Target="../tags/tag297.xml"/><Relationship Id="rId46" Type="http://schemas.openxmlformats.org/officeDocument/2006/relationships/oleObject" Target="../embeddings/oleObject15.bin"/><Relationship Id="rId2" Type="http://schemas.openxmlformats.org/officeDocument/2006/relationships/tags" Target="../tags/tag261.xml"/><Relationship Id="rId16" Type="http://schemas.openxmlformats.org/officeDocument/2006/relationships/tags" Target="../tags/tag275.xml"/><Relationship Id="rId20" Type="http://schemas.openxmlformats.org/officeDocument/2006/relationships/tags" Target="../tags/tag279.xml"/><Relationship Id="rId29" Type="http://schemas.openxmlformats.org/officeDocument/2006/relationships/tags" Target="../tags/tag288.xml"/><Relationship Id="rId41" Type="http://schemas.openxmlformats.org/officeDocument/2006/relationships/tags" Target="../tags/tag300.xml"/><Relationship Id="rId1" Type="http://schemas.openxmlformats.org/officeDocument/2006/relationships/vmlDrawing" Target="../drawings/vmlDrawing7.vml"/><Relationship Id="rId6" Type="http://schemas.openxmlformats.org/officeDocument/2006/relationships/tags" Target="../tags/tag265.xml"/><Relationship Id="rId11" Type="http://schemas.openxmlformats.org/officeDocument/2006/relationships/tags" Target="../tags/tag270.xml"/><Relationship Id="rId24" Type="http://schemas.openxmlformats.org/officeDocument/2006/relationships/tags" Target="../tags/tag283.xml"/><Relationship Id="rId32" Type="http://schemas.openxmlformats.org/officeDocument/2006/relationships/tags" Target="../tags/tag291.xml"/><Relationship Id="rId37" Type="http://schemas.openxmlformats.org/officeDocument/2006/relationships/tags" Target="../tags/tag296.xml"/><Relationship Id="rId40" Type="http://schemas.openxmlformats.org/officeDocument/2006/relationships/tags" Target="../tags/tag299.xml"/><Relationship Id="rId45" Type="http://schemas.openxmlformats.org/officeDocument/2006/relationships/slideLayout" Target="../slideLayouts/slideLayout13.xml"/><Relationship Id="rId5" Type="http://schemas.openxmlformats.org/officeDocument/2006/relationships/tags" Target="../tags/tag264.xml"/><Relationship Id="rId15" Type="http://schemas.openxmlformats.org/officeDocument/2006/relationships/tags" Target="../tags/tag274.xml"/><Relationship Id="rId23" Type="http://schemas.openxmlformats.org/officeDocument/2006/relationships/tags" Target="../tags/tag282.xml"/><Relationship Id="rId28" Type="http://schemas.openxmlformats.org/officeDocument/2006/relationships/tags" Target="../tags/tag287.xml"/><Relationship Id="rId36" Type="http://schemas.openxmlformats.org/officeDocument/2006/relationships/tags" Target="../tags/tag295.xml"/><Relationship Id="rId10" Type="http://schemas.openxmlformats.org/officeDocument/2006/relationships/tags" Target="../tags/tag269.xml"/><Relationship Id="rId19" Type="http://schemas.openxmlformats.org/officeDocument/2006/relationships/tags" Target="../tags/tag278.xml"/><Relationship Id="rId31" Type="http://schemas.openxmlformats.org/officeDocument/2006/relationships/tags" Target="../tags/tag290.xml"/><Relationship Id="rId44" Type="http://schemas.openxmlformats.org/officeDocument/2006/relationships/tags" Target="../tags/tag303.xml"/><Relationship Id="rId4" Type="http://schemas.openxmlformats.org/officeDocument/2006/relationships/tags" Target="../tags/tag263.xml"/><Relationship Id="rId9" Type="http://schemas.openxmlformats.org/officeDocument/2006/relationships/tags" Target="../tags/tag268.xml"/><Relationship Id="rId14" Type="http://schemas.openxmlformats.org/officeDocument/2006/relationships/tags" Target="../tags/tag273.xml"/><Relationship Id="rId22" Type="http://schemas.openxmlformats.org/officeDocument/2006/relationships/tags" Target="../tags/tag281.xml"/><Relationship Id="rId27" Type="http://schemas.openxmlformats.org/officeDocument/2006/relationships/tags" Target="../tags/tag286.xml"/><Relationship Id="rId30" Type="http://schemas.openxmlformats.org/officeDocument/2006/relationships/tags" Target="../tags/tag289.xml"/><Relationship Id="rId35" Type="http://schemas.openxmlformats.org/officeDocument/2006/relationships/tags" Target="../tags/tag294.xml"/><Relationship Id="rId43" Type="http://schemas.openxmlformats.org/officeDocument/2006/relationships/tags" Target="../tags/tag30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305.xml"/><Relationship Id="rId2" Type="http://schemas.openxmlformats.org/officeDocument/2006/relationships/tags" Target="../tags/tag304.xml"/><Relationship Id="rId1" Type="http://schemas.openxmlformats.org/officeDocument/2006/relationships/vmlDrawing" Target="../drawings/vmlDrawing8.vml"/><Relationship Id="rId5" Type="http://schemas.openxmlformats.org/officeDocument/2006/relationships/oleObject" Target="../embeddings/oleObject17.bin"/><Relationship Id="rId4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312.xml"/><Relationship Id="rId13" Type="http://schemas.openxmlformats.org/officeDocument/2006/relationships/tags" Target="../tags/tag317.xml"/><Relationship Id="rId3" Type="http://schemas.openxmlformats.org/officeDocument/2006/relationships/tags" Target="../tags/tag307.xml"/><Relationship Id="rId7" Type="http://schemas.openxmlformats.org/officeDocument/2006/relationships/tags" Target="../tags/tag311.xml"/><Relationship Id="rId12" Type="http://schemas.openxmlformats.org/officeDocument/2006/relationships/tags" Target="../tags/tag316.xml"/><Relationship Id="rId17" Type="http://schemas.openxmlformats.org/officeDocument/2006/relationships/oleObject" Target="../embeddings/oleObject18.bin"/><Relationship Id="rId2" Type="http://schemas.openxmlformats.org/officeDocument/2006/relationships/tags" Target="../tags/tag306.xml"/><Relationship Id="rId16" Type="http://schemas.openxmlformats.org/officeDocument/2006/relationships/slideLayout" Target="../slideLayouts/slideLayout16.xml"/><Relationship Id="rId1" Type="http://schemas.openxmlformats.org/officeDocument/2006/relationships/vmlDrawing" Target="../drawings/vmlDrawing9.vml"/><Relationship Id="rId6" Type="http://schemas.openxmlformats.org/officeDocument/2006/relationships/tags" Target="../tags/tag310.xml"/><Relationship Id="rId11" Type="http://schemas.openxmlformats.org/officeDocument/2006/relationships/tags" Target="../tags/tag315.xml"/><Relationship Id="rId5" Type="http://schemas.openxmlformats.org/officeDocument/2006/relationships/tags" Target="../tags/tag309.xml"/><Relationship Id="rId15" Type="http://schemas.openxmlformats.org/officeDocument/2006/relationships/tags" Target="../tags/tag319.xml"/><Relationship Id="rId10" Type="http://schemas.openxmlformats.org/officeDocument/2006/relationships/tags" Target="../tags/tag314.xml"/><Relationship Id="rId4" Type="http://schemas.openxmlformats.org/officeDocument/2006/relationships/tags" Target="../tags/tag308.xml"/><Relationship Id="rId9" Type="http://schemas.openxmlformats.org/officeDocument/2006/relationships/tags" Target="../tags/tag313.xml"/><Relationship Id="rId14" Type="http://schemas.openxmlformats.org/officeDocument/2006/relationships/tags" Target="../tags/tag3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488" name="Object 368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5488" name="think-cell Slide" r:id="rId4" imgW="360" imgH="360" progId="">
              <p:embed/>
            </p:oleObj>
          </a:graphicData>
        </a:graphic>
      </p:graphicFrame>
      <p:sp>
        <p:nvSpPr>
          <p:cNvPr id="2" name="Прямоугольник 1"/>
          <p:cNvSpPr/>
          <p:nvPr/>
        </p:nvSpPr>
        <p:spPr>
          <a:xfrm>
            <a:off x="0" y="15875"/>
            <a:ext cx="9144000" cy="6858000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549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11175" y="2286000"/>
            <a:ext cx="7947025" cy="1143000"/>
          </a:xfrm>
        </p:spPr>
        <p:txBody>
          <a:bodyPr/>
          <a:lstStyle/>
          <a:p>
            <a:pPr eaLnBrk="1" hangingPunct="1"/>
            <a:r>
              <a:rPr lang="ru-RU" smtClean="0">
                <a:solidFill>
                  <a:schemeClr val="bg1"/>
                </a:solidFill>
              </a:rPr>
              <a:t>Стратегия социально-экономического развития </a:t>
            </a:r>
            <a:br>
              <a:rPr lang="ru-RU" smtClean="0">
                <a:solidFill>
                  <a:schemeClr val="bg1"/>
                </a:solidFill>
              </a:rPr>
            </a:br>
            <a:r>
              <a:rPr lang="ru-RU" smtClean="0">
                <a:solidFill>
                  <a:schemeClr val="bg1"/>
                </a:solidFill>
              </a:rPr>
              <a:t>Чукотского автономного округа  до 2030 года</a:t>
            </a:r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850900" y="5664200"/>
            <a:ext cx="75565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492" name="Группа 9"/>
          <p:cNvGrpSpPr>
            <a:grpSpLocks/>
          </p:cNvGrpSpPr>
          <p:nvPr/>
        </p:nvGrpSpPr>
        <p:grpSpPr bwMode="auto">
          <a:xfrm>
            <a:off x="901700" y="3429000"/>
            <a:ext cx="7442200" cy="1285875"/>
            <a:chOff x="901699" y="3429000"/>
            <a:chExt cx="8839201" cy="1527444"/>
          </a:xfrm>
        </p:grpSpPr>
        <p:pic>
          <p:nvPicPr>
            <p:cNvPr id="5495" name="Picture 9" descr="http://atmyset.ru/wp-content/uploads/2010/02/%D0%9E%D0%BB%D0%B5%D0%BD%D0%B8.JPG"/>
            <p:cNvPicPr>
              <a:picLocks noChangeAspect="1" noChangeArrowheads="1"/>
            </p:cNvPicPr>
            <p:nvPr/>
          </p:nvPicPr>
          <p:blipFill>
            <a:blip r:embed="rId5"/>
            <a:srcRect/>
            <a:stretch>
              <a:fillRect/>
            </a:stretch>
          </p:blipFill>
          <p:spPr bwMode="auto">
            <a:xfrm>
              <a:off x="901699" y="3429000"/>
              <a:ext cx="1998133" cy="14986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5496" name="Picture 11" descr="http://img-2.photosight.ru/e9f/2971330_large.jpg"/>
            <p:cNvPicPr>
              <a:picLocks noChangeAspect="1" noChangeArrowheads="1"/>
            </p:cNvPicPr>
            <p:nvPr/>
          </p:nvPicPr>
          <p:blipFill>
            <a:blip r:embed="rId6"/>
            <a:srcRect r="12445" b="8403"/>
            <a:stretch>
              <a:fillRect/>
            </a:stretch>
          </p:blipFill>
          <p:spPr bwMode="auto">
            <a:xfrm>
              <a:off x="2899833" y="3429001"/>
              <a:ext cx="2269068" cy="14986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5497" name="Picture 13" descr="https://encrypted-tbn1.google.com/images?q=tbn:ANd9GcSCeHoxr4-E6Hc4vs2m4X9FkbUk0qLic2-Hw7ce1y9FuLBrF8T9"/>
            <p:cNvPicPr>
              <a:picLocks noChangeAspect="1" noChangeArrowheads="1"/>
            </p:cNvPicPr>
            <p:nvPr/>
          </p:nvPicPr>
          <p:blipFill>
            <a:blip r:embed="rId7"/>
            <a:srcRect/>
            <a:stretch>
              <a:fillRect/>
            </a:stretch>
          </p:blipFill>
          <p:spPr bwMode="auto">
            <a:xfrm>
              <a:off x="5168901" y="3429001"/>
              <a:ext cx="2280835" cy="14986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5498" name="Picture 15" descr="http://expert.ru/data/public/332736/332820/ugol300-200_jpg_300x200_crop_q85.jpg"/>
            <p:cNvPicPr>
              <a:picLocks noChangeAspect="1" noChangeArrowheads="1"/>
            </p:cNvPicPr>
            <p:nvPr/>
          </p:nvPicPr>
          <p:blipFill>
            <a:blip r:embed="rId8"/>
            <a:srcRect/>
            <a:stretch>
              <a:fillRect/>
            </a:stretch>
          </p:blipFill>
          <p:spPr bwMode="auto">
            <a:xfrm>
              <a:off x="7449736" y="3429001"/>
              <a:ext cx="2291164" cy="15274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pic>
        <p:nvPicPr>
          <p:cNvPr id="5493" name="Picture 19" descr="http://www.sibznak.net/actions/image/Images_gerb/gerb_avtonomiya/big_gerb/gerb_chukotka_ao.gif"/>
          <p:cNvPicPr>
            <a:picLocks noChangeAspect="1" noChangeArrowheads="1"/>
          </p:cNvPicPr>
          <p:nvPr/>
        </p:nvPicPr>
        <p:blipFill>
          <a:blip r:embed="rId9"/>
          <a:srcRect b="11005"/>
          <a:stretch>
            <a:fillRect/>
          </a:stretch>
        </p:blipFill>
        <p:spPr bwMode="auto">
          <a:xfrm>
            <a:off x="7378700" y="471488"/>
            <a:ext cx="1079500" cy="1217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494" name="Rectangle 3"/>
          <p:cNvSpPr txBox="1">
            <a:spLocks noChangeArrowheads="1"/>
          </p:cNvSpPr>
          <p:nvPr/>
        </p:nvSpPr>
        <p:spPr bwMode="auto">
          <a:xfrm>
            <a:off x="2044700" y="5575300"/>
            <a:ext cx="6400800" cy="393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17" tIns="45709" rIns="91417" bIns="45709" anchor="b"/>
          <a:lstStyle/>
          <a:p>
            <a:pPr algn="r">
              <a:spcBef>
                <a:spcPct val="20000"/>
              </a:spcBef>
              <a:buClr>
                <a:schemeClr val="hlink"/>
              </a:buClr>
              <a:buFont typeface="Arial" charset="0"/>
              <a:buNone/>
            </a:pPr>
            <a:endParaRPr lang="ru-RU" sz="120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8687" name="AutoShape 319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58687" name="think-cell Slide" r:id="rId5" imgW="0" imgH="0" progId="">
              <p:embed/>
            </p:oleObj>
          </a:graphicData>
        </a:graphic>
      </p:graphicFrame>
      <p:sp>
        <p:nvSpPr>
          <p:cNvPr id="58688" name="Rectangle 28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accent1"/>
              </a:gs>
            </a:gsLst>
            <a:path path="shape">
              <a:fillToRect l="50000" t="50000" r="50000" b="50000"/>
            </a:path>
          </a:gra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endParaRPr lang="en-US">
              <a:sym typeface="Arial" charset="0"/>
            </a:endParaRPr>
          </a:p>
        </p:txBody>
      </p:sp>
      <p:sp>
        <p:nvSpPr>
          <p:cNvPr id="58689" name="Rectangle 2"/>
          <p:cNvSpPr>
            <a:spLocks noGrp="1" noChangeArrowheads="1"/>
          </p:cNvSpPr>
          <p:nvPr>
            <p:ph type="title"/>
          </p:nvPr>
        </p:nvSpPr>
        <p:spPr>
          <a:xfrm>
            <a:off x="396875" y="260350"/>
            <a:ext cx="8407400" cy="609600"/>
          </a:xfrm>
        </p:spPr>
        <p:txBody>
          <a:bodyPr/>
          <a:lstStyle/>
          <a:p>
            <a:pPr eaLnBrk="1" hangingPunct="1">
              <a:lnSpc>
                <a:spcPct val="90000"/>
              </a:lnSpc>
            </a:pPr>
            <a:r>
              <a:rPr lang="ru-RU" smtClean="0"/>
              <a:t>Ключевой проект 1: Беринговский угольный бассейн – характеристики проекта</a:t>
            </a:r>
          </a:p>
        </p:txBody>
      </p:sp>
      <p:sp>
        <p:nvSpPr>
          <p:cNvPr id="58690" name="Text Box 3"/>
          <p:cNvSpPr txBox="1">
            <a:spLocks noChangeArrowheads="1"/>
          </p:cNvSpPr>
          <p:nvPr/>
        </p:nvSpPr>
        <p:spPr bwMode="auto">
          <a:xfrm>
            <a:off x="395288" y="1268413"/>
            <a:ext cx="76327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r>
              <a:rPr lang="ru-RU" sz="1400" b="1"/>
              <a:t>Целевые показатели развития Амаамского месторождения</a:t>
            </a:r>
          </a:p>
        </p:txBody>
      </p:sp>
      <p:sp>
        <p:nvSpPr>
          <p:cNvPr id="58691" name="Rectangle 1"/>
          <p:cNvSpPr>
            <a:spLocks noChangeArrowheads="1"/>
          </p:cNvSpPr>
          <p:nvPr/>
        </p:nvSpPr>
        <p:spPr bwMode="auto">
          <a:xfrm>
            <a:off x="7078663" y="1196975"/>
            <a:ext cx="1839912" cy="287338"/>
          </a:xfrm>
          <a:prstGeom prst="rect">
            <a:avLst/>
          </a:prstGeom>
          <a:noFill/>
          <a:ln w="9525" algn="ctr">
            <a:solidFill>
              <a:schemeClr val="tx1"/>
            </a:solidFill>
            <a:round/>
            <a:headEnd/>
            <a:tailEnd type="triangle" w="med" len="med"/>
          </a:ln>
        </p:spPr>
        <p:txBody>
          <a:bodyPr lIns="18288" rIns="18288" anchor="ctr"/>
          <a:lstStyle/>
          <a:p>
            <a:pPr marL="342900" indent="-342900" algn="ctr"/>
            <a:r>
              <a:rPr lang="ru-RU" sz="1200" b="1"/>
              <a:t>АМААМ</a:t>
            </a:r>
            <a:endParaRPr lang="en-US" sz="1200" b="1"/>
          </a:p>
        </p:txBody>
      </p:sp>
      <p:sp>
        <p:nvSpPr>
          <p:cNvPr id="2" name="Rectangle 1"/>
          <p:cNvSpPr/>
          <p:nvPr/>
        </p:nvSpPr>
        <p:spPr>
          <a:xfrm>
            <a:off x="477838" y="1797050"/>
            <a:ext cx="1520825" cy="4572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/>
              <a:t>Марка угля</a:t>
            </a:r>
            <a:endParaRPr lang="en-US" b="1" dirty="0"/>
          </a:p>
        </p:txBody>
      </p:sp>
      <p:sp>
        <p:nvSpPr>
          <p:cNvPr id="9" name="Rectangle 8"/>
          <p:cNvSpPr/>
          <p:nvPr/>
        </p:nvSpPr>
        <p:spPr>
          <a:xfrm>
            <a:off x="2459038" y="1797050"/>
            <a:ext cx="1847850" cy="457200"/>
          </a:xfrm>
          <a:prstGeom prst="rect">
            <a:avLst/>
          </a:prstGeom>
          <a:noFill/>
          <a:ln w="15875">
            <a:solidFill>
              <a:schemeClr val="accent1">
                <a:shade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>
                <a:solidFill>
                  <a:schemeClr val="tx1"/>
                </a:solidFill>
              </a:rPr>
              <a:t>КВ – высоко-</a:t>
            </a:r>
            <a:r>
              <a:rPr lang="ru-RU" b="1" dirty="0" err="1">
                <a:solidFill>
                  <a:schemeClr val="tx1"/>
                </a:solidFill>
              </a:rPr>
              <a:t>витринитовый</a:t>
            </a:r>
            <a:r>
              <a:rPr lang="ru-RU" b="1" dirty="0">
                <a:solidFill>
                  <a:schemeClr val="tx1"/>
                </a:solidFill>
              </a:rPr>
              <a:t>, 49%</a:t>
            </a:r>
            <a:endParaRPr lang="en-US" b="1" dirty="0"/>
          </a:p>
        </p:txBody>
      </p:sp>
      <p:sp>
        <p:nvSpPr>
          <p:cNvPr id="10" name="Rectangle 9"/>
          <p:cNvSpPr/>
          <p:nvPr/>
        </p:nvSpPr>
        <p:spPr>
          <a:xfrm>
            <a:off x="477838" y="2484438"/>
            <a:ext cx="1520825" cy="4572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/>
              <a:t>Ресурсы угля</a:t>
            </a:r>
            <a:endParaRPr lang="en-US" b="1" dirty="0"/>
          </a:p>
        </p:txBody>
      </p:sp>
      <p:sp>
        <p:nvSpPr>
          <p:cNvPr id="11" name="Rectangle 10"/>
          <p:cNvSpPr/>
          <p:nvPr/>
        </p:nvSpPr>
        <p:spPr>
          <a:xfrm>
            <a:off x="2459038" y="2484438"/>
            <a:ext cx="1847850" cy="457200"/>
          </a:xfrm>
          <a:prstGeom prst="rect">
            <a:avLst/>
          </a:prstGeom>
          <a:noFill/>
          <a:ln w="15875">
            <a:solidFill>
              <a:schemeClr val="accent1">
                <a:shade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>
                <a:solidFill>
                  <a:schemeClr val="tx1"/>
                </a:solidFill>
              </a:rPr>
              <a:t>Общие 412 млн. т </a:t>
            </a:r>
            <a:endParaRPr lang="en-US" b="1">
              <a:solidFill>
                <a:srgbClr val="FFFFFF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477838" y="3171825"/>
            <a:ext cx="1520825" cy="4572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/>
              <a:t>Тип добычи</a:t>
            </a:r>
            <a:endParaRPr lang="en-US" b="1" dirty="0"/>
          </a:p>
        </p:txBody>
      </p:sp>
      <p:sp>
        <p:nvSpPr>
          <p:cNvPr id="13" name="Rectangle 12"/>
          <p:cNvSpPr/>
          <p:nvPr/>
        </p:nvSpPr>
        <p:spPr>
          <a:xfrm>
            <a:off x="2459038" y="3171825"/>
            <a:ext cx="1847850" cy="457200"/>
          </a:xfrm>
          <a:prstGeom prst="rect">
            <a:avLst/>
          </a:prstGeom>
          <a:noFill/>
          <a:ln w="15875">
            <a:solidFill>
              <a:schemeClr val="accent1">
                <a:shade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>
                <a:solidFill>
                  <a:schemeClr val="tx1"/>
                </a:solidFill>
              </a:rPr>
              <a:t>Карьерная – 75%</a:t>
            </a:r>
          </a:p>
          <a:p>
            <a:pPr algn="ctr">
              <a:defRPr/>
            </a:pPr>
            <a:r>
              <a:rPr lang="ru-RU" b="1" dirty="0">
                <a:solidFill>
                  <a:schemeClr val="tx1"/>
                </a:solidFill>
              </a:rPr>
              <a:t>Шахтная – 25%</a:t>
            </a:r>
            <a:endParaRPr lang="en-US" b="1" dirty="0"/>
          </a:p>
        </p:txBody>
      </p:sp>
      <p:sp>
        <p:nvSpPr>
          <p:cNvPr id="14" name="Rectangle 13"/>
          <p:cNvSpPr/>
          <p:nvPr/>
        </p:nvSpPr>
        <p:spPr>
          <a:xfrm>
            <a:off x="477838" y="3859213"/>
            <a:ext cx="1520825" cy="4572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/>
              <a:t>Объем добычи/ год</a:t>
            </a:r>
            <a:endParaRPr lang="en-US" b="1" dirty="0"/>
          </a:p>
        </p:txBody>
      </p:sp>
      <p:sp>
        <p:nvSpPr>
          <p:cNvPr id="15" name="Rectangle 14"/>
          <p:cNvSpPr/>
          <p:nvPr/>
        </p:nvSpPr>
        <p:spPr>
          <a:xfrm>
            <a:off x="2459038" y="3859213"/>
            <a:ext cx="1847850" cy="457200"/>
          </a:xfrm>
          <a:prstGeom prst="rect">
            <a:avLst/>
          </a:prstGeom>
          <a:noFill/>
          <a:ln w="15875">
            <a:solidFill>
              <a:schemeClr val="accent1">
                <a:shade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>
                <a:solidFill>
                  <a:schemeClr val="tx1"/>
                </a:solidFill>
              </a:rPr>
              <a:t>10-13 млн. т добычи, </a:t>
            </a:r>
            <a:br>
              <a:rPr lang="ru-RU" b="1">
                <a:solidFill>
                  <a:schemeClr val="tx1"/>
                </a:solidFill>
              </a:rPr>
            </a:br>
            <a:r>
              <a:rPr lang="ru-RU" b="1">
                <a:solidFill>
                  <a:schemeClr val="tx1"/>
                </a:solidFill>
              </a:rPr>
              <a:t>5-6,5 млн. т продукции </a:t>
            </a:r>
            <a:endParaRPr lang="en-US" b="1">
              <a:solidFill>
                <a:srgbClr val="FFFFFF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477838" y="4546600"/>
            <a:ext cx="1520825" cy="4572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/>
              <a:t>Срок эксплуатации</a:t>
            </a:r>
            <a:endParaRPr lang="en-US" b="1" dirty="0"/>
          </a:p>
        </p:txBody>
      </p:sp>
      <p:sp>
        <p:nvSpPr>
          <p:cNvPr id="17" name="Rectangle 16"/>
          <p:cNvSpPr/>
          <p:nvPr/>
        </p:nvSpPr>
        <p:spPr>
          <a:xfrm>
            <a:off x="2459038" y="4546600"/>
            <a:ext cx="1847850" cy="457200"/>
          </a:xfrm>
          <a:prstGeom prst="rect">
            <a:avLst/>
          </a:prstGeom>
          <a:noFill/>
          <a:ln w="15875">
            <a:solidFill>
              <a:schemeClr val="accent1">
                <a:shade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>
                <a:solidFill>
                  <a:schemeClr val="tx1"/>
                </a:solidFill>
              </a:rPr>
              <a:t>60-80 лет</a:t>
            </a:r>
            <a:endParaRPr lang="en-US" b="1" dirty="0"/>
          </a:p>
        </p:txBody>
      </p:sp>
      <p:sp>
        <p:nvSpPr>
          <p:cNvPr id="3" name="Isosceles Triangle 2"/>
          <p:cNvSpPr/>
          <p:nvPr/>
        </p:nvSpPr>
        <p:spPr>
          <a:xfrm rot="5400000">
            <a:off x="2009776" y="1966912"/>
            <a:ext cx="457200" cy="117475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9" name="Isosceles Triangle 18"/>
          <p:cNvSpPr/>
          <p:nvPr/>
        </p:nvSpPr>
        <p:spPr>
          <a:xfrm rot="5400000">
            <a:off x="2009776" y="2654300"/>
            <a:ext cx="457200" cy="117475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20" name="Isosceles Triangle 19"/>
          <p:cNvSpPr/>
          <p:nvPr/>
        </p:nvSpPr>
        <p:spPr>
          <a:xfrm rot="5400000">
            <a:off x="2009776" y="3341687"/>
            <a:ext cx="457200" cy="117475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21" name="Isosceles Triangle 20"/>
          <p:cNvSpPr/>
          <p:nvPr/>
        </p:nvSpPr>
        <p:spPr>
          <a:xfrm rot="5400000">
            <a:off x="2009776" y="4029075"/>
            <a:ext cx="457200" cy="117475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22" name="Isosceles Triangle 21"/>
          <p:cNvSpPr/>
          <p:nvPr/>
        </p:nvSpPr>
        <p:spPr>
          <a:xfrm rot="5400000">
            <a:off x="2009776" y="4716462"/>
            <a:ext cx="457200" cy="117475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58707" name="TextBox 3"/>
          <p:cNvSpPr txBox="1">
            <a:spLocks noChangeArrowheads="1"/>
          </p:cNvSpPr>
          <p:nvPr/>
        </p:nvSpPr>
        <p:spPr bwMode="auto">
          <a:xfrm>
            <a:off x="4943475" y="1797050"/>
            <a:ext cx="2498725" cy="1354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Ins="0">
            <a:spAutoFit/>
          </a:bodyPr>
          <a:lstStyle/>
          <a:p>
            <a:pPr>
              <a:lnSpc>
                <a:spcPct val="150000"/>
              </a:lnSpc>
            </a:pPr>
            <a:r>
              <a:rPr lang="ru-RU" b="1"/>
              <a:t>Общие инвестиции, млрд. руб.</a:t>
            </a:r>
          </a:p>
          <a:p>
            <a:pPr>
              <a:lnSpc>
                <a:spcPct val="150000"/>
              </a:lnSpc>
              <a:buFont typeface="Wingdings" pitchFamily="2" charset="2"/>
              <a:buChar char="§"/>
            </a:pPr>
            <a:r>
              <a:rPr lang="ru-RU"/>
              <a:t>ГРР, частные</a:t>
            </a:r>
          </a:p>
          <a:p>
            <a:pPr>
              <a:lnSpc>
                <a:spcPct val="150000"/>
              </a:lnSpc>
              <a:buFont typeface="Wingdings" pitchFamily="2" charset="2"/>
              <a:buChar char="§"/>
            </a:pPr>
            <a:r>
              <a:rPr lang="ru-RU"/>
              <a:t>Капитальные вложения (частные)</a:t>
            </a:r>
          </a:p>
          <a:p>
            <a:pPr>
              <a:lnSpc>
                <a:spcPct val="150000"/>
              </a:lnSpc>
              <a:buFont typeface="Wingdings" pitchFamily="2" charset="2"/>
              <a:buChar char="§"/>
            </a:pPr>
            <a:r>
              <a:rPr lang="ru-RU"/>
              <a:t>Транспортная инфраструктура</a:t>
            </a:r>
          </a:p>
          <a:p>
            <a:pPr>
              <a:lnSpc>
                <a:spcPct val="150000"/>
              </a:lnSpc>
              <a:buFont typeface="Wingdings" pitchFamily="2" charset="2"/>
              <a:buChar char="§"/>
            </a:pPr>
            <a:r>
              <a:rPr lang="ru-RU"/>
              <a:t>Энергетика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4943475" y="3397250"/>
            <a:ext cx="2498725" cy="16160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ru-RU" b="1" dirty="0"/>
              <a:t>График реализации проекта</a:t>
            </a:r>
          </a:p>
          <a:p>
            <a:pPr marL="171450" indent="-171450">
              <a:lnSpc>
                <a:spcPct val="150000"/>
              </a:lnSpc>
              <a:buFont typeface="Wingdings" pitchFamily="2" charset="2"/>
              <a:buChar char="§"/>
              <a:defRPr/>
            </a:pPr>
            <a:r>
              <a:rPr lang="ru-RU" dirty="0"/>
              <a:t>Начало предварительной добычи</a:t>
            </a:r>
          </a:p>
          <a:p>
            <a:pPr marL="171450" indent="-171450">
              <a:lnSpc>
                <a:spcPct val="150000"/>
              </a:lnSpc>
              <a:buFont typeface="Wingdings" pitchFamily="2" charset="2"/>
              <a:buChar char="§"/>
              <a:defRPr/>
            </a:pPr>
            <a:r>
              <a:rPr lang="ru-RU" dirty="0"/>
              <a:t>Запуск обогатительной фабрики</a:t>
            </a:r>
          </a:p>
          <a:p>
            <a:pPr marL="171450" indent="-171450">
              <a:lnSpc>
                <a:spcPct val="150000"/>
              </a:lnSpc>
              <a:buFont typeface="Wingdings" pitchFamily="2" charset="2"/>
              <a:buChar char="§"/>
              <a:defRPr/>
            </a:pPr>
            <a:r>
              <a:rPr lang="ru-RU" dirty="0"/>
              <a:t>Первая погрузка в морском порту</a:t>
            </a:r>
          </a:p>
        </p:txBody>
      </p:sp>
      <p:sp>
        <p:nvSpPr>
          <p:cNvPr id="58709" name="TextBox 24"/>
          <p:cNvSpPr txBox="1">
            <a:spLocks noChangeArrowheads="1"/>
          </p:cNvSpPr>
          <p:nvPr/>
        </p:nvSpPr>
        <p:spPr bwMode="auto">
          <a:xfrm>
            <a:off x="7580313" y="1797050"/>
            <a:ext cx="935037" cy="136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150000"/>
              </a:lnSpc>
            </a:pPr>
            <a:r>
              <a:rPr lang="ru-RU" b="1"/>
              <a:t>71,1</a:t>
            </a:r>
          </a:p>
          <a:p>
            <a:pPr>
              <a:lnSpc>
                <a:spcPct val="150000"/>
              </a:lnSpc>
            </a:pPr>
            <a:r>
              <a:rPr lang="ru-RU"/>
              <a:t>- 4,8</a:t>
            </a:r>
          </a:p>
          <a:p>
            <a:pPr>
              <a:lnSpc>
                <a:spcPct val="150000"/>
              </a:lnSpc>
            </a:pPr>
            <a:r>
              <a:rPr lang="ru-RU"/>
              <a:t>- 45,0</a:t>
            </a:r>
          </a:p>
          <a:p>
            <a:pPr>
              <a:lnSpc>
                <a:spcPct val="150000"/>
              </a:lnSpc>
            </a:pPr>
            <a:r>
              <a:rPr lang="ru-RU"/>
              <a:t>- 12,2</a:t>
            </a:r>
          </a:p>
          <a:p>
            <a:pPr>
              <a:lnSpc>
                <a:spcPct val="150000"/>
              </a:lnSpc>
            </a:pPr>
            <a:r>
              <a:rPr lang="ru-RU"/>
              <a:t>- 9,0</a:t>
            </a:r>
          </a:p>
        </p:txBody>
      </p:sp>
      <p:sp>
        <p:nvSpPr>
          <p:cNvPr id="58710" name="TextBox 25"/>
          <p:cNvSpPr txBox="1">
            <a:spLocks noChangeArrowheads="1"/>
          </p:cNvSpPr>
          <p:nvPr/>
        </p:nvSpPr>
        <p:spPr bwMode="auto">
          <a:xfrm>
            <a:off x="7559675" y="3640138"/>
            <a:ext cx="935038" cy="1108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150000"/>
              </a:lnSpc>
            </a:pPr>
            <a:r>
              <a:rPr lang="ru-RU"/>
              <a:t>- 2 кв.</a:t>
            </a:r>
            <a:r>
              <a:rPr lang="en-US"/>
              <a:t> 2016</a:t>
            </a:r>
            <a:endParaRPr lang="ru-RU"/>
          </a:p>
          <a:p>
            <a:pPr>
              <a:lnSpc>
                <a:spcPct val="150000"/>
              </a:lnSpc>
            </a:pPr>
            <a:endParaRPr lang="ru-RU"/>
          </a:p>
          <a:p>
            <a:pPr>
              <a:lnSpc>
                <a:spcPct val="150000"/>
              </a:lnSpc>
            </a:pPr>
            <a:r>
              <a:rPr lang="ru-RU"/>
              <a:t>- </a:t>
            </a:r>
            <a:r>
              <a:rPr lang="en-US"/>
              <a:t>2 </a:t>
            </a:r>
            <a:r>
              <a:rPr lang="ru-RU"/>
              <a:t>кв. 2017</a:t>
            </a:r>
          </a:p>
          <a:p>
            <a:pPr>
              <a:lnSpc>
                <a:spcPct val="150000"/>
              </a:lnSpc>
            </a:pPr>
            <a:r>
              <a:rPr lang="ru-RU"/>
              <a:t>- 3 кв. 2017</a:t>
            </a:r>
          </a:p>
        </p:txBody>
      </p:sp>
      <p:sp>
        <p:nvSpPr>
          <p:cNvPr id="27" name="Rectangle 26"/>
          <p:cNvSpPr/>
          <p:nvPr/>
        </p:nvSpPr>
        <p:spPr>
          <a:xfrm>
            <a:off x="482600" y="5253038"/>
            <a:ext cx="1519238" cy="4572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/>
              <a:t>Численность занятых</a:t>
            </a:r>
            <a:endParaRPr lang="en-US" b="1" dirty="0"/>
          </a:p>
        </p:txBody>
      </p:sp>
      <p:sp>
        <p:nvSpPr>
          <p:cNvPr id="28" name="Rectangle 27"/>
          <p:cNvSpPr/>
          <p:nvPr/>
        </p:nvSpPr>
        <p:spPr>
          <a:xfrm>
            <a:off x="2463800" y="5253038"/>
            <a:ext cx="1846263" cy="457200"/>
          </a:xfrm>
          <a:prstGeom prst="rect">
            <a:avLst/>
          </a:prstGeom>
          <a:noFill/>
          <a:ln w="15875">
            <a:solidFill>
              <a:schemeClr val="accent1">
                <a:shade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>
                <a:solidFill>
                  <a:schemeClr val="tx1"/>
                </a:solidFill>
              </a:rPr>
              <a:t>800 человек</a:t>
            </a:r>
            <a:endParaRPr lang="en-US" b="1" dirty="0"/>
          </a:p>
        </p:txBody>
      </p:sp>
      <p:sp>
        <p:nvSpPr>
          <p:cNvPr id="29" name="Isosceles Triangle 28"/>
          <p:cNvSpPr/>
          <p:nvPr/>
        </p:nvSpPr>
        <p:spPr>
          <a:xfrm rot="5400000">
            <a:off x="2012951" y="5422900"/>
            <a:ext cx="457200" cy="117475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58714" name="TextBox 29"/>
          <p:cNvSpPr txBox="1">
            <a:spLocks noChangeArrowheads="1"/>
          </p:cNvSpPr>
          <p:nvPr/>
        </p:nvSpPr>
        <p:spPr bwMode="auto">
          <a:xfrm>
            <a:off x="4943475" y="5068888"/>
            <a:ext cx="3551238" cy="830262"/>
          </a:xfrm>
          <a:prstGeom prst="rect">
            <a:avLst/>
          </a:prstGeom>
          <a:solidFill>
            <a:srgbClr val="839FD7">
              <a:alpha val="5098"/>
            </a:srgbClr>
          </a:solidFill>
          <a:ln w="9525">
            <a:solidFill>
              <a:schemeClr val="tx1"/>
            </a:solidFill>
            <a:prstDash val="dash"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200" u="sng"/>
              <a:t>Амаамское</a:t>
            </a:r>
            <a:r>
              <a:rPr lang="ru-RU" sz="1200"/>
              <a:t> месторождение является </a:t>
            </a:r>
            <a:r>
              <a:rPr lang="ru-RU" sz="1200" u="sng"/>
              <a:t>первой очередью</a:t>
            </a:r>
            <a:r>
              <a:rPr lang="ru-RU" sz="1200"/>
              <a:t> освоения угольного бассейна совместно с месторождением </a:t>
            </a:r>
            <a:r>
              <a:rPr lang="ru-RU" sz="1200" u="sng"/>
              <a:t>Алькатваам</a:t>
            </a:r>
            <a:r>
              <a:rPr lang="ru-RU" sz="1200"/>
              <a:t>. </a:t>
            </a:r>
          </a:p>
          <a:p>
            <a:r>
              <a:rPr lang="ru-RU" sz="1200"/>
              <a:t>Общие запасы бассейна – </a:t>
            </a:r>
            <a:r>
              <a:rPr lang="ru-RU" sz="1200" u="sng"/>
              <a:t>более 1 млрд. тонн.  </a:t>
            </a:r>
          </a:p>
        </p:txBody>
      </p:sp>
      <p:sp>
        <p:nvSpPr>
          <p:cNvPr id="58715" name="Line 348"/>
          <p:cNvSpPr>
            <a:spLocks noChangeShapeType="1"/>
          </p:cNvSpPr>
          <p:nvPr/>
        </p:nvSpPr>
        <p:spPr bwMode="auto">
          <a:xfrm flipV="1">
            <a:off x="138113" y="955675"/>
            <a:ext cx="8899525" cy="7938"/>
          </a:xfrm>
          <a:prstGeom prst="line">
            <a:avLst/>
          </a:prstGeom>
          <a:noFill/>
          <a:ln w="9525">
            <a:solidFill>
              <a:srgbClr val="C0C0C0"/>
            </a:solidFill>
            <a:round/>
            <a:headEnd/>
            <a:tailEnd/>
          </a:ln>
          <a:effectLst>
            <a:prstShdw prst="shdw17" dist="17961" dir="2700000">
              <a:srgbClr val="737373"/>
            </a:prstShdw>
          </a:effectLst>
        </p:spPr>
        <p:txBody>
          <a:bodyPr/>
          <a:lstStyle/>
          <a:p>
            <a:endParaRPr lang="ru-RU"/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704" name="AutoShape 312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59704" name="think-cell Slide" r:id="rId5" imgW="0" imgH="0" progId="">
              <p:embed/>
            </p:oleObj>
          </a:graphicData>
        </a:graphic>
      </p:graphicFrame>
      <p:sp>
        <p:nvSpPr>
          <p:cNvPr id="59705" name="Rectangle 28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accent1"/>
              </a:gs>
            </a:gsLst>
            <a:path path="shape">
              <a:fillToRect l="50000" t="50000" r="50000" b="50000"/>
            </a:path>
          </a:gra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endParaRPr lang="en-US">
              <a:sym typeface="Arial" charset="0"/>
            </a:endParaRPr>
          </a:p>
        </p:txBody>
      </p:sp>
      <p:sp>
        <p:nvSpPr>
          <p:cNvPr id="59706" name="Rectangle 2"/>
          <p:cNvSpPr>
            <a:spLocks noGrp="1" noChangeArrowheads="1"/>
          </p:cNvSpPr>
          <p:nvPr>
            <p:ph type="title"/>
          </p:nvPr>
        </p:nvSpPr>
        <p:spPr>
          <a:xfrm>
            <a:off x="396875" y="260350"/>
            <a:ext cx="8407400" cy="609600"/>
          </a:xfrm>
        </p:spPr>
        <p:txBody>
          <a:bodyPr/>
          <a:lstStyle/>
          <a:p>
            <a:pPr eaLnBrk="1" hangingPunct="1">
              <a:lnSpc>
                <a:spcPct val="90000"/>
              </a:lnSpc>
            </a:pPr>
            <a:r>
              <a:rPr lang="ru-RU" smtClean="0"/>
              <a:t>Ключевой проект 1: Беринговский угольный бассейн – развитие инфраструктуры</a:t>
            </a:r>
          </a:p>
        </p:txBody>
      </p:sp>
      <p:sp>
        <p:nvSpPr>
          <p:cNvPr id="59707" name="Text Box 3"/>
          <p:cNvSpPr txBox="1">
            <a:spLocks noChangeArrowheads="1"/>
          </p:cNvSpPr>
          <p:nvPr/>
        </p:nvSpPr>
        <p:spPr bwMode="auto">
          <a:xfrm>
            <a:off x="395288" y="1268413"/>
            <a:ext cx="76327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r>
              <a:rPr lang="ru-RU" sz="1400" b="1"/>
              <a:t>Инфраструктурные проекты Амаамского месторождения</a:t>
            </a:r>
          </a:p>
        </p:txBody>
      </p:sp>
      <p:sp>
        <p:nvSpPr>
          <p:cNvPr id="59708" name="Rectangle 1"/>
          <p:cNvSpPr>
            <a:spLocks noChangeArrowheads="1"/>
          </p:cNvSpPr>
          <p:nvPr/>
        </p:nvSpPr>
        <p:spPr bwMode="auto">
          <a:xfrm>
            <a:off x="7078663" y="1196975"/>
            <a:ext cx="1839912" cy="287338"/>
          </a:xfrm>
          <a:prstGeom prst="rect">
            <a:avLst/>
          </a:prstGeom>
          <a:noFill/>
          <a:ln w="9525" algn="ctr">
            <a:solidFill>
              <a:schemeClr val="tx1"/>
            </a:solidFill>
            <a:round/>
            <a:headEnd/>
            <a:tailEnd type="triangle" w="med" len="med"/>
          </a:ln>
        </p:spPr>
        <p:txBody>
          <a:bodyPr lIns="18288" rIns="18288" anchor="ctr"/>
          <a:lstStyle/>
          <a:p>
            <a:pPr marL="342900" indent="-342900" algn="ctr"/>
            <a:r>
              <a:rPr lang="ru-RU" sz="1200" b="1"/>
              <a:t>АМААМ</a:t>
            </a:r>
            <a:endParaRPr lang="en-US" sz="1200" b="1"/>
          </a:p>
        </p:txBody>
      </p:sp>
      <p:sp>
        <p:nvSpPr>
          <p:cNvPr id="8" name="Rectangle 7"/>
          <p:cNvSpPr/>
          <p:nvPr/>
        </p:nvSpPr>
        <p:spPr>
          <a:xfrm>
            <a:off x="395288" y="2360613"/>
            <a:ext cx="1520825" cy="4572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/>
              <a:t>Энергетика</a:t>
            </a:r>
            <a:endParaRPr lang="en-US" b="1" dirty="0"/>
          </a:p>
        </p:txBody>
      </p:sp>
      <p:sp>
        <p:nvSpPr>
          <p:cNvPr id="9" name="Rectangle 8"/>
          <p:cNvSpPr/>
          <p:nvPr/>
        </p:nvSpPr>
        <p:spPr>
          <a:xfrm>
            <a:off x="6965950" y="2105025"/>
            <a:ext cx="1454150" cy="358775"/>
          </a:xfrm>
          <a:prstGeom prst="rect">
            <a:avLst/>
          </a:prstGeom>
          <a:noFill/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>
                <a:solidFill>
                  <a:schemeClr val="tx1"/>
                </a:solidFill>
              </a:rPr>
              <a:t>Частное</a:t>
            </a:r>
            <a:endParaRPr lang="en-US" b="1" dirty="0"/>
          </a:p>
        </p:txBody>
      </p:sp>
      <p:sp>
        <p:nvSpPr>
          <p:cNvPr id="10" name="Isosceles Triangle 9"/>
          <p:cNvSpPr>
            <a:spLocks noChangeArrowheads="1"/>
          </p:cNvSpPr>
          <p:nvPr/>
        </p:nvSpPr>
        <p:spPr bwMode="auto">
          <a:xfrm rot="-5400000">
            <a:off x="1777206" y="2493170"/>
            <a:ext cx="822325" cy="182562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25400" algn="ctr">
            <a:noFill/>
            <a:miter lim="800000"/>
            <a:headEnd/>
            <a:tailEnd/>
          </a:ln>
        </p:spPr>
        <p:txBody>
          <a:bodyPr vert="eaVert" anchor="ctr"/>
          <a:lstStyle/>
          <a:p>
            <a:pPr algn="ctr">
              <a:defRPr/>
            </a:pPr>
            <a:endParaRPr lang="en-US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395288" y="3495675"/>
            <a:ext cx="1520825" cy="4572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/>
              <a:t>Ж/д путь</a:t>
            </a:r>
            <a:endParaRPr lang="en-US" b="1" dirty="0"/>
          </a:p>
        </p:txBody>
      </p:sp>
      <p:sp>
        <p:nvSpPr>
          <p:cNvPr id="12" name="Rectangle 11"/>
          <p:cNvSpPr/>
          <p:nvPr/>
        </p:nvSpPr>
        <p:spPr>
          <a:xfrm>
            <a:off x="2376488" y="3327400"/>
            <a:ext cx="2273300" cy="1000125"/>
          </a:xfrm>
          <a:prstGeom prst="rect">
            <a:avLst/>
          </a:prstGeom>
          <a:noFill/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/>
          <a:lstStyle/>
          <a:p>
            <a:pPr marL="171450" indent="-171450">
              <a:buFont typeface="Wingdings" pitchFamily="2" charset="2"/>
              <a:buChar char="§"/>
              <a:defRPr/>
            </a:pPr>
            <a:r>
              <a:rPr lang="ru-RU" dirty="0">
                <a:solidFill>
                  <a:schemeClr val="tx1"/>
                </a:solidFill>
              </a:rPr>
              <a:t>Товарный уголь доставляется по ж/д в порт для погрузки на расстояние 25-50 км 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3" name="Isosceles Triangle 12"/>
          <p:cNvSpPr>
            <a:spLocks noChangeArrowheads="1"/>
          </p:cNvSpPr>
          <p:nvPr/>
        </p:nvSpPr>
        <p:spPr bwMode="auto">
          <a:xfrm rot="-5400000">
            <a:off x="1777206" y="3639345"/>
            <a:ext cx="822325" cy="182562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25400" algn="ctr">
            <a:noFill/>
            <a:miter lim="800000"/>
            <a:headEnd/>
            <a:tailEnd/>
          </a:ln>
        </p:spPr>
        <p:txBody>
          <a:bodyPr vert="eaVert" anchor="ctr"/>
          <a:lstStyle/>
          <a:p>
            <a:pPr algn="ctr">
              <a:defRPr/>
            </a:pPr>
            <a:endParaRPr lang="en-US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395288" y="4643438"/>
            <a:ext cx="1520825" cy="4572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/>
              <a:t>Морской порт</a:t>
            </a:r>
            <a:endParaRPr lang="en-US" b="1" dirty="0"/>
          </a:p>
        </p:txBody>
      </p:sp>
      <p:sp>
        <p:nvSpPr>
          <p:cNvPr id="15" name="Rectangle 14"/>
          <p:cNvSpPr/>
          <p:nvPr/>
        </p:nvSpPr>
        <p:spPr>
          <a:xfrm>
            <a:off x="2376488" y="4367213"/>
            <a:ext cx="2273300" cy="998537"/>
          </a:xfrm>
          <a:prstGeom prst="rect">
            <a:avLst/>
          </a:prstGeom>
          <a:noFill/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/>
          <a:lstStyle/>
          <a:p>
            <a:pPr marL="171450" indent="-171450">
              <a:buFont typeface="Wingdings" pitchFamily="2" charset="2"/>
              <a:buChar char="§"/>
              <a:defRPr/>
            </a:pPr>
            <a:r>
              <a:rPr lang="ru-RU">
                <a:solidFill>
                  <a:schemeClr val="tx1"/>
                </a:solidFill>
              </a:rPr>
              <a:t>Строительство портовой инфраструктуры</a:t>
            </a:r>
          </a:p>
          <a:p>
            <a:pPr marL="171450" indent="-171450">
              <a:buFont typeface="Wingdings" pitchFamily="2" charset="2"/>
              <a:buChar char="§"/>
              <a:defRPr/>
            </a:pPr>
            <a:r>
              <a:rPr lang="ru-RU">
                <a:solidFill>
                  <a:schemeClr val="tx1"/>
                </a:solidFill>
              </a:rPr>
              <a:t>Строительство 1,5 км канала для выхода судов из порта (лагуны) в океан</a:t>
            </a:r>
          </a:p>
        </p:txBody>
      </p:sp>
      <p:sp>
        <p:nvSpPr>
          <p:cNvPr id="16" name="Isosceles Triangle 15"/>
          <p:cNvSpPr>
            <a:spLocks noChangeArrowheads="1"/>
          </p:cNvSpPr>
          <p:nvPr/>
        </p:nvSpPr>
        <p:spPr bwMode="auto">
          <a:xfrm rot="-5400000">
            <a:off x="1776412" y="4775201"/>
            <a:ext cx="823913" cy="182562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25400" algn="ctr">
            <a:noFill/>
            <a:miter lim="800000"/>
            <a:headEnd/>
            <a:tailEnd/>
          </a:ln>
        </p:spPr>
        <p:txBody>
          <a:bodyPr vert="eaVert" anchor="ctr"/>
          <a:lstStyle/>
          <a:p>
            <a:pPr algn="ctr">
              <a:defRPr/>
            </a:pPr>
            <a:endParaRPr lang="en-US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59718" name="TextBox 1"/>
          <p:cNvSpPr txBox="1">
            <a:spLocks noChangeArrowheads="1"/>
          </p:cNvSpPr>
          <p:nvPr/>
        </p:nvSpPr>
        <p:spPr bwMode="auto">
          <a:xfrm>
            <a:off x="6900863" y="1684338"/>
            <a:ext cx="18923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400" b="1" i="1"/>
              <a:t>Финансирование</a:t>
            </a:r>
            <a:endParaRPr lang="en-US" sz="1400" b="1" i="1"/>
          </a:p>
        </p:txBody>
      </p:sp>
      <p:sp>
        <p:nvSpPr>
          <p:cNvPr id="18" name="Rectangle 17"/>
          <p:cNvSpPr/>
          <p:nvPr/>
        </p:nvSpPr>
        <p:spPr>
          <a:xfrm>
            <a:off x="2376488" y="2098675"/>
            <a:ext cx="2273300" cy="1376363"/>
          </a:xfrm>
          <a:prstGeom prst="rect">
            <a:avLst/>
          </a:prstGeom>
          <a:noFill/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/>
          <a:lstStyle/>
          <a:p>
            <a:pPr marL="171450" indent="-171450">
              <a:buFont typeface="Wingdings" pitchFamily="2" charset="2"/>
              <a:buChar char="§"/>
              <a:defRPr/>
            </a:pPr>
            <a:r>
              <a:rPr lang="ru-RU" dirty="0">
                <a:solidFill>
                  <a:schemeClr val="tx1"/>
                </a:solidFill>
              </a:rPr>
              <a:t>Дизельные генераторы 18 мВт- в порту</a:t>
            </a:r>
          </a:p>
          <a:p>
            <a:pPr marL="171450" indent="-171450">
              <a:buFont typeface="Wingdings" pitchFamily="2" charset="2"/>
              <a:buChar char="§"/>
              <a:defRPr/>
            </a:pPr>
            <a:r>
              <a:rPr lang="ru-RU" dirty="0">
                <a:solidFill>
                  <a:schemeClr val="tx1"/>
                </a:solidFill>
              </a:rPr>
              <a:t>Угольная паровая турбинная станция 25 мВт - на обогатительной фабрике</a:t>
            </a:r>
          </a:p>
        </p:txBody>
      </p:sp>
      <p:sp>
        <p:nvSpPr>
          <p:cNvPr id="19" name="Rectangle 18"/>
          <p:cNvSpPr/>
          <p:nvPr/>
        </p:nvSpPr>
        <p:spPr>
          <a:xfrm>
            <a:off x="7031038" y="3295650"/>
            <a:ext cx="1454150" cy="358775"/>
          </a:xfrm>
          <a:prstGeom prst="rect">
            <a:avLst/>
          </a:prstGeom>
          <a:noFill/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>
                <a:solidFill>
                  <a:schemeClr val="tx1"/>
                </a:solidFill>
              </a:rPr>
              <a:t>Частное</a:t>
            </a:r>
            <a:endParaRPr lang="en-US" b="1" dirty="0"/>
          </a:p>
        </p:txBody>
      </p:sp>
      <p:sp>
        <p:nvSpPr>
          <p:cNvPr id="20" name="Rectangle 19"/>
          <p:cNvSpPr/>
          <p:nvPr/>
        </p:nvSpPr>
        <p:spPr>
          <a:xfrm>
            <a:off x="6883400" y="4629150"/>
            <a:ext cx="2090738" cy="612775"/>
          </a:xfrm>
          <a:prstGeom prst="rect">
            <a:avLst/>
          </a:prstGeom>
          <a:noFill/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>
                <a:solidFill>
                  <a:schemeClr val="tx1"/>
                </a:solidFill>
              </a:rPr>
              <a:t>Софинансирование/ </a:t>
            </a:r>
          </a:p>
          <a:p>
            <a:pPr algn="ctr">
              <a:defRPr/>
            </a:pPr>
            <a:r>
              <a:rPr lang="ru-RU" b="1">
                <a:solidFill>
                  <a:schemeClr val="tx1"/>
                </a:solidFill>
              </a:rPr>
              <a:t>включение в федеральную правительственную схему территориального планирования</a:t>
            </a:r>
            <a:endParaRPr lang="en-US" b="1">
              <a:solidFill>
                <a:srgbClr val="FFFFFF"/>
              </a:solidFill>
            </a:endParaRPr>
          </a:p>
        </p:txBody>
      </p:sp>
      <p:sp>
        <p:nvSpPr>
          <p:cNvPr id="59722" name="TextBox 20"/>
          <p:cNvSpPr txBox="1">
            <a:spLocks noChangeArrowheads="1"/>
          </p:cNvSpPr>
          <p:nvPr/>
        </p:nvSpPr>
        <p:spPr bwMode="auto">
          <a:xfrm>
            <a:off x="5099050" y="1689100"/>
            <a:ext cx="1908175" cy="522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400" b="1" i="1"/>
              <a:t>Характеристики объекта</a:t>
            </a:r>
            <a:endParaRPr lang="en-US" sz="1400" b="1" i="1"/>
          </a:p>
        </p:txBody>
      </p:sp>
      <p:sp>
        <p:nvSpPr>
          <p:cNvPr id="22" name="Rectangle 21"/>
          <p:cNvSpPr/>
          <p:nvPr/>
        </p:nvSpPr>
        <p:spPr>
          <a:xfrm>
            <a:off x="4765675" y="4367213"/>
            <a:ext cx="2200275" cy="998537"/>
          </a:xfrm>
          <a:prstGeom prst="rect">
            <a:avLst/>
          </a:prstGeom>
          <a:noFill/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/>
          <a:lstStyle/>
          <a:p>
            <a:pPr marL="171450" indent="-171450">
              <a:buFont typeface="Wingdings" pitchFamily="2" charset="2"/>
              <a:buChar char="§"/>
              <a:defRPr/>
            </a:pPr>
            <a:r>
              <a:rPr lang="ru-RU">
                <a:solidFill>
                  <a:schemeClr val="tx1"/>
                </a:solidFill>
              </a:rPr>
              <a:t>Операции по перевалке с ж/д вагонов на корабль </a:t>
            </a:r>
          </a:p>
          <a:p>
            <a:pPr marL="171450" indent="-171450">
              <a:buFont typeface="Wingdings" pitchFamily="2" charset="2"/>
              <a:buChar char="§"/>
              <a:defRPr/>
            </a:pPr>
            <a:r>
              <a:rPr lang="ru-RU">
                <a:solidFill>
                  <a:schemeClr val="tx1"/>
                </a:solidFill>
              </a:rPr>
              <a:t>Круглогодичный порт с грузооборотом до 7,5 млн. тонн/год </a:t>
            </a:r>
          </a:p>
          <a:p>
            <a:pPr marL="171450" indent="-171450">
              <a:buFont typeface="Wingdings" pitchFamily="2" charset="2"/>
              <a:buChar char="§"/>
              <a:defRPr/>
            </a:pPr>
            <a:r>
              <a:rPr lang="ru-RU">
                <a:solidFill>
                  <a:schemeClr val="tx1"/>
                </a:solidFill>
              </a:rPr>
              <a:t>Возможность приемки  судов водоизмещением до 70.000 т</a:t>
            </a:r>
            <a:endParaRPr lang="en-US">
              <a:solidFill>
                <a:schemeClr val="tx1"/>
              </a:solidFill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4764088" y="2098675"/>
            <a:ext cx="2243137" cy="779463"/>
          </a:xfrm>
          <a:prstGeom prst="rect">
            <a:avLst/>
          </a:prstGeom>
          <a:noFill/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/>
          <a:lstStyle/>
          <a:p>
            <a:pPr marL="171450" indent="-171450">
              <a:buFont typeface="Wingdings" pitchFamily="2" charset="2"/>
              <a:buChar char="§"/>
              <a:defRPr/>
            </a:pPr>
            <a:r>
              <a:rPr lang="ru-RU" dirty="0">
                <a:solidFill>
                  <a:schemeClr val="tx1"/>
                </a:solidFill>
              </a:rPr>
              <a:t>Собственное сырье – второсортный товар с обогатительной фабрики</a:t>
            </a:r>
          </a:p>
          <a:p>
            <a:pPr marL="171450" indent="-171450">
              <a:buFont typeface="Wingdings" pitchFamily="2" charset="2"/>
              <a:buChar char="§"/>
              <a:defRPr/>
            </a:pPr>
            <a:r>
              <a:rPr lang="ru-RU" dirty="0">
                <a:solidFill>
                  <a:schemeClr val="tx1"/>
                </a:solidFill>
              </a:rPr>
              <a:t>Стоимость электроэнергии – 1,2 руб. кВт/ч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9725" name="TextBox 23"/>
          <p:cNvSpPr txBox="1">
            <a:spLocks noChangeArrowheads="1"/>
          </p:cNvSpPr>
          <p:nvPr/>
        </p:nvSpPr>
        <p:spPr bwMode="auto">
          <a:xfrm>
            <a:off x="2455863" y="1692275"/>
            <a:ext cx="2193925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400" b="1" i="1"/>
              <a:t>Техническое решение</a:t>
            </a:r>
            <a:endParaRPr lang="en-US" sz="1400" b="1" i="1"/>
          </a:p>
        </p:txBody>
      </p:sp>
      <p:sp>
        <p:nvSpPr>
          <p:cNvPr id="59726" name="Line 335"/>
          <p:cNvSpPr>
            <a:spLocks noChangeShapeType="1"/>
          </p:cNvSpPr>
          <p:nvPr/>
        </p:nvSpPr>
        <p:spPr bwMode="auto">
          <a:xfrm flipV="1">
            <a:off x="138113" y="955675"/>
            <a:ext cx="8899525" cy="7938"/>
          </a:xfrm>
          <a:prstGeom prst="line">
            <a:avLst/>
          </a:prstGeom>
          <a:noFill/>
          <a:ln w="9525">
            <a:solidFill>
              <a:srgbClr val="C0C0C0"/>
            </a:solidFill>
            <a:round/>
            <a:headEnd/>
            <a:tailEnd/>
          </a:ln>
          <a:effectLst>
            <a:prstShdw prst="shdw17" dist="17961" dir="2700000">
              <a:srgbClr val="737373"/>
            </a:prstShdw>
          </a:effectLst>
        </p:spPr>
        <p:txBody>
          <a:bodyPr/>
          <a:lstStyle/>
          <a:p>
            <a:endParaRPr lang="ru-RU"/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297" name="AutoShape 305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85297" name="think-cell Slide" r:id="rId5" imgW="0" imgH="0" progId="">
              <p:embed/>
            </p:oleObj>
          </a:graphicData>
        </a:graphic>
      </p:graphicFrame>
      <p:sp>
        <p:nvSpPr>
          <p:cNvPr id="85298" name="Rectangle 28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accent1"/>
              </a:gs>
            </a:gsLst>
            <a:path path="shape">
              <a:fillToRect l="50000" t="50000" r="50000" b="50000"/>
            </a:path>
          </a:gra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endParaRPr lang="en-US">
              <a:sym typeface="Arial" charset="0"/>
            </a:endParaRPr>
          </a:p>
        </p:txBody>
      </p:sp>
      <p:sp>
        <p:nvSpPr>
          <p:cNvPr id="85299" name="Rectangle 2"/>
          <p:cNvSpPr>
            <a:spLocks noGrp="1" noChangeArrowheads="1"/>
          </p:cNvSpPr>
          <p:nvPr>
            <p:ph type="title"/>
          </p:nvPr>
        </p:nvSpPr>
        <p:spPr>
          <a:xfrm>
            <a:off x="396875" y="260350"/>
            <a:ext cx="8407400" cy="609600"/>
          </a:xfrm>
        </p:spPr>
        <p:txBody>
          <a:bodyPr/>
          <a:lstStyle/>
          <a:p>
            <a:pPr eaLnBrk="1" hangingPunct="1">
              <a:lnSpc>
                <a:spcPct val="90000"/>
              </a:lnSpc>
            </a:pPr>
            <a:r>
              <a:rPr lang="ru-RU" smtClean="0"/>
              <a:t>Ключевой проект 2: Баимская рудная зона – характеристики проекта</a:t>
            </a:r>
          </a:p>
        </p:txBody>
      </p:sp>
      <p:sp>
        <p:nvSpPr>
          <p:cNvPr id="85300" name="Text Box 3"/>
          <p:cNvSpPr txBox="1">
            <a:spLocks noChangeArrowheads="1"/>
          </p:cNvSpPr>
          <p:nvPr/>
        </p:nvSpPr>
        <p:spPr bwMode="auto">
          <a:xfrm>
            <a:off x="395288" y="1268413"/>
            <a:ext cx="76327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r>
              <a:rPr lang="ru-RU" sz="1400" b="1"/>
              <a:t>Прогнозируемые показатели развития Баимской рудной зоны</a:t>
            </a:r>
          </a:p>
        </p:txBody>
      </p:sp>
      <p:sp>
        <p:nvSpPr>
          <p:cNvPr id="2" name="Rectangle 1"/>
          <p:cNvSpPr/>
          <p:nvPr/>
        </p:nvSpPr>
        <p:spPr>
          <a:xfrm>
            <a:off x="477838" y="1797050"/>
            <a:ext cx="1520825" cy="4572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/>
              <a:t>Основные металлы</a:t>
            </a:r>
            <a:endParaRPr lang="en-US" b="1" dirty="0"/>
          </a:p>
        </p:txBody>
      </p:sp>
      <p:sp>
        <p:nvSpPr>
          <p:cNvPr id="9" name="Rectangle 8"/>
          <p:cNvSpPr/>
          <p:nvPr/>
        </p:nvSpPr>
        <p:spPr>
          <a:xfrm>
            <a:off x="2459038" y="1797050"/>
            <a:ext cx="1847850" cy="457200"/>
          </a:xfrm>
          <a:prstGeom prst="rect">
            <a:avLst/>
          </a:prstGeom>
          <a:noFill/>
          <a:ln w="15875">
            <a:solidFill>
              <a:schemeClr val="accent1">
                <a:shade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>
                <a:solidFill>
                  <a:schemeClr val="tx1"/>
                </a:solidFill>
              </a:rPr>
              <a:t>Медь, золото, серебро, молибден</a:t>
            </a:r>
            <a:endParaRPr lang="en-US" b="1" dirty="0"/>
          </a:p>
        </p:txBody>
      </p:sp>
      <p:sp>
        <p:nvSpPr>
          <p:cNvPr id="10" name="Rectangle 9"/>
          <p:cNvSpPr/>
          <p:nvPr/>
        </p:nvSpPr>
        <p:spPr>
          <a:xfrm>
            <a:off x="477838" y="2484438"/>
            <a:ext cx="1520825" cy="4572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/>
              <a:t>Ресурсы металлов</a:t>
            </a:r>
            <a:endParaRPr lang="en-US" b="1" dirty="0"/>
          </a:p>
        </p:txBody>
      </p:sp>
      <p:sp>
        <p:nvSpPr>
          <p:cNvPr id="11" name="Rectangle 10"/>
          <p:cNvSpPr/>
          <p:nvPr/>
        </p:nvSpPr>
        <p:spPr>
          <a:xfrm>
            <a:off x="2459038" y="2484438"/>
            <a:ext cx="1847850" cy="457200"/>
          </a:xfrm>
          <a:prstGeom prst="rect">
            <a:avLst/>
          </a:prstGeom>
          <a:noFill/>
          <a:ln w="15875">
            <a:solidFill>
              <a:schemeClr val="accent1">
                <a:shade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>
                <a:solidFill>
                  <a:schemeClr val="tx1"/>
                </a:solidFill>
              </a:rPr>
              <a:t>Медь – 27 млн. т</a:t>
            </a:r>
          </a:p>
          <a:p>
            <a:pPr algn="ctr">
              <a:defRPr/>
            </a:pPr>
            <a:r>
              <a:rPr lang="ru-RU" b="1">
                <a:solidFill>
                  <a:schemeClr val="tx1"/>
                </a:solidFill>
              </a:rPr>
              <a:t>Золото – 1,6 тыс. т</a:t>
            </a:r>
            <a:endParaRPr lang="en-US" b="1">
              <a:solidFill>
                <a:srgbClr val="FFFFFF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477838" y="3171825"/>
            <a:ext cx="1520825" cy="4572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/>
              <a:t>Тип добычи</a:t>
            </a:r>
            <a:endParaRPr lang="en-US" b="1" dirty="0"/>
          </a:p>
        </p:txBody>
      </p:sp>
      <p:sp>
        <p:nvSpPr>
          <p:cNvPr id="13" name="Rectangle 12"/>
          <p:cNvSpPr/>
          <p:nvPr/>
        </p:nvSpPr>
        <p:spPr>
          <a:xfrm>
            <a:off x="2459038" y="3171825"/>
            <a:ext cx="1847850" cy="457200"/>
          </a:xfrm>
          <a:prstGeom prst="rect">
            <a:avLst/>
          </a:prstGeom>
          <a:noFill/>
          <a:ln w="15875">
            <a:solidFill>
              <a:schemeClr val="accent1">
                <a:shade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>
                <a:solidFill>
                  <a:schemeClr val="tx1"/>
                </a:solidFill>
              </a:rPr>
              <a:t>Шахтная </a:t>
            </a:r>
            <a:endParaRPr lang="en-US" b="1" dirty="0"/>
          </a:p>
        </p:txBody>
      </p:sp>
      <p:sp>
        <p:nvSpPr>
          <p:cNvPr id="14" name="Rectangle 13"/>
          <p:cNvSpPr/>
          <p:nvPr/>
        </p:nvSpPr>
        <p:spPr>
          <a:xfrm>
            <a:off x="477838" y="3859213"/>
            <a:ext cx="1520825" cy="4572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/>
              <a:t>Объем добычи/ год</a:t>
            </a:r>
            <a:endParaRPr lang="en-US" b="1" dirty="0"/>
          </a:p>
        </p:txBody>
      </p:sp>
      <p:sp>
        <p:nvSpPr>
          <p:cNvPr id="15" name="Rectangle 14"/>
          <p:cNvSpPr/>
          <p:nvPr/>
        </p:nvSpPr>
        <p:spPr>
          <a:xfrm>
            <a:off x="2459038" y="3859213"/>
            <a:ext cx="1847850" cy="457200"/>
          </a:xfrm>
          <a:prstGeom prst="rect">
            <a:avLst/>
          </a:prstGeom>
          <a:noFill/>
          <a:ln w="15875">
            <a:solidFill>
              <a:schemeClr val="accent1">
                <a:shade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>
                <a:solidFill>
                  <a:schemeClr val="tx1"/>
                </a:solidFill>
              </a:rPr>
              <a:t>Медь – 100-200 тыс. т</a:t>
            </a:r>
            <a:br>
              <a:rPr lang="ru-RU" b="1">
                <a:solidFill>
                  <a:schemeClr val="tx1"/>
                </a:solidFill>
              </a:rPr>
            </a:br>
            <a:r>
              <a:rPr lang="ru-RU" b="1">
                <a:solidFill>
                  <a:schemeClr val="tx1"/>
                </a:solidFill>
              </a:rPr>
              <a:t>Золото – 6-9 т</a:t>
            </a:r>
            <a:endParaRPr lang="en-US" b="1">
              <a:solidFill>
                <a:srgbClr val="FFFFFF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477838" y="4546600"/>
            <a:ext cx="1520825" cy="4572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/>
              <a:t>Срок эксплуатации</a:t>
            </a:r>
            <a:endParaRPr lang="en-US" b="1" dirty="0"/>
          </a:p>
        </p:txBody>
      </p:sp>
      <p:sp>
        <p:nvSpPr>
          <p:cNvPr id="17" name="Rectangle 16"/>
          <p:cNvSpPr/>
          <p:nvPr/>
        </p:nvSpPr>
        <p:spPr>
          <a:xfrm>
            <a:off x="2459038" y="4546600"/>
            <a:ext cx="1847850" cy="457200"/>
          </a:xfrm>
          <a:prstGeom prst="rect">
            <a:avLst/>
          </a:prstGeom>
          <a:noFill/>
          <a:ln w="15875">
            <a:solidFill>
              <a:schemeClr val="accent1">
                <a:shade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b="1" dirty="0">
                <a:solidFill>
                  <a:schemeClr val="tx1"/>
                </a:solidFill>
              </a:rPr>
              <a:t>&gt; </a:t>
            </a:r>
            <a:r>
              <a:rPr lang="ru-RU" b="1" dirty="0">
                <a:solidFill>
                  <a:schemeClr val="tx1"/>
                </a:solidFill>
              </a:rPr>
              <a:t>80 лет</a:t>
            </a:r>
            <a:endParaRPr lang="en-US" b="1" dirty="0"/>
          </a:p>
        </p:txBody>
      </p:sp>
      <p:sp>
        <p:nvSpPr>
          <p:cNvPr id="3" name="Isosceles Triangle 2"/>
          <p:cNvSpPr/>
          <p:nvPr/>
        </p:nvSpPr>
        <p:spPr>
          <a:xfrm rot="5400000">
            <a:off x="2009776" y="1966912"/>
            <a:ext cx="457200" cy="117475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9" name="Isosceles Triangle 18"/>
          <p:cNvSpPr/>
          <p:nvPr/>
        </p:nvSpPr>
        <p:spPr>
          <a:xfrm rot="5400000">
            <a:off x="2009776" y="2654300"/>
            <a:ext cx="457200" cy="117475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20" name="Isosceles Triangle 19"/>
          <p:cNvSpPr/>
          <p:nvPr/>
        </p:nvSpPr>
        <p:spPr>
          <a:xfrm rot="5400000">
            <a:off x="2009776" y="3341687"/>
            <a:ext cx="457200" cy="117475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21" name="Isosceles Triangle 20"/>
          <p:cNvSpPr/>
          <p:nvPr/>
        </p:nvSpPr>
        <p:spPr>
          <a:xfrm rot="5400000">
            <a:off x="2009776" y="4029075"/>
            <a:ext cx="457200" cy="117475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22" name="Isosceles Triangle 21"/>
          <p:cNvSpPr/>
          <p:nvPr/>
        </p:nvSpPr>
        <p:spPr>
          <a:xfrm rot="5400000">
            <a:off x="2009776" y="4716462"/>
            <a:ext cx="457200" cy="117475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85316" name="TextBox 3"/>
          <p:cNvSpPr txBox="1">
            <a:spLocks noChangeArrowheads="1"/>
          </p:cNvSpPr>
          <p:nvPr/>
        </p:nvSpPr>
        <p:spPr bwMode="auto">
          <a:xfrm>
            <a:off x="4943475" y="1797050"/>
            <a:ext cx="2498725" cy="1354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Ins="0">
            <a:spAutoFit/>
          </a:bodyPr>
          <a:lstStyle/>
          <a:p>
            <a:pPr>
              <a:lnSpc>
                <a:spcPct val="150000"/>
              </a:lnSpc>
            </a:pPr>
            <a:r>
              <a:rPr lang="ru-RU" b="1"/>
              <a:t>Общие инвестиции, млрд. руб.</a:t>
            </a:r>
          </a:p>
          <a:p>
            <a:pPr>
              <a:lnSpc>
                <a:spcPct val="150000"/>
              </a:lnSpc>
              <a:buFont typeface="Wingdings" pitchFamily="2" charset="2"/>
              <a:buChar char="§"/>
            </a:pPr>
            <a:r>
              <a:rPr lang="ru-RU"/>
              <a:t> ГРР, частные</a:t>
            </a:r>
          </a:p>
          <a:p>
            <a:pPr>
              <a:lnSpc>
                <a:spcPct val="150000"/>
              </a:lnSpc>
              <a:buFont typeface="Wingdings" pitchFamily="2" charset="2"/>
              <a:buChar char="§"/>
            </a:pPr>
            <a:r>
              <a:rPr lang="ru-RU"/>
              <a:t> Капитальные вложения (частные)</a:t>
            </a:r>
          </a:p>
          <a:p>
            <a:pPr>
              <a:lnSpc>
                <a:spcPct val="150000"/>
              </a:lnSpc>
              <a:buFont typeface="Wingdings" pitchFamily="2" charset="2"/>
              <a:buChar char="§"/>
            </a:pPr>
            <a:r>
              <a:rPr lang="ru-RU"/>
              <a:t> Транспортная инфраструктура</a:t>
            </a:r>
          </a:p>
          <a:p>
            <a:pPr>
              <a:lnSpc>
                <a:spcPct val="150000"/>
              </a:lnSpc>
              <a:buFont typeface="Wingdings" pitchFamily="2" charset="2"/>
              <a:buChar char="§"/>
            </a:pPr>
            <a:r>
              <a:rPr lang="ru-RU"/>
              <a:t> Энергетика</a:t>
            </a:r>
          </a:p>
        </p:txBody>
      </p:sp>
      <p:sp>
        <p:nvSpPr>
          <p:cNvPr id="85317" name="TextBox 23"/>
          <p:cNvSpPr txBox="1">
            <a:spLocks noChangeArrowheads="1"/>
          </p:cNvSpPr>
          <p:nvPr/>
        </p:nvSpPr>
        <p:spPr bwMode="auto">
          <a:xfrm>
            <a:off x="4943475" y="3186113"/>
            <a:ext cx="3435350" cy="1858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150000"/>
              </a:lnSpc>
            </a:pPr>
            <a:r>
              <a:rPr lang="ru-RU" b="1"/>
              <a:t>Ключевые условия реализации проекта</a:t>
            </a:r>
          </a:p>
          <a:p>
            <a:pPr>
              <a:lnSpc>
                <a:spcPct val="150000"/>
              </a:lnSpc>
              <a:buFont typeface="Wingdings" pitchFamily="2" charset="2"/>
              <a:buChar char="§"/>
            </a:pPr>
            <a:r>
              <a:rPr lang="ru-RU"/>
              <a:t> Разработать решение по энергообеспечению рудной зоны по более низким тарифам - 4-6 руб. кВт/ч вместо 11-12 руб. кВт/ч; необходимая потребность в энергии составляет 130мВт к 2025гг, 205мВт – 2030гг</a:t>
            </a:r>
          </a:p>
          <a:p>
            <a:pPr>
              <a:lnSpc>
                <a:spcPct val="150000"/>
              </a:lnSpc>
              <a:buFont typeface="Wingdings" pitchFamily="2" charset="2"/>
              <a:buChar char="§"/>
            </a:pPr>
            <a:endParaRPr lang="ru-RU"/>
          </a:p>
        </p:txBody>
      </p:sp>
      <p:sp>
        <p:nvSpPr>
          <p:cNvPr id="85318" name="TextBox 24"/>
          <p:cNvSpPr txBox="1">
            <a:spLocks noChangeArrowheads="1"/>
          </p:cNvSpPr>
          <p:nvPr/>
        </p:nvSpPr>
        <p:spPr bwMode="auto">
          <a:xfrm>
            <a:off x="7442200" y="1797050"/>
            <a:ext cx="1476375" cy="136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150000"/>
              </a:lnSpc>
            </a:pPr>
            <a:r>
              <a:rPr lang="ru-RU" b="1"/>
              <a:t>172,4</a:t>
            </a:r>
          </a:p>
          <a:p>
            <a:pPr>
              <a:lnSpc>
                <a:spcPct val="150000"/>
              </a:lnSpc>
            </a:pPr>
            <a:r>
              <a:rPr lang="ru-RU"/>
              <a:t>- 5,5</a:t>
            </a:r>
          </a:p>
          <a:p>
            <a:pPr>
              <a:lnSpc>
                <a:spcPct val="150000"/>
              </a:lnSpc>
            </a:pPr>
            <a:r>
              <a:rPr lang="ru-RU"/>
              <a:t>- 48,4</a:t>
            </a:r>
          </a:p>
          <a:p>
            <a:pPr>
              <a:lnSpc>
                <a:spcPct val="150000"/>
              </a:lnSpc>
            </a:pPr>
            <a:r>
              <a:rPr lang="ru-RU"/>
              <a:t>- 36,9</a:t>
            </a:r>
          </a:p>
          <a:p>
            <a:pPr>
              <a:lnSpc>
                <a:spcPct val="150000"/>
              </a:lnSpc>
            </a:pPr>
            <a:r>
              <a:rPr lang="ru-RU"/>
              <a:t>- 81,6</a:t>
            </a:r>
          </a:p>
        </p:txBody>
      </p:sp>
      <p:sp>
        <p:nvSpPr>
          <p:cNvPr id="27" name="Rectangle 26"/>
          <p:cNvSpPr/>
          <p:nvPr/>
        </p:nvSpPr>
        <p:spPr>
          <a:xfrm>
            <a:off x="482600" y="5253038"/>
            <a:ext cx="1519238" cy="4572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/>
              <a:t>Численность занятых</a:t>
            </a:r>
            <a:endParaRPr lang="en-US" b="1" dirty="0"/>
          </a:p>
        </p:txBody>
      </p:sp>
      <p:sp>
        <p:nvSpPr>
          <p:cNvPr id="28" name="Rectangle 27"/>
          <p:cNvSpPr/>
          <p:nvPr/>
        </p:nvSpPr>
        <p:spPr>
          <a:xfrm>
            <a:off x="2463800" y="5253038"/>
            <a:ext cx="1846263" cy="457200"/>
          </a:xfrm>
          <a:prstGeom prst="rect">
            <a:avLst/>
          </a:prstGeom>
          <a:noFill/>
          <a:ln w="15875">
            <a:solidFill>
              <a:schemeClr val="accent1">
                <a:shade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b="1" dirty="0">
                <a:solidFill>
                  <a:schemeClr val="tx1"/>
                </a:solidFill>
              </a:rPr>
              <a:t>&gt; </a:t>
            </a:r>
            <a:r>
              <a:rPr lang="ru-RU" b="1" dirty="0">
                <a:solidFill>
                  <a:schemeClr val="tx1"/>
                </a:solidFill>
              </a:rPr>
              <a:t>3</a:t>
            </a:r>
            <a:r>
              <a:rPr lang="en-US" b="1" dirty="0">
                <a:solidFill>
                  <a:schemeClr val="tx1"/>
                </a:solidFill>
              </a:rPr>
              <a:t>.000</a:t>
            </a:r>
            <a:r>
              <a:rPr lang="ru-RU" b="1" dirty="0">
                <a:solidFill>
                  <a:schemeClr val="tx1"/>
                </a:solidFill>
              </a:rPr>
              <a:t> человек</a:t>
            </a:r>
            <a:endParaRPr lang="en-US" b="1" dirty="0"/>
          </a:p>
        </p:txBody>
      </p:sp>
      <p:sp>
        <p:nvSpPr>
          <p:cNvPr id="29" name="Isosceles Triangle 28"/>
          <p:cNvSpPr/>
          <p:nvPr/>
        </p:nvSpPr>
        <p:spPr>
          <a:xfrm rot="5400000">
            <a:off x="2012951" y="5422900"/>
            <a:ext cx="457200" cy="117475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85322" name="Rectangle 1"/>
          <p:cNvSpPr>
            <a:spLocks noChangeArrowheads="1"/>
          </p:cNvSpPr>
          <p:nvPr/>
        </p:nvSpPr>
        <p:spPr bwMode="auto">
          <a:xfrm>
            <a:off x="7078663" y="1196975"/>
            <a:ext cx="1839912" cy="287338"/>
          </a:xfrm>
          <a:prstGeom prst="rect">
            <a:avLst/>
          </a:prstGeom>
          <a:noFill/>
          <a:ln w="9525" algn="ctr">
            <a:solidFill>
              <a:schemeClr val="tx1"/>
            </a:solidFill>
            <a:round/>
            <a:headEnd/>
            <a:tailEnd type="triangle" w="med" len="med"/>
          </a:ln>
        </p:spPr>
        <p:txBody>
          <a:bodyPr lIns="18288" rIns="18288" anchor="ctr"/>
          <a:lstStyle/>
          <a:p>
            <a:pPr marL="342900" indent="-342900" algn="ctr"/>
            <a:r>
              <a:rPr lang="ru-RU" sz="1200" b="1"/>
              <a:t>ПЕСЧАНКА</a:t>
            </a:r>
            <a:endParaRPr lang="en-US" sz="1200" b="1"/>
          </a:p>
        </p:txBody>
      </p:sp>
      <p:sp>
        <p:nvSpPr>
          <p:cNvPr id="85323" name="TextBox 30"/>
          <p:cNvSpPr txBox="1">
            <a:spLocks noChangeArrowheads="1"/>
          </p:cNvSpPr>
          <p:nvPr/>
        </p:nvSpPr>
        <p:spPr bwMode="auto">
          <a:xfrm>
            <a:off x="4943475" y="5068888"/>
            <a:ext cx="3551238" cy="922337"/>
          </a:xfrm>
          <a:prstGeom prst="rect">
            <a:avLst/>
          </a:prstGeom>
          <a:solidFill>
            <a:srgbClr val="839FD7">
              <a:alpha val="5098"/>
            </a:srgbClr>
          </a:solidFill>
          <a:ln w="9525">
            <a:solidFill>
              <a:schemeClr val="tx1"/>
            </a:solidFill>
            <a:prstDash val="dash"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200"/>
              <a:t>До 2023 года ведутся подготовительные работы: инвестиции в инфраструктуру и капитальные вложения.</a:t>
            </a:r>
          </a:p>
          <a:p>
            <a:pPr>
              <a:lnSpc>
                <a:spcPct val="150000"/>
              </a:lnSpc>
            </a:pPr>
            <a:r>
              <a:rPr lang="ru-RU" sz="1200"/>
              <a:t>Запуск добычи - с 2024 года.</a:t>
            </a:r>
          </a:p>
        </p:txBody>
      </p:sp>
      <p:sp>
        <p:nvSpPr>
          <p:cNvPr id="85324" name="Line 333"/>
          <p:cNvSpPr>
            <a:spLocks noChangeShapeType="1"/>
          </p:cNvSpPr>
          <p:nvPr/>
        </p:nvSpPr>
        <p:spPr bwMode="auto">
          <a:xfrm flipV="1">
            <a:off x="138113" y="939800"/>
            <a:ext cx="8899525" cy="7938"/>
          </a:xfrm>
          <a:prstGeom prst="line">
            <a:avLst/>
          </a:prstGeom>
          <a:noFill/>
          <a:ln w="9525">
            <a:solidFill>
              <a:srgbClr val="C0C0C0"/>
            </a:solidFill>
            <a:round/>
            <a:headEnd/>
            <a:tailEnd/>
          </a:ln>
          <a:effectLst>
            <a:prstShdw prst="shdw17" dist="17961" dir="2700000">
              <a:srgbClr val="737373"/>
            </a:prstShdw>
          </a:effectLst>
        </p:spPr>
        <p:txBody>
          <a:bodyPr/>
          <a:lstStyle/>
          <a:p>
            <a:endParaRPr lang="ru-RU"/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752" name="AutoShape 312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1752" name="think-cell Slide" r:id="rId5" imgW="0" imgH="0" progId="">
              <p:embed/>
            </p:oleObj>
          </a:graphicData>
        </a:graphic>
      </p:graphicFrame>
      <p:sp>
        <p:nvSpPr>
          <p:cNvPr id="61753" name="Rectangle 28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accent1"/>
              </a:gs>
            </a:gsLst>
            <a:path path="shape">
              <a:fillToRect l="50000" t="50000" r="50000" b="50000"/>
            </a:path>
          </a:gra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endParaRPr lang="en-US">
              <a:sym typeface="Arial" charset="0"/>
            </a:endParaRPr>
          </a:p>
        </p:txBody>
      </p:sp>
      <p:sp>
        <p:nvSpPr>
          <p:cNvPr id="61754" name="Rectangle 2"/>
          <p:cNvSpPr>
            <a:spLocks noGrp="1" noChangeArrowheads="1"/>
          </p:cNvSpPr>
          <p:nvPr>
            <p:ph type="title"/>
          </p:nvPr>
        </p:nvSpPr>
        <p:spPr>
          <a:xfrm>
            <a:off x="396875" y="260350"/>
            <a:ext cx="8407400" cy="609600"/>
          </a:xfrm>
        </p:spPr>
        <p:txBody>
          <a:bodyPr/>
          <a:lstStyle/>
          <a:p>
            <a:pPr eaLnBrk="1" hangingPunct="1">
              <a:lnSpc>
                <a:spcPct val="90000"/>
              </a:lnSpc>
            </a:pPr>
            <a:r>
              <a:rPr lang="ru-RU" smtClean="0"/>
              <a:t>Ключевой проект 2: Баимская рудная зона – развитие инфраструктуры</a:t>
            </a:r>
          </a:p>
        </p:txBody>
      </p:sp>
      <p:sp>
        <p:nvSpPr>
          <p:cNvPr id="61755" name="Text Box 3"/>
          <p:cNvSpPr txBox="1">
            <a:spLocks noChangeArrowheads="1"/>
          </p:cNvSpPr>
          <p:nvPr/>
        </p:nvSpPr>
        <p:spPr bwMode="auto">
          <a:xfrm>
            <a:off x="395288" y="1189038"/>
            <a:ext cx="76327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r>
              <a:rPr lang="ru-RU" sz="1400" b="1"/>
              <a:t>Инфраструктурные проекты Песчанки (Энергетика + Транспорт)  </a:t>
            </a:r>
          </a:p>
        </p:txBody>
      </p:sp>
      <p:sp>
        <p:nvSpPr>
          <p:cNvPr id="61756" name="Rectangle 1"/>
          <p:cNvSpPr>
            <a:spLocks noChangeArrowheads="1"/>
          </p:cNvSpPr>
          <p:nvPr/>
        </p:nvSpPr>
        <p:spPr bwMode="auto">
          <a:xfrm>
            <a:off x="7078663" y="1196975"/>
            <a:ext cx="1839912" cy="287338"/>
          </a:xfrm>
          <a:prstGeom prst="rect">
            <a:avLst/>
          </a:prstGeom>
          <a:noFill/>
          <a:ln w="9525" algn="ctr">
            <a:solidFill>
              <a:schemeClr val="tx1"/>
            </a:solidFill>
            <a:round/>
            <a:headEnd/>
            <a:tailEnd type="triangle" w="med" len="med"/>
          </a:ln>
        </p:spPr>
        <p:txBody>
          <a:bodyPr lIns="18288" rIns="18288" anchor="ctr"/>
          <a:lstStyle/>
          <a:p>
            <a:pPr marL="342900" indent="-342900" algn="ctr"/>
            <a:r>
              <a:rPr lang="ru-RU" sz="1200" b="1"/>
              <a:t>ПЕСЧАНКА</a:t>
            </a:r>
            <a:endParaRPr lang="en-US" sz="1200" b="1"/>
          </a:p>
        </p:txBody>
      </p:sp>
      <p:sp>
        <p:nvSpPr>
          <p:cNvPr id="8" name="Rectangle 7"/>
          <p:cNvSpPr/>
          <p:nvPr/>
        </p:nvSpPr>
        <p:spPr>
          <a:xfrm>
            <a:off x="477838" y="3200400"/>
            <a:ext cx="1414462" cy="4572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/>
              <a:t>Магаданская ГЭС</a:t>
            </a:r>
            <a:endParaRPr lang="en-US" b="1" dirty="0"/>
          </a:p>
        </p:txBody>
      </p:sp>
      <p:sp>
        <p:nvSpPr>
          <p:cNvPr id="9" name="Rectangle 8"/>
          <p:cNvSpPr/>
          <p:nvPr/>
        </p:nvSpPr>
        <p:spPr>
          <a:xfrm>
            <a:off x="2116138" y="3200400"/>
            <a:ext cx="2190750" cy="457200"/>
          </a:xfrm>
          <a:prstGeom prst="rect">
            <a:avLst/>
          </a:prstGeom>
          <a:noFill/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171450" indent="-171450">
              <a:buFont typeface="Wingdings" pitchFamily="2" charset="2"/>
              <a:buChar char="§"/>
              <a:defRPr/>
            </a:pPr>
            <a:r>
              <a:rPr lang="ru-RU" dirty="0">
                <a:solidFill>
                  <a:schemeClr val="tx1"/>
                </a:solidFill>
              </a:rPr>
              <a:t>Строительство ЛЭП: 860 км, 3 года </a:t>
            </a:r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477838" y="3824288"/>
            <a:ext cx="1414462" cy="4572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/>
              <a:t>Угольная ТЭС (долгожданная)</a:t>
            </a:r>
            <a:endParaRPr lang="en-US" b="1" dirty="0"/>
          </a:p>
        </p:txBody>
      </p:sp>
      <p:sp>
        <p:nvSpPr>
          <p:cNvPr id="11" name="Rectangle 10"/>
          <p:cNvSpPr/>
          <p:nvPr/>
        </p:nvSpPr>
        <p:spPr>
          <a:xfrm>
            <a:off x="2116138" y="3824288"/>
            <a:ext cx="2190750" cy="457200"/>
          </a:xfrm>
          <a:prstGeom prst="rect">
            <a:avLst/>
          </a:prstGeom>
          <a:noFill/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171450" indent="-171450">
              <a:buFont typeface="Wingdings" pitchFamily="2" charset="2"/>
              <a:buChar char="§"/>
              <a:defRPr/>
            </a:pPr>
            <a:r>
              <a:rPr lang="ru-RU" dirty="0">
                <a:solidFill>
                  <a:schemeClr val="tx1"/>
                </a:solidFill>
              </a:rPr>
              <a:t>Строительство угольной ТЭС</a:t>
            </a:r>
          </a:p>
          <a:p>
            <a:pPr marL="171450" indent="-171450">
              <a:buFont typeface="Wingdings" pitchFamily="2" charset="2"/>
              <a:buChar char="§"/>
              <a:defRPr/>
            </a:pPr>
            <a:r>
              <a:rPr lang="ru-RU" dirty="0">
                <a:solidFill>
                  <a:schemeClr val="tx1"/>
                </a:solidFill>
              </a:rPr>
              <a:t>Реконструкция ЛЭП, 300 км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477838" y="4459288"/>
            <a:ext cx="1414462" cy="4572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/>
              <a:t>Угольная ТЭС (собственный уголь)</a:t>
            </a:r>
            <a:endParaRPr lang="en-US" b="1" dirty="0"/>
          </a:p>
        </p:txBody>
      </p:sp>
      <p:sp>
        <p:nvSpPr>
          <p:cNvPr id="13" name="Rectangle 12"/>
          <p:cNvSpPr/>
          <p:nvPr/>
        </p:nvSpPr>
        <p:spPr>
          <a:xfrm>
            <a:off x="2116138" y="4459288"/>
            <a:ext cx="2328862" cy="457200"/>
          </a:xfrm>
          <a:prstGeom prst="rect">
            <a:avLst/>
          </a:prstGeom>
          <a:noFill/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171450" indent="-171450">
              <a:buFont typeface="Wingdings" pitchFamily="2" charset="2"/>
              <a:buChar char="§"/>
              <a:defRPr/>
            </a:pPr>
            <a:r>
              <a:rPr lang="ru-RU" dirty="0">
                <a:solidFill>
                  <a:schemeClr val="tx1"/>
                </a:solidFill>
              </a:rPr>
              <a:t>ГРР </a:t>
            </a:r>
            <a:r>
              <a:rPr lang="ru-RU" dirty="0" err="1">
                <a:solidFill>
                  <a:schemeClr val="tx1"/>
                </a:solidFill>
              </a:rPr>
              <a:t>Айнахкургинского</a:t>
            </a:r>
            <a:r>
              <a:rPr lang="ru-RU" dirty="0">
                <a:solidFill>
                  <a:schemeClr val="tx1"/>
                </a:solidFill>
              </a:rPr>
              <a:t> месторождения</a:t>
            </a:r>
          </a:p>
        </p:txBody>
      </p:sp>
      <p:sp>
        <p:nvSpPr>
          <p:cNvPr id="14" name="Isosceles Triangle 13"/>
          <p:cNvSpPr/>
          <p:nvPr/>
        </p:nvSpPr>
        <p:spPr>
          <a:xfrm rot="5400000">
            <a:off x="1828801" y="3370262"/>
            <a:ext cx="457200" cy="117475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5" name="Isosceles Triangle 14"/>
          <p:cNvSpPr/>
          <p:nvPr/>
        </p:nvSpPr>
        <p:spPr>
          <a:xfrm rot="5400000">
            <a:off x="1828801" y="3994150"/>
            <a:ext cx="457200" cy="117475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6" name="Isosceles Triangle 15"/>
          <p:cNvSpPr/>
          <p:nvPr/>
        </p:nvSpPr>
        <p:spPr>
          <a:xfrm rot="5400000">
            <a:off x="1828801" y="4629150"/>
            <a:ext cx="457200" cy="117475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7" name="Rectangle 16"/>
          <p:cNvSpPr/>
          <p:nvPr/>
        </p:nvSpPr>
        <p:spPr>
          <a:xfrm>
            <a:off x="4745038" y="3200400"/>
            <a:ext cx="1417637" cy="4572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/>
              <a:t>Морской порт</a:t>
            </a:r>
            <a:endParaRPr lang="en-US" b="1" dirty="0"/>
          </a:p>
        </p:txBody>
      </p:sp>
      <p:sp>
        <p:nvSpPr>
          <p:cNvPr id="19" name="Rectangle 18"/>
          <p:cNvSpPr/>
          <p:nvPr/>
        </p:nvSpPr>
        <p:spPr>
          <a:xfrm>
            <a:off x="4745038" y="3824288"/>
            <a:ext cx="1417637" cy="4572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/>
              <a:t>Автодорожная сеть</a:t>
            </a:r>
            <a:endParaRPr lang="en-US" b="1" dirty="0"/>
          </a:p>
        </p:txBody>
      </p:sp>
      <p:sp>
        <p:nvSpPr>
          <p:cNvPr id="23" name="Isosceles Triangle 22"/>
          <p:cNvSpPr/>
          <p:nvPr/>
        </p:nvSpPr>
        <p:spPr>
          <a:xfrm rot="5400000">
            <a:off x="6159501" y="3370262"/>
            <a:ext cx="457200" cy="117475"/>
          </a:xfrm>
          <a:prstGeom prst="triangle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24" name="Isosceles Triangle 23"/>
          <p:cNvSpPr/>
          <p:nvPr/>
        </p:nvSpPr>
        <p:spPr>
          <a:xfrm rot="5400000">
            <a:off x="6159501" y="3994150"/>
            <a:ext cx="457200" cy="117475"/>
          </a:xfrm>
          <a:prstGeom prst="triangle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26" name="Rectangle 25"/>
          <p:cNvSpPr/>
          <p:nvPr/>
        </p:nvSpPr>
        <p:spPr>
          <a:xfrm>
            <a:off x="477838" y="2611438"/>
            <a:ext cx="3829050" cy="4572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/>
              <a:t>Варианты энергообеспечения рудной зоны</a:t>
            </a:r>
            <a:endParaRPr lang="en-US" b="1" dirty="0"/>
          </a:p>
        </p:txBody>
      </p:sp>
      <p:sp>
        <p:nvSpPr>
          <p:cNvPr id="27" name="Rectangle 26"/>
          <p:cNvSpPr/>
          <p:nvPr/>
        </p:nvSpPr>
        <p:spPr>
          <a:xfrm>
            <a:off x="4745038" y="2611438"/>
            <a:ext cx="3829050" cy="4572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/>
              <a:t>Варианты транспортной системы рудной зоны</a:t>
            </a:r>
            <a:endParaRPr lang="en-US" b="1" dirty="0"/>
          </a:p>
        </p:txBody>
      </p:sp>
      <p:sp>
        <p:nvSpPr>
          <p:cNvPr id="28" name="Rectangle 27"/>
          <p:cNvSpPr/>
          <p:nvPr/>
        </p:nvSpPr>
        <p:spPr>
          <a:xfrm>
            <a:off x="477838" y="1595438"/>
            <a:ext cx="8096250" cy="839787"/>
          </a:xfrm>
          <a:prstGeom prst="rect">
            <a:avLst/>
          </a:prstGeom>
          <a:noFill/>
          <a:ln w="158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>
                <a:solidFill>
                  <a:schemeClr val="tx1"/>
                </a:solidFill>
              </a:rPr>
              <a:t>В настоящий момент на месторождении ведутся ГРР для определения: </a:t>
            </a:r>
          </a:p>
          <a:p>
            <a:pPr>
              <a:buFont typeface="Arial" charset="0"/>
              <a:buChar char="•"/>
              <a:defRPr/>
            </a:pPr>
            <a:r>
              <a:rPr lang="ru-RU" sz="1200">
                <a:solidFill>
                  <a:schemeClr val="tx1"/>
                </a:solidFill>
              </a:rPr>
              <a:t> Потребности в электроэнергии для разработки месторождения, </a:t>
            </a:r>
          </a:p>
          <a:p>
            <a:pPr>
              <a:buFont typeface="Arial" charset="0"/>
              <a:buChar char="•"/>
              <a:defRPr/>
            </a:pPr>
            <a:r>
              <a:rPr lang="ru-RU" sz="1200">
                <a:solidFill>
                  <a:schemeClr val="tx1"/>
                </a:solidFill>
              </a:rPr>
              <a:t> Наличия собственного сырья для самостоятельной электро генерации, </a:t>
            </a:r>
          </a:p>
          <a:p>
            <a:pPr>
              <a:buFont typeface="Arial" charset="0"/>
              <a:buChar char="•"/>
              <a:defRPr/>
            </a:pPr>
            <a:r>
              <a:rPr lang="ru-RU" sz="1200">
                <a:solidFill>
                  <a:schemeClr val="tx1"/>
                </a:solidFill>
              </a:rPr>
              <a:t> Потребности в транспортных мощностях для обслуживания грузооборота рудной зоны</a:t>
            </a:r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6388100" y="3200400"/>
            <a:ext cx="2190750" cy="457200"/>
          </a:xfrm>
          <a:prstGeom prst="rect">
            <a:avLst/>
          </a:prstGeom>
          <a:noFill/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171450" indent="-171450">
              <a:buFont typeface="Wingdings" pitchFamily="2" charset="2"/>
              <a:buChar char="§"/>
              <a:defRPr/>
            </a:pPr>
            <a:r>
              <a:rPr lang="ru-RU" dirty="0">
                <a:solidFill>
                  <a:schemeClr val="tx1"/>
                </a:solidFill>
              </a:rPr>
              <a:t>Будет прорабатываться в 2014 году</a:t>
            </a:r>
            <a:endParaRPr lang="en-US" dirty="0"/>
          </a:p>
        </p:txBody>
      </p:sp>
      <p:sp>
        <p:nvSpPr>
          <p:cNvPr id="31" name="Rectangle 30"/>
          <p:cNvSpPr/>
          <p:nvPr/>
        </p:nvSpPr>
        <p:spPr>
          <a:xfrm>
            <a:off x="6388100" y="3827463"/>
            <a:ext cx="2190750" cy="457200"/>
          </a:xfrm>
          <a:prstGeom prst="rect">
            <a:avLst/>
          </a:prstGeom>
          <a:noFill/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171450" indent="-171450">
              <a:buFont typeface="Wingdings" pitchFamily="2" charset="2"/>
              <a:buChar char="§"/>
              <a:defRPr/>
            </a:pPr>
            <a:r>
              <a:rPr lang="ru-RU" dirty="0">
                <a:solidFill>
                  <a:schemeClr val="tx1"/>
                </a:solidFill>
              </a:rPr>
              <a:t>Будет прорабатываться в 2014 году</a:t>
            </a:r>
            <a:endParaRPr lang="en-US" dirty="0"/>
          </a:p>
        </p:txBody>
      </p:sp>
      <p:sp>
        <p:nvSpPr>
          <p:cNvPr id="61775" name="TextBox 31"/>
          <p:cNvSpPr txBox="1">
            <a:spLocks noChangeArrowheads="1"/>
          </p:cNvSpPr>
          <p:nvPr/>
        </p:nvSpPr>
        <p:spPr bwMode="auto">
          <a:xfrm>
            <a:off x="477838" y="5145088"/>
            <a:ext cx="8096250" cy="1023937"/>
          </a:xfrm>
          <a:prstGeom prst="rect">
            <a:avLst/>
          </a:prstGeom>
          <a:solidFill>
            <a:srgbClr val="839FD7">
              <a:alpha val="10196"/>
            </a:srgbClr>
          </a:solidFill>
          <a:ln w="19050">
            <a:solidFill>
              <a:srgbClr val="C00000"/>
            </a:solidFill>
            <a:prstDash val="dash"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200"/>
              <a:t>В 2014 году будут разрабатываться технические решения освоения рудной зоны:</a:t>
            </a:r>
          </a:p>
          <a:p>
            <a:pPr>
              <a:buFont typeface="Arial" charset="0"/>
              <a:buChar char="•"/>
            </a:pPr>
            <a:r>
              <a:rPr lang="ru-RU" sz="1200"/>
              <a:t> Какие месторождения подлежат разработке?</a:t>
            </a:r>
          </a:p>
          <a:p>
            <a:pPr>
              <a:buFont typeface="Arial" charset="0"/>
              <a:buChar char="•"/>
            </a:pPr>
            <a:r>
              <a:rPr lang="ru-RU" sz="1200"/>
              <a:t> Какая степень переработки сырья?</a:t>
            </a:r>
          </a:p>
          <a:p>
            <a:pPr>
              <a:buFont typeface="Arial" charset="0"/>
              <a:buChar char="•"/>
            </a:pPr>
            <a:r>
              <a:rPr lang="ru-RU" sz="1200"/>
              <a:t> Какие технические решения добычи/обогащения/переработки?</a:t>
            </a:r>
          </a:p>
          <a:p>
            <a:r>
              <a:rPr lang="ru-RU" sz="1200"/>
              <a:t>Стратегия развития рудной зоны будет определять требования к инфраструктуре проекта</a:t>
            </a:r>
          </a:p>
        </p:txBody>
      </p:sp>
      <p:sp>
        <p:nvSpPr>
          <p:cNvPr id="61776" name="Line 337"/>
          <p:cNvSpPr>
            <a:spLocks noChangeShapeType="1"/>
          </p:cNvSpPr>
          <p:nvPr/>
        </p:nvSpPr>
        <p:spPr bwMode="auto">
          <a:xfrm flipV="1">
            <a:off x="138113" y="971550"/>
            <a:ext cx="8899525" cy="7938"/>
          </a:xfrm>
          <a:prstGeom prst="line">
            <a:avLst/>
          </a:prstGeom>
          <a:noFill/>
          <a:ln w="9525">
            <a:solidFill>
              <a:srgbClr val="C0C0C0"/>
            </a:solidFill>
            <a:round/>
            <a:headEnd/>
            <a:tailEnd/>
          </a:ln>
          <a:effectLst>
            <a:prstShdw prst="shdw17" dist="17961" dir="2700000">
              <a:srgbClr val="737373"/>
            </a:prstShdw>
          </a:effectLst>
        </p:spPr>
        <p:txBody>
          <a:bodyPr/>
          <a:lstStyle/>
          <a:p>
            <a:endParaRPr lang="ru-RU"/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5155" name="AutoShape 643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5155" name="think-cell Slide" r:id="rId52" imgW="0" imgH="0" progId="">
              <p:embed/>
            </p:oleObj>
          </a:graphicData>
        </a:graphic>
      </p:graphicFrame>
      <p:sp>
        <p:nvSpPr>
          <p:cNvPr id="65157" name="Rectangle 28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accent1"/>
              </a:gs>
            </a:gsLst>
            <a:path path="shape">
              <a:fillToRect l="50000" t="50000" r="50000" b="50000"/>
            </a:path>
          </a:gra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endParaRPr lang="en-US" sz="1000">
              <a:sym typeface="Arial" charset="0"/>
            </a:endParaRPr>
          </a:p>
        </p:txBody>
      </p:sp>
      <p:sp>
        <p:nvSpPr>
          <p:cNvPr id="65158" name="Rectangle 2"/>
          <p:cNvSpPr>
            <a:spLocks noGrp="1" noChangeArrowheads="1"/>
          </p:cNvSpPr>
          <p:nvPr>
            <p:ph type="title"/>
          </p:nvPr>
        </p:nvSpPr>
        <p:spPr>
          <a:xfrm>
            <a:off x="396875" y="260350"/>
            <a:ext cx="8407400" cy="609600"/>
          </a:xfrm>
        </p:spPr>
        <p:txBody>
          <a:bodyPr/>
          <a:lstStyle/>
          <a:p>
            <a:r>
              <a:rPr lang="ru-RU" smtClean="0"/>
              <a:t>Совокупные инвестиции в развитие добывающей промышленности Чукотского АО к 2030 году составят 409 млрд. рублей</a:t>
            </a:r>
            <a:endParaRPr lang="en-US" smtClean="0"/>
          </a:p>
        </p:txBody>
      </p:sp>
      <p:sp>
        <p:nvSpPr>
          <p:cNvPr id="65159" name="Text Box 37"/>
          <p:cNvSpPr txBox="1">
            <a:spLocks noChangeArrowheads="1"/>
          </p:cNvSpPr>
          <p:nvPr/>
        </p:nvSpPr>
        <p:spPr bwMode="auto">
          <a:xfrm>
            <a:off x="179388" y="5884863"/>
            <a:ext cx="8964612" cy="527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r>
              <a:rPr lang="ru-RU" sz="1000"/>
              <a:t>          Ссылка:	* Инвестиции в транспорт и энергетику включают частные инвестиции в разработку Амаамского месторождения</a:t>
            </a:r>
            <a:endParaRPr lang="en-US" sz="1000"/>
          </a:p>
        </p:txBody>
      </p:sp>
      <p:graphicFrame>
        <p:nvGraphicFramePr>
          <p:cNvPr id="65156" name="Object 644"/>
          <p:cNvGraphicFramePr>
            <a:graphicFrameLocks/>
          </p:cNvGraphicFramePr>
          <p:nvPr>
            <p:custDataLst>
              <p:tags r:id="rId4"/>
            </p:custDataLst>
          </p:nvPr>
        </p:nvGraphicFramePr>
        <p:xfrm>
          <a:off x="274638" y="1981200"/>
          <a:ext cx="8639175" cy="3533775"/>
        </p:xfrm>
        <a:graphic>
          <a:graphicData uri="http://schemas.openxmlformats.org/presentationml/2006/ole">
            <p:oleObj spid="_x0000_s65156" name="Диаграмма" r:id="rId53" imgW="8639188" imgH="3533700" progId="MSGraph.Chart.8">
              <p:embed followColorScheme="full"/>
            </p:oleObj>
          </a:graphicData>
        </a:graphic>
      </p:graphicFrame>
      <p:sp>
        <p:nvSpPr>
          <p:cNvPr id="9" name="Прямоугольник 8"/>
          <p:cNvSpPr/>
          <p:nvPr>
            <p:custDataLst>
              <p:tags r:id="rId5"/>
            </p:custDataLst>
          </p:nvPr>
        </p:nvSpPr>
        <p:spPr bwMode="auto">
          <a:xfrm>
            <a:off x="6916738" y="5489575"/>
            <a:ext cx="292100" cy="1524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algn="ctr">
              <a:defRPr/>
            </a:pPr>
            <a:fld id="{A585CB3F-8EB7-45C6-9460-7A2FCFFDACFF}" type="datetime'''''''''2''''''''''''''''''''''''''''0''''2''''''''''''''7'''">
              <a:rPr lang="en-US" sz="1000">
                <a:solidFill>
                  <a:schemeClr val="tx1"/>
                </a:solidFill>
              </a:rPr>
              <a:pPr algn="ctr">
                <a:defRPr/>
              </a:pPr>
              <a:t>2027</a:t>
            </a:fld>
            <a:endParaRPr lang="ru-RU" sz="1000">
              <a:solidFill>
                <a:schemeClr val="tx1"/>
              </a:solidFill>
              <a:sym typeface="Arial"/>
            </a:endParaRPr>
          </a:p>
        </p:txBody>
      </p:sp>
      <p:sp>
        <p:nvSpPr>
          <p:cNvPr id="11" name="Прямоугольник 10"/>
          <p:cNvSpPr/>
          <p:nvPr>
            <p:custDataLst>
              <p:tags r:id="rId6"/>
            </p:custDataLst>
          </p:nvPr>
        </p:nvSpPr>
        <p:spPr bwMode="auto">
          <a:xfrm>
            <a:off x="7412038" y="5489575"/>
            <a:ext cx="292100" cy="1524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algn="ctr">
              <a:defRPr/>
            </a:pPr>
            <a:fld id="{ECC4AEFB-2FBA-4858-9B18-F52D5706E875}" type="datetime'''''''''''2''''''''''''''''''028'''''''''">
              <a:rPr lang="en-US" sz="1000">
                <a:solidFill>
                  <a:schemeClr val="tx1"/>
                </a:solidFill>
              </a:rPr>
              <a:pPr algn="ctr">
                <a:defRPr/>
              </a:pPr>
              <a:t>2028</a:t>
            </a:fld>
            <a:endParaRPr lang="ru-RU" sz="1000">
              <a:solidFill>
                <a:schemeClr val="tx1"/>
              </a:solidFill>
              <a:sym typeface="Arial"/>
            </a:endParaRPr>
          </a:p>
        </p:txBody>
      </p:sp>
      <p:sp>
        <p:nvSpPr>
          <p:cNvPr id="13" name="Прямоугольник 12"/>
          <p:cNvSpPr/>
          <p:nvPr>
            <p:custDataLst>
              <p:tags r:id="rId7"/>
            </p:custDataLst>
          </p:nvPr>
        </p:nvSpPr>
        <p:spPr bwMode="auto">
          <a:xfrm>
            <a:off x="7907338" y="5489575"/>
            <a:ext cx="292100" cy="1524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algn="ctr">
              <a:defRPr/>
            </a:pPr>
            <a:fld id="{59EBE249-9AA9-4829-8203-7ED0FE1ACCC7}" type="datetime'''''''''''''''''''''''''20''''''''''''''2''''''''''''''9'''''">
              <a:rPr lang="en-US" sz="1000">
                <a:solidFill>
                  <a:schemeClr val="tx1"/>
                </a:solidFill>
              </a:rPr>
              <a:pPr algn="ctr">
                <a:defRPr/>
              </a:pPr>
              <a:t>2029</a:t>
            </a:fld>
            <a:endParaRPr lang="ru-RU" sz="1000">
              <a:solidFill>
                <a:schemeClr val="tx1"/>
              </a:solidFill>
              <a:sym typeface="Arial"/>
            </a:endParaRPr>
          </a:p>
        </p:txBody>
      </p:sp>
      <p:sp>
        <p:nvSpPr>
          <p:cNvPr id="15" name="Прямоугольник 14"/>
          <p:cNvSpPr/>
          <p:nvPr>
            <p:custDataLst>
              <p:tags r:id="rId8"/>
            </p:custDataLst>
          </p:nvPr>
        </p:nvSpPr>
        <p:spPr bwMode="auto">
          <a:xfrm>
            <a:off x="8402638" y="5489575"/>
            <a:ext cx="292100" cy="1524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algn="ctr">
              <a:defRPr/>
            </a:pPr>
            <a:fld id="{07DF4CA4-BB4A-4229-B348-0C0770EEC84A}" type="datetime'2''''''''''''''0''''3''0'''''''''''''''''''''''''''''''''">
              <a:rPr lang="en-US" sz="1000">
                <a:solidFill>
                  <a:schemeClr val="tx1"/>
                </a:solidFill>
              </a:rPr>
              <a:pPr algn="ctr">
                <a:defRPr/>
              </a:pPr>
              <a:t>2030</a:t>
            </a:fld>
            <a:endParaRPr lang="ru-RU" sz="1000">
              <a:solidFill>
                <a:schemeClr val="tx1"/>
              </a:solidFill>
              <a:sym typeface="Arial"/>
            </a:endParaRPr>
          </a:p>
        </p:txBody>
      </p:sp>
      <p:sp>
        <p:nvSpPr>
          <p:cNvPr id="19" name="Прямоугольник 18"/>
          <p:cNvSpPr/>
          <p:nvPr>
            <p:custDataLst>
              <p:tags r:id="rId9"/>
            </p:custDataLst>
          </p:nvPr>
        </p:nvSpPr>
        <p:spPr bwMode="auto">
          <a:xfrm>
            <a:off x="3848100" y="2801938"/>
            <a:ext cx="504825" cy="182562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anchor="b"/>
          <a:lstStyle/>
          <a:p>
            <a:pPr algn="ctr">
              <a:defRPr/>
            </a:pPr>
            <a:fld id="{225285D4-F88C-4F77-B091-F8AEC5C12FFF}" type="datetime'''3''''5''.''''''''9''''''1''''''''''6'''''''''">
              <a:rPr lang="en-US" sz="1200" b="1">
                <a:solidFill>
                  <a:schemeClr val="tx1"/>
                </a:solidFill>
              </a:rPr>
              <a:pPr algn="ctr">
                <a:defRPr/>
              </a:pPr>
              <a:t>35.916</a:t>
            </a:fld>
            <a:endParaRPr lang="ru-RU" sz="1200" b="1">
              <a:solidFill>
                <a:schemeClr val="tx1"/>
              </a:solidFill>
              <a:sym typeface="Arial"/>
            </a:endParaRPr>
          </a:p>
        </p:txBody>
      </p:sp>
      <p:sp>
        <p:nvSpPr>
          <p:cNvPr id="21" name="Прямоугольник 20"/>
          <p:cNvSpPr/>
          <p:nvPr>
            <p:custDataLst>
              <p:tags r:id="rId10"/>
            </p:custDataLst>
          </p:nvPr>
        </p:nvSpPr>
        <p:spPr bwMode="auto">
          <a:xfrm>
            <a:off x="4338638" y="2697163"/>
            <a:ext cx="504825" cy="182562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anchor="b"/>
          <a:lstStyle/>
          <a:p>
            <a:pPr algn="ctr">
              <a:defRPr/>
            </a:pPr>
            <a:fld id="{4EF8BDC8-F129-4C5A-91FF-03E75452986F}" type="datetime'''''''''''''''''''37.''5''''''''''''''''''''''37'">
              <a:rPr lang="en-US" sz="1200" b="1">
                <a:solidFill>
                  <a:schemeClr val="tx1"/>
                </a:solidFill>
              </a:rPr>
              <a:pPr algn="ctr">
                <a:defRPr/>
              </a:pPr>
              <a:t>37.537</a:t>
            </a:fld>
            <a:endParaRPr lang="ru-RU" sz="1200" b="1">
              <a:solidFill>
                <a:schemeClr val="tx1"/>
              </a:solidFill>
              <a:sym typeface="Arial"/>
            </a:endParaRPr>
          </a:p>
        </p:txBody>
      </p:sp>
      <p:sp>
        <p:nvSpPr>
          <p:cNvPr id="23" name="Прямоугольник 22"/>
          <p:cNvSpPr/>
          <p:nvPr>
            <p:custDataLst>
              <p:tags r:id="rId11"/>
            </p:custDataLst>
          </p:nvPr>
        </p:nvSpPr>
        <p:spPr bwMode="auto">
          <a:xfrm>
            <a:off x="4829175" y="2763838"/>
            <a:ext cx="504825" cy="182562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anchor="b"/>
          <a:lstStyle/>
          <a:p>
            <a:pPr algn="ctr">
              <a:defRPr/>
            </a:pPr>
            <a:fld id="{F0988992-C51E-44AC-986F-25B76AFA8109}" type="datetime'3''''''''6''''''''''''.''''''''''''''''''''4''98'''''''''''''">
              <a:rPr lang="en-US" sz="1200" b="1">
                <a:solidFill>
                  <a:schemeClr val="tx1"/>
                </a:solidFill>
              </a:rPr>
              <a:pPr algn="ctr">
                <a:defRPr/>
              </a:pPr>
              <a:t>36.498</a:t>
            </a:fld>
            <a:endParaRPr lang="ru-RU" sz="1200" b="1">
              <a:solidFill>
                <a:schemeClr val="tx1"/>
              </a:solidFill>
              <a:sym typeface="Arial"/>
            </a:endParaRPr>
          </a:p>
        </p:txBody>
      </p:sp>
      <p:sp>
        <p:nvSpPr>
          <p:cNvPr id="25" name="Прямоугольник 24"/>
          <p:cNvSpPr/>
          <p:nvPr>
            <p:custDataLst>
              <p:tags r:id="rId12"/>
            </p:custDataLst>
          </p:nvPr>
        </p:nvSpPr>
        <p:spPr bwMode="auto">
          <a:xfrm>
            <a:off x="5324475" y="3154363"/>
            <a:ext cx="504825" cy="182562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anchor="b"/>
          <a:lstStyle/>
          <a:p>
            <a:pPr algn="ctr">
              <a:defRPr/>
            </a:pPr>
            <a:fld id="{8A34316D-6FE4-4693-8ACB-7B6F7E46C581}" type="datetime'30''''.''''''''''''''''''5''''''''''''''5''''7'''">
              <a:rPr lang="en-US" sz="1200" b="1">
                <a:solidFill>
                  <a:schemeClr val="tx1"/>
                </a:solidFill>
              </a:rPr>
              <a:pPr algn="ctr">
                <a:defRPr/>
              </a:pPr>
              <a:t>30.557</a:t>
            </a:fld>
            <a:endParaRPr lang="ru-RU" sz="1200" b="1">
              <a:solidFill>
                <a:schemeClr val="tx1"/>
              </a:solidFill>
              <a:sym typeface="Arial"/>
            </a:endParaRPr>
          </a:p>
        </p:txBody>
      </p:sp>
      <p:sp>
        <p:nvSpPr>
          <p:cNvPr id="27" name="Прямоугольник 26"/>
          <p:cNvSpPr/>
          <p:nvPr>
            <p:custDataLst>
              <p:tags r:id="rId13"/>
            </p:custDataLst>
          </p:nvPr>
        </p:nvSpPr>
        <p:spPr bwMode="auto">
          <a:xfrm>
            <a:off x="5862638" y="4621213"/>
            <a:ext cx="420687" cy="182562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anchor="b"/>
          <a:lstStyle/>
          <a:p>
            <a:pPr algn="ctr">
              <a:defRPr/>
            </a:pPr>
            <a:fld id="{EF5E2710-F996-47D5-BAD9-3F609A21E13D}" type="datetime'''''''''''''8.''''''''''''2''''''''''''''''''0''0'''''''''''''">
              <a:rPr lang="en-US" sz="1200" b="1">
                <a:solidFill>
                  <a:schemeClr val="tx1"/>
                </a:solidFill>
              </a:rPr>
              <a:pPr algn="ctr">
                <a:defRPr/>
              </a:pPr>
              <a:t>8.200</a:t>
            </a:fld>
            <a:endParaRPr lang="ru-RU" sz="1200" b="1">
              <a:solidFill>
                <a:schemeClr val="tx1"/>
              </a:solidFill>
              <a:sym typeface="Arial"/>
            </a:endParaRPr>
          </a:p>
        </p:txBody>
      </p:sp>
      <p:sp>
        <p:nvSpPr>
          <p:cNvPr id="29" name="Прямоугольник 28"/>
          <p:cNvSpPr/>
          <p:nvPr>
            <p:custDataLst>
              <p:tags r:id="rId14"/>
            </p:custDataLst>
          </p:nvPr>
        </p:nvSpPr>
        <p:spPr bwMode="auto">
          <a:xfrm>
            <a:off x="6357938" y="4621213"/>
            <a:ext cx="420687" cy="182562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anchor="b"/>
          <a:lstStyle/>
          <a:p>
            <a:pPr algn="ctr">
              <a:defRPr/>
            </a:pPr>
            <a:fld id="{05EFEA8E-C352-404E-A231-C3EC571828DD}" type="datetime'''''8''''''''''.''''''''''3''''''0''''''''''''''0'''''''">
              <a:rPr lang="en-US" sz="1200" b="1">
                <a:solidFill>
                  <a:schemeClr val="tx1"/>
                </a:solidFill>
              </a:rPr>
              <a:pPr algn="ctr">
                <a:defRPr/>
              </a:pPr>
              <a:t>8.300</a:t>
            </a:fld>
            <a:endParaRPr lang="ru-RU" sz="1200" b="1">
              <a:solidFill>
                <a:schemeClr val="tx1"/>
              </a:solidFill>
              <a:sym typeface="Arial"/>
            </a:endParaRPr>
          </a:p>
        </p:txBody>
      </p:sp>
      <p:sp>
        <p:nvSpPr>
          <p:cNvPr id="31" name="Прямоугольник 30"/>
          <p:cNvSpPr/>
          <p:nvPr>
            <p:custDataLst>
              <p:tags r:id="rId15"/>
            </p:custDataLst>
          </p:nvPr>
        </p:nvSpPr>
        <p:spPr bwMode="auto">
          <a:xfrm>
            <a:off x="6853238" y="4621213"/>
            <a:ext cx="420687" cy="182562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anchor="b"/>
          <a:lstStyle/>
          <a:p>
            <a:pPr algn="ctr">
              <a:defRPr/>
            </a:pPr>
            <a:fld id="{B65247C4-3C3F-4016-80DA-8F148CDFA508}" type="datetime'''''''''''''8''.''''''''''3''''''0''''''0'''">
              <a:rPr lang="en-US" sz="1200" b="1">
                <a:solidFill>
                  <a:schemeClr val="tx1"/>
                </a:solidFill>
              </a:rPr>
              <a:pPr algn="ctr">
                <a:defRPr/>
              </a:pPr>
              <a:t>8.300</a:t>
            </a:fld>
            <a:endParaRPr lang="ru-RU" sz="1200" b="1">
              <a:solidFill>
                <a:schemeClr val="tx1"/>
              </a:solidFill>
              <a:sym typeface="Arial"/>
            </a:endParaRPr>
          </a:p>
        </p:txBody>
      </p:sp>
      <p:sp>
        <p:nvSpPr>
          <p:cNvPr id="33" name="Прямоугольник 32"/>
          <p:cNvSpPr/>
          <p:nvPr>
            <p:custDataLst>
              <p:tags r:id="rId16"/>
            </p:custDataLst>
          </p:nvPr>
        </p:nvSpPr>
        <p:spPr bwMode="auto">
          <a:xfrm>
            <a:off x="7843838" y="4592638"/>
            <a:ext cx="420687" cy="182562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anchor="b"/>
          <a:lstStyle/>
          <a:p>
            <a:pPr algn="ctr">
              <a:defRPr/>
            </a:pPr>
            <a:fld id="{70BC212E-0F24-4775-9DD8-E4507F405D53}" type="datetime'''''''8''''''''.''''''7''''''''0''''''''''''''''''0'''">
              <a:rPr lang="en-US" sz="1200" b="1">
                <a:solidFill>
                  <a:schemeClr val="tx1"/>
                </a:solidFill>
              </a:rPr>
              <a:pPr algn="ctr">
                <a:defRPr/>
              </a:pPr>
              <a:t>8.700</a:t>
            </a:fld>
            <a:endParaRPr lang="ru-RU" sz="1200" b="1">
              <a:solidFill>
                <a:schemeClr val="tx1"/>
              </a:solidFill>
              <a:sym typeface="Arial"/>
            </a:endParaRPr>
          </a:p>
        </p:txBody>
      </p:sp>
      <p:sp>
        <p:nvSpPr>
          <p:cNvPr id="34" name="Прямоугольник 33"/>
          <p:cNvSpPr/>
          <p:nvPr>
            <p:custDataLst>
              <p:tags r:id="rId17"/>
            </p:custDataLst>
          </p:nvPr>
        </p:nvSpPr>
        <p:spPr bwMode="auto">
          <a:xfrm>
            <a:off x="8339138" y="4592638"/>
            <a:ext cx="420687" cy="182562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anchor="b"/>
          <a:lstStyle/>
          <a:p>
            <a:pPr algn="ctr">
              <a:defRPr/>
            </a:pPr>
            <a:fld id="{A582EE99-71D2-4167-BA39-411BD3B9BAD2}" type="datetime'''8''''.''''''''''''''''''''''''''70''''''0'''''''''''''''''">
              <a:rPr lang="en-US" sz="1200" b="1">
                <a:solidFill>
                  <a:schemeClr val="tx1"/>
                </a:solidFill>
              </a:rPr>
              <a:pPr algn="ctr">
                <a:defRPr/>
              </a:pPr>
              <a:t>8.700</a:t>
            </a:fld>
            <a:endParaRPr lang="ru-RU" sz="1200" b="1">
              <a:solidFill>
                <a:schemeClr val="tx1"/>
              </a:solidFill>
              <a:sym typeface="Arial"/>
            </a:endParaRPr>
          </a:p>
        </p:txBody>
      </p:sp>
      <p:sp>
        <p:nvSpPr>
          <p:cNvPr id="8" name="Прямоугольник 7"/>
          <p:cNvSpPr/>
          <p:nvPr>
            <p:custDataLst>
              <p:tags r:id="rId18"/>
            </p:custDataLst>
          </p:nvPr>
        </p:nvSpPr>
        <p:spPr bwMode="auto">
          <a:xfrm>
            <a:off x="6421438" y="5489575"/>
            <a:ext cx="292100" cy="1524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algn="ctr">
              <a:defRPr/>
            </a:pPr>
            <a:fld id="{46810BA3-BD34-4E76-9727-399C43ECB551}" type="datetime'2''''''''''''''''''''''''0''''''26'''''''''''">
              <a:rPr lang="en-US" sz="1000">
                <a:solidFill>
                  <a:schemeClr val="tx1"/>
                </a:solidFill>
              </a:rPr>
              <a:pPr algn="ctr">
                <a:defRPr/>
              </a:pPr>
              <a:t>2026</a:t>
            </a:fld>
            <a:endParaRPr lang="ru-RU" sz="1000">
              <a:solidFill>
                <a:schemeClr val="tx1"/>
              </a:solidFill>
              <a:sym typeface="Arial"/>
            </a:endParaRPr>
          </a:p>
        </p:txBody>
      </p:sp>
      <p:sp>
        <p:nvSpPr>
          <p:cNvPr id="65174" name="Text Placeholder 5"/>
          <p:cNvSpPr txBox="1">
            <a:spLocks/>
          </p:cNvSpPr>
          <p:nvPr>
            <p:custDataLst>
              <p:tags r:id="rId19"/>
            </p:custDataLst>
          </p:nvPr>
        </p:nvSpPr>
        <p:spPr bwMode="auto">
          <a:xfrm>
            <a:off x="3459163" y="5489575"/>
            <a:ext cx="2921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 eaLnBrk="0" hangingPunct="0">
              <a:buClr>
                <a:schemeClr val="hlink"/>
              </a:buClr>
              <a:buFont typeface="Arial" charset="0"/>
              <a:buNone/>
            </a:pPr>
            <a:fld id="{704DA6D3-841D-41EC-8BE9-590853087CFF}" type="datetime'2''''''''''''0''''''''''''''''''''''''''20'''''''''''''''''">
              <a:rPr lang="en-US" sz="1000"/>
              <a:pPr algn="ctr" eaLnBrk="0" hangingPunct="0">
                <a:buClr>
                  <a:schemeClr val="hlink"/>
                </a:buClr>
                <a:buFont typeface="Arial" charset="0"/>
                <a:buNone/>
              </a:pPr>
              <a:t>2020</a:t>
            </a:fld>
            <a:endParaRPr lang="en-US" sz="1000">
              <a:sym typeface="+mn-lt"/>
            </a:endParaRPr>
          </a:p>
        </p:txBody>
      </p:sp>
      <p:sp>
        <p:nvSpPr>
          <p:cNvPr id="3" name="Прямоугольник 2"/>
          <p:cNvSpPr/>
          <p:nvPr>
            <p:custDataLst>
              <p:tags r:id="rId20"/>
            </p:custDataLst>
          </p:nvPr>
        </p:nvSpPr>
        <p:spPr bwMode="auto">
          <a:xfrm>
            <a:off x="3954463" y="5489575"/>
            <a:ext cx="292100" cy="1524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algn="ctr">
              <a:defRPr/>
            </a:pPr>
            <a:fld id="{1258A904-E8E3-4256-B491-D3C7F6FD9959}" type="datetime'2''''''''''''''''''''''''''''''''''''0''''''''2''''1'''''''''">
              <a:rPr lang="en-US" sz="1000">
                <a:solidFill>
                  <a:schemeClr val="tx1"/>
                </a:solidFill>
              </a:rPr>
              <a:pPr algn="ctr">
                <a:defRPr/>
              </a:pPr>
              <a:t>2021</a:t>
            </a:fld>
            <a:endParaRPr lang="ru-RU" sz="1000">
              <a:solidFill>
                <a:schemeClr val="tx1"/>
              </a:solidFill>
              <a:sym typeface="Arial"/>
            </a:endParaRPr>
          </a:p>
        </p:txBody>
      </p:sp>
      <p:sp>
        <p:nvSpPr>
          <p:cNvPr id="4" name="Прямоугольник 3"/>
          <p:cNvSpPr/>
          <p:nvPr>
            <p:custDataLst>
              <p:tags r:id="rId21"/>
            </p:custDataLst>
          </p:nvPr>
        </p:nvSpPr>
        <p:spPr bwMode="auto">
          <a:xfrm>
            <a:off x="4445000" y="5489575"/>
            <a:ext cx="292100" cy="1524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algn="ctr">
              <a:defRPr/>
            </a:pPr>
            <a:fld id="{A4B9537E-6F41-41E1-95D0-28BC9AE89327}" type="datetime'''''''''''''''''''''''''''20''22'''''''''">
              <a:rPr lang="en-US" sz="1000">
                <a:solidFill>
                  <a:schemeClr val="tx1"/>
                </a:solidFill>
              </a:rPr>
              <a:pPr algn="ctr">
                <a:defRPr/>
              </a:pPr>
              <a:t>2022</a:t>
            </a:fld>
            <a:endParaRPr lang="ru-RU" sz="1000">
              <a:solidFill>
                <a:schemeClr val="tx1"/>
              </a:solidFill>
              <a:sym typeface="Arial"/>
            </a:endParaRPr>
          </a:p>
        </p:txBody>
      </p:sp>
      <p:sp>
        <p:nvSpPr>
          <p:cNvPr id="5" name="Прямоугольник 4"/>
          <p:cNvSpPr/>
          <p:nvPr>
            <p:custDataLst>
              <p:tags r:id="rId22"/>
            </p:custDataLst>
          </p:nvPr>
        </p:nvSpPr>
        <p:spPr bwMode="auto">
          <a:xfrm>
            <a:off x="4935538" y="5489575"/>
            <a:ext cx="292100" cy="1524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algn="ctr">
              <a:defRPr/>
            </a:pPr>
            <a:fld id="{A94EA60F-D4EE-423E-BECF-3E602587BA40}" type="datetime'2''''''''0''''''''''''2''''''''''''''3'''''''''''''''''''''">
              <a:rPr lang="en-US" sz="1000">
                <a:solidFill>
                  <a:schemeClr val="tx1"/>
                </a:solidFill>
              </a:rPr>
              <a:pPr algn="ctr">
                <a:defRPr/>
              </a:pPr>
              <a:t>2023</a:t>
            </a:fld>
            <a:endParaRPr lang="ru-RU" sz="1000">
              <a:solidFill>
                <a:schemeClr val="tx1"/>
              </a:solidFill>
              <a:sym typeface="Arial"/>
            </a:endParaRPr>
          </a:p>
        </p:txBody>
      </p:sp>
      <p:sp>
        <p:nvSpPr>
          <p:cNvPr id="6" name="Прямоугольник 5"/>
          <p:cNvSpPr/>
          <p:nvPr>
            <p:custDataLst>
              <p:tags r:id="rId23"/>
            </p:custDataLst>
          </p:nvPr>
        </p:nvSpPr>
        <p:spPr bwMode="auto">
          <a:xfrm>
            <a:off x="5430838" y="5489575"/>
            <a:ext cx="292100" cy="1524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algn="ctr">
              <a:defRPr/>
            </a:pPr>
            <a:fld id="{E378CA48-F98C-4D39-921C-33C4E069022C}" type="datetime'''''''''2''''''''''0''''''2''4'''''''''''''''''''''''">
              <a:rPr lang="en-US" sz="1000">
                <a:solidFill>
                  <a:schemeClr val="tx1"/>
                </a:solidFill>
              </a:rPr>
              <a:pPr algn="ctr">
                <a:defRPr/>
              </a:pPr>
              <a:t>2024</a:t>
            </a:fld>
            <a:endParaRPr lang="ru-RU" sz="1000">
              <a:solidFill>
                <a:schemeClr val="tx1"/>
              </a:solidFill>
              <a:sym typeface="Arial"/>
            </a:endParaRPr>
          </a:p>
        </p:txBody>
      </p:sp>
      <p:sp>
        <p:nvSpPr>
          <p:cNvPr id="32" name="Прямоугольник 31"/>
          <p:cNvSpPr/>
          <p:nvPr>
            <p:custDataLst>
              <p:tags r:id="rId24"/>
            </p:custDataLst>
          </p:nvPr>
        </p:nvSpPr>
        <p:spPr bwMode="auto">
          <a:xfrm>
            <a:off x="7348538" y="4621213"/>
            <a:ext cx="420687" cy="182562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anchor="b"/>
          <a:lstStyle/>
          <a:p>
            <a:pPr algn="ctr">
              <a:defRPr/>
            </a:pPr>
            <a:fld id="{F37A0353-427F-4B22-8C0E-D3F37B8780EE}" type="datetime'''''''''''8''.''''300'''''''''''''''''''''''">
              <a:rPr lang="en-US" sz="1200" b="1">
                <a:solidFill>
                  <a:schemeClr val="tx1"/>
                </a:solidFill>
              </a:rPr>
              <a:pPr algn="ctr">
                <a:defRPr/>
              </a:pPr>
              <a:t>8.300</a:t>
            </a:fld>
            <a:endParaRPr lang="ru-RU" sz="1200" b="1">
              <a:solidFill>
                <a:schemeClr val="tx1"/>
              </a:solidFill>
              <a:sym typeface="Arial"/>
            </a:endParaRPr>
          </a:p>
        </p:txBody>
      </p:sp>
      <p:sp>
        <p:nvSpPr>
          <p:cNvPr id="7" name="Прямоугольник 6"/>
          <p:cNvSpPr/>
          <p:nvPr>
            <p:custDataLst>
              <p:tags r:id="rId25"/>
            </p:custDataLst>
          </p:nvPr>
        </p:nvSpPr>
        <p:spPr bwMode="auto">
          <a:xfrm>
            <a:off x="5926138" y="5489575"/>
            <a:ext cx="292100" cy="1524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algn="ctr">
              <a:defRPr/>
            </a:pPr>
            <a:fld id="{F062AA36-9365-49DD-9852-8F2C6031D6F3}" type="datetime'''''2''''''''''''''''''''''''''''''025'''''''''''''">
              <a:rPr lang="en-US" sz="1000">
                <a:solidFill>
                  <a:schemeClr val="tx1"/>
                </a:solidFill>
              </a:rPr>
              <a:pPr algn="ctr">
                <a:defRPr/>
              </a:pPr>
              <a:t>2025</a:t>
            </a:fld>
            <a:endParaRPr lang="ru-RU" sz="1000">
              <a:solidFill>
                <a:schemeClr val="tx1"/>
              </a:solidFill>
              <a:sym typeface="Arial"/>
            </a:endParaRPr>
          </a:p>
        </p:txBody>
      </p:sp>
      <p:sp>
        <p:nvSpPr>
          <p:cNvPr id="65181" name="Text Placeholder 7"/>
          <p:cNvSpPr txBox="1">
            <a:spLocks/>
          </p:cNvSpPr>
          <p:nvPr>
            <p:custDataLst>
              <p:tags r:id="rId26"/>
            </p:custDataLst>
          </p:nvPr>
        </p:nvSpPr>
        <p:spPr bwMode="auto">
          <a:xfrm>
            <a:off x="3352800" y="3173413"/>
            <a:ext cx="504825" cy="182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20638" tIns="0" rIns="20638" bIns="0" anchor="b"/>
          <a:lstStyle/>
          <a:p>
            <a:pPr algn="ctr" eaLnBrk="0" hangingPunct="0">
              <a:buClr>
                <a:schemeClr val="hlink"/>
              </a:buClr>
              <a:buFont typeface="Arial" charset="0"/>
              <a:buNone/>
            </a:pPr>
            <a:fld id="{3EB7B416-E2EB-4EAF-8028-6D177BA0882C}" type="datetime'''''''''''''''''3''0''''''.''''''''''''''2''''''''4''1'''">
              <a:rPr lang="en-US" sz="1200" b="1"/>
              <a:pPr algn="ctr" eaLnBrk="0" hangingPunct="0">
                <a:buClr>
                  <a:schemeClr val="hlink"/>
                </a:buClr>
                <a:buFont typeface="Arial" charset="0"/>
                <a:buNone/>
              </a:pPr>
              <a:t>30.241</a:t>
            </a:fld>
            <a:endParaRPr lang="en-US" sz="1200" b="1">
              <a:sym typeface="Arial" charset="0"/>
            </a:endParaRPr>
          </a:p>
        </p:txBody>
      </p:sp>
      <p:sp>
        <p:nvSpPr>
          <p:cNvPr id="65182" name="Text Placeholder 4"/>
          <p:cNvSpPr txBox="1">
            <a:spLocks/>
          </p:cNvSpPr>
          <p:nvPr>
            <p:custDataLst>
              <p:tags r:id="rId27"/>
            </p:custDataLst>
          </p:nvPr>
        </p:nvSpPr>
        <p:spPr bwMode="auto">
          <a:xfrm>
            <a:off x="2963863" y="5489575"/>
            <a:ext cx="2921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 eaLnBrk="0" hangingPunct="0">
              <a:buClr>
                <a:schemeClr val="hlink"/>
              </a:buClr>
              <a:buFont typeface="Arial" charset="0"/>
              <a:buNone/>
            </a:pPr>
            <a:fld id="{6F52AC6A-2E05-4A9A-A5B0-1A1B914CD11B}" type="datetime'''''''''''20''''''''''''1''''''''''''''9'''''''''''''''''''''">
              <a:rPr lang="en-US" sz="1000"/>
              <a:pPr algn="ctr" eaLnBrk="0" hangingPunct="0">
                <a:buClr>
                  <a:schemeClr val="hlink"/>
                </a:buClr>
                <a:buFont typeface="Arial" charset="0"/>
                <a:buNone/>
              </a:pPr>
              <a:t>2019</a:t>
            </a:fld>
            <a:endParaRPr lang="en-US" sz="1000">
              <a:sym typeface="+mn-lt"/>
            </a:endParaRPr>
          </a:p>
        </p:txBody>
      </p:sp>
      <p:sp>
        <p:nvSpPr>
          <p:cNvPr id="65183" name="Text Placeholder 6"/>
          <p:cNvSpPr txBox="1">
            <a:spLocks/>
          </p:cNvSpPr>
          <p:nvPr>
            <p:custDataLst>
              <p:tags r:id="rId28"/>
            </p:custDataLst>
          </p:nvPr>
        </p:nvSpPr>
        <p:spPr bwMode="auto">
          <a:xfrm>
            <a:off x="2857500" y="3811588"/>
            <a:ext cx="504825" cy="182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20638" tIns="0" rIns="20638" bIns="0" anchor="b"/>
          <a:lstStyle/>
          <a:p>
            <a:pPr algn="ctr" eaLnBrk="0" hangingPunct="0">
              <a:buClr>
                <a:schemeClr val="hlink"/>
              </a:buClr>
              <a:buFont typeface="Arial" charset="0"/>
              <a:buNone/>
            </a:pPr>
            <a:fld id="{9E4C5FF7-98FE-45E0-AF93-00216534A0A9}" type="datetime'2''''''''''0''.''''''''''''5''''''''''''''''8''''''6'">
              <a:rPr lang="en-US" sz="1200" b="1"/>
              <a:pPr algn="ctr" eaLnBrk="0" hangingPunct="0">
                <a:buClr>
                  <a:schemeClr val="hlink"/>
                </a:buClr>
                <a:buFont typeface="Arial" charset="0"/>
                <a:buNone/>
              </a:pPr>
              <a:t>20.586</a:t>
            </a:fld>
            <a:endParaRPr lang="en-US" sz="1200" b="1">
              <a:sym typeface="Arial" charset="0"/>
            </a:endParaRPr>
          </a:p>
        </p:txBody>
      </p:sp>
      <p:sp>
        <p:nvSpPr>
          <p:cNvPr id="65184" name="Text Placeholder 34"/>
          <p:cNvSpPr txBox="1">
            <a:spLocks/>
          </p:cNvSpPr>
          <p:nvPr>
            <p:custDataLst>
              <p:tags r:id="rId29"/>
            </p:custDataLst>
          </p:nvPr>
        </p:nvSpPr>
        <p:spPr bwMode="auto">
          <a:xfrm>
            <a:off x="2468563" y="5489575"/>
            <a:ext cx="2921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 eaLnBrk="0" hangingPunct="0">
              <a:buClr>
                <a:schemeClr val="hlink"/>
              </a:buClr>
              <a:buFont typeface="Arial" charset="0"/>
              <a:buNone/>
            </a:pPr>
            <a:fld id="{04BBAEF8-7D3C-401E-8600-62FB7AB3CBE5}" type="datetime'''''''''2''0''''''1''''''''''''''''''''''8'''''''''''''''''''">
              <a:rPr lang="en-US" sz="1000"/>
              <a:pPr algn="ctr" eaLnBrk="0" hangingPunct="0">
                <a:buClr>
                  <a:schemeClr val="hlink"/>
                </a:buClr>
                <a:buFont typeface="Arial" charset="0"/>
                <a:buNone/>
              </a:pPr>
              <a:t>2018</a:t>
            </a:fld>
            <a:endParaRPr lang="en-US" sz="1000">
              <a:sym typeface="+mn-lt"/>
            </a:endParaRPr>
          </a:p>
        </p:txBody>
      </p:sp>
      <p:sp>
        <p:nvSpPr>
          <p:cNvPr id="65185" name="Text Placeholder 38"/>
          <p:cNvSpPr txBox="1">
            <a:spLocks/>
          </p:cNvSpPr>
          <p:nvPr>
            <p:custDataLst>
              <p:tags r:id="rId30"/>
            </p:custDataLst>
          </p:nvPr>
        </p:nvSpPr>
        <p:spPr bwMode="auto">
          <a:xfrm>
            <a:off x="2362200" y="2811463"/>
            <a:ext cx="504825" cy="182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20638" tIns="0" rIns="20638" bIns="0" anchor="b"/>
          <a:lstStyle/>
          <a:p>
            <a:pPr algn="ctr" eaLnBrk="0" hangingPunct="0">
              <a:buClr>
                <a:schemeClr val="hlink"/>
              </a:buClr>
              <a:buFont typeface="Arial" charset="0"/>
              <a:buNone/>
            </a:pPr>
            <a:fld id="{F7DF9203-C8E6-4E77-A494-DAE27A1FC6CD}" type="datetime'''''''''''''35''''.''7''''''6''0'">
              <a:rPr lang="en-US" sz="1200" b="1"/>
              <a:pPr algn="ctr" eaLnBrk="0" hangingPunct="0">
                <a:buClr>
                  <a:schemeClr val="hlink"/>
                </a:buClr>
                <a:buFont typeface="Arial" charset="0"/>
                <a:buNone/>
              </a:pPr>
              <a:t>35.760</a:t>
            </a:fld>
            <a:endParaRPr lang="en-US" sz="1200" b="1">
              <a:sym typeface="Arial" charset="0"/>
            </a:endParaRPr>
          </a:p>
        </p:txBody>
      </p:sp>
      <p:sp>
        <p:nvSpPr>
          <p:cNvPr id="65186" name="Text Placeholder 33"/>
          <p:cNvSpPr txBox="1">
            <a:spLocks/>
          </p:cNvSpPr>
          <p:nvPr>
            <p:custDataLst>
              <p:tags r:id="rId31"/>
            </p:custDataLst>
          </p:nvPr>
        </p:nvSpPr>
        <p:spPr bwMode="auto">
          <a:xfrm>
            <a:off x="1973263" y="5489575"/>
            <a:ext cx="2921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 eaLnBrk="0" hangingPunct="0">
              <a:buClr>
                <a:schemeClr val="hlink"/>
              </a:buClr>
              <a:buFont typeface="Arial" charset="0"/>
              <a:buNone/>
            </a:pPr>
            <a:fld id="{60697C6E-B765-4C25-96D4-8E81145FFE06}" type="datetime'''''''''''''''''''''2''''''0''1''''''''''''''7'">
              <a:rPr lang="en-US" sz="1000"/>
              <a:pPr algn="ctr" eaLnBrk="0" hangingPunct="0">
                <a:buClr>
                  <a:schemeClr val="hlink"/>
                </a:buClr>
                <a:buFont typeface="Arial" charset="0"/>
                <a:buNone/>
              </a:pPr>
              <a:t>2017</a:t>
            </a:fld>
            <a:endParaRPr lang="en-US" sz="1000">
              <a:sym typeface="+mn-lt"/>
            </a:endParaRPr>
          </a:p>
        </p:txBody>
      </p:sp>
      <p:sp>
        <p:nvSpPr>
          <p:cNvPr id="65187" name="Text Placeholder 37"/>
          <p:cNvSpPr txBox="1">
            <a:spLocks/>
          </p:cNvSpPr>
          <p:nvPr>
            <p:custDataLst>
              <p:tags r:id="rId32"/>
            </p:custDataLst>
          </p:nvPr>
        </p:nvSpPr>
        <p:spPr bwMode="auto">
          <a:xfrm>
            <a:off x="1866900" y="2420938"/>
            <a:ext cx="504825" cy="182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20638" tIns="0" rIns="20638" bIns="0" anchor="b"/>
          <a:lstStyle/>
          <a:p>
            <a:pPr algn="ctr" eaLnBrk="0" hangingPunct="0">
              <a:buClr>
                <a:schemeClr val="hlink"/>
              </a:buClr>
              <a:buFont typeface="Arial" charset="0"/>
              <a:buNone/>
            </a:pPr>
            <a:fld id="{6316BD5D-3541-4A13-8D19-637B0156AD65}" type="datetime'''''4''1''''''''''''.''7''''''''''''''4''''''6'''''''''''''''">
              <a:rPr lang="en-US" sz="1200" b="1"/>
              <a:pPr algn="ctr" eaLnBrk="0" hangingPunct="0">
                <a:buClr>
                  <a:schemeClr val="hlink"/>
                </a:buClr>
                <a:buFont typeface="Arial" charset="0"/>
                <a:buNone/>
              </a:pPr>
              <a:t>41.746</a:t>
            </a:fld>
            <a:endParaRPr lang="en-US" sz="1200" b="1">
              <a:sym typeface="Arial" charset="0"/>
            </a:endParaRPr>
          </a:p>
        </p:txBody>
      </p:sp>
      <p:sp>
        <p:nvSpPr>
          <p:cNvPr id="65188" name="Text Placeholder 32"/>
          <p:cNvSpPr txBox="1">
            <a:spLocks/>
          </p:cNvSpPr>
          <p:nvPr>
            <p:custDataLst>
              <p:tags r:id="rId33"/>
            </p:custDataLst>
          </p:nvPr>
        </p:nvSpPr>
        <p:spPr bwMode="auto">
          <a:xfrm>
            <a:off x="1477963" y="5489575"/>
            <a:ext cx="2921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 eaLnBrk="0" hangingPunct="0">
              <a:buClr>
                <a:schemeClr val="hlink"/>
              </a:buClr>
              <a:buFont typeface="Arial" charset="0"/>
              <a:buNone/>
            </a:pPr>
            <a:fld id="{2432C1E8-DFBD-4C3D-A590-699E7ED56249}" type="datetime'''2''0''''''''''''''''''''1''''''''6'''''''''">
              <a:rPr lang="en-US" sz="1000"/>
              <a:pPr algn="ctr" eaLnBrk="0" hangingPunct="0">
                <a:buClr>
                  <a:schemeClr val="hlink"/>
                </a:buClr>
                <a:buFont typeface="Arial" charset="0"/>
                <a:buNone/>
              </a:pPr>
              <a:t>2016</a:t>
            </a:fld>
            <a:endParaRPr lang="en-US" sz="1000">
              <a:sym typeface="+mn-lt"/>
            </a:endParaRPr>
          </a:p>
        </p:txBody>
      </p:sp>
      <p:sp>
        <p:nvSpPr>
          <p:cNvPr id="65189" name="Text Placeholder 36"/>
          <p:cNvSpPr txBox="1">
            <a:spLocks/>
          </p:cNvSpPr>
          <p:nvPr>
            <p:custDataLst>
              <p:tags r:id="rId34"/>
            </p:custDataLst>
          </p:nvPr>
        </p:nvSpPr>
        <p:spPr bwMode="auto">
          <a:xfrm>
            <a:off x="1371600" y="1887538"/>
            <a:ext cx="504825" cy="182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20638" tIns="0" rIns="20638" bIns="0" anchor="b"/>
          <a:lstStyle/>
          <a:p>
            <a:pPr algn="ctr" eaLnBrk="0" hangingPunct="0">
              <a:buClr>
                <a:schemeClr val="hlink"/>
              </a:buClr>
              <a:buFont typeface="Arial" charset="0"/>
              <a:buNone/>
            </a:pPr>
            <a:fld id="{C04F7CFC-D28F-4259-A24F-4F383648D137}" type="datetime'''''''4''9''''''''''.''''''8''''''''''''''2''''''''''''4'''">
              <a:rPr lang="en-US" sz="1200" b="1"/>
              <a:pPr algn="ctr" eaLnBrk="0" hangingPunct="0">
                <a:buClr>
                  <a:schemeClr val="hlink"/>
                </a:buClr>
                <a:buFont typeface="Arial" charset="0"/>
                <a:buNone/>
              </a:pPr>
              <a:t>49.824</a:t>
            </a:fld>
            <a:endParaRPr lang="en-US" sz="1200" b="1">
              <a:sym typeface="Arial" charset="0"/>
            </a:endParaRPr>
          </a:p>
        </p:txBody>
      </p:sp>
      <p:sp>
        <p:nvSpPr>
          <p:cNvPr id="65190" name="Text Placeholder 31"/>
          <p:cNvSpPr txBox="1">
            <a:spLocks/>
          </p:cNvSpPr>
          <p:nvPr>
            <p:custDataLst>
              <p:tags r:id="rId35"/>
            </p:custDataLst>
          </p:nvPr>
        </p:nvSpPr>
        <p:spPr bwMode="auto">
          <a:xfrm>
            <a:off x="982663" y="5489575"/>
            <a:ext cx="2921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 eaLnBrk="0" hangingPunct="0">
              <a:buClr>
                <a:schemeClr val="hlink"/>
              </a:buClr>
              <a:buFont typeface="Arial" charset="0"/>
              <a:buNone/>
            </a:pPr>
            <a:fld id="{471D2F81-82C4-4479-BC35-24B5F0B40EB6}" type="datetime'2''''''''''''''''''''''''0''''''''''1''''''''''5'''''">
              <a:rPr lang="en-US" sz="1000"/>
              <a:pPr algn="ctr" eaLnBrk="0" hangingPunct="0">
                <a:buClr>
                  <a:schemeClr val="hlink"/>
                </a:buClr>
                <a:buFont typeface="Arial" charset="0"/>
                <a:buNone/>
              </a:pPr>
              <a:t>2015</a:t>
            </a:fld>
            <a:endParaRPr lang="en-US" sz="1000">
              <a:sym typeface="+mn-lt"/>
            </a:endParaRPr>
          </a:p>
        </p:txBody>
      </p:sp>
      <p:sp>
        <p:nvSpPr>
          <p:cNvPr id="65191" name="Text Placeholder 35"/>
          <p:cNvSpPr txBox="1">
            <a:spLocks/>
          </p:cNvSpPr>
          <p:nvPr>
            <p:custDataLst>
              <p:tags r:id="rId36"/>
            </p:custDataLst>
          </p:nvPr>
        </p:nvSpPr>
        <p:spPr bwMode="auto">
          <a:xfrm>
            <a:off x="876300" y="3287713"/>
            <a:ext cx="504825" cy="182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20638" tIns="0" rIns="20638" bIns="0" anchor="b"/>
          <a:lstStyle/>
          <a:p>
            <a:pPr algn="ctr" eaLnBrk="0" hangingPunct="0">
              <a:buClr>
                <a:schemeClr val="hlink"/>
              </a:buClr>
              <a:buFont typeface="Arial" charset="0"/>
              <a:buNone/>
            </a:pPr>
            <a:fld id="{5CDC3CDD-8130-44CD-8A18-48649DBBC2C3}" type="datetime'2''''''''''''''''''''''8''''''''''''''.5''0''''''''6'''''''">
              <a:rPr lang="en-US" sz="1200" b="1"/>
              <a:pPr algn="ctr" eaLnBrk="0" hangingPunct="0">
                <a:buClr>
                  <a:schemeClr val="hlink"/>
                </a:buClr>
                <a:buFont typeface="Arial" charset="0"/>
                <a:buNone/>
              </a:pPr>
              <a:t>28.506</a:t>
            </a:fld>
            <a:endParaRPr lang="en-US" sz="1200" b="1">
              <a:sym typeface="Arial" charset="0"/>
            </a:endParaRPr>
          </a:p>
        </p:txBody>
      </p:sp>
      <p:sp>
        <p:nvSpPr>
          <p:cNvPr id="65192" name="Text Placeholder 15"/>
          <p:cNvSpPr txBox="1">
            <a:spLocks/>
          </p:cNvSpPr>
          <p:nvPr>
            <p:custDataLst>
              <p:tags r:id="rId37"/>
            </p:custDataLst>
          </p:nvPr>
        </p:nvSpPr>
        <p:spPr bwMode="auto">
          <a:xfrm>
            <a:off x="487363" y="5489575"/>
            <a:ext cx="2921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 eaLnBrk="0" hangingPunct="0">
              <a:buClr>
                <a:schemeClr val="hlink"/>
              </a:buClr>
              <a:buFont typeface="Arial" charset="0"/>
              <a:buNone/>
            </a:pPr>
            <a:fld id="{E79C257F-45C0-4F40-8BD4-8AEB8C669276}" type="datetime'''''''''''''20''''''''''''''''''''''''1''4'''''''''''''''''">
              <a:rPr lang="en-US" sz="1000"/>
              <a:pPr algn="ctr" eaLnBrk="0" hangingPunct="0">
                <a:buClr>
                  <a:schemeClr val="hlink"/>
                </a:buClr>
                <a:buFont typeface="Arial" charset="0"/>
                <a:buNone/>
              </a:pPr>
              <a:t>2014</a:t>
            </a:fld>
            <a:endParaRPr lang="en-US" sz="1000">
              <a:sym typeface="+mn-lt"/>
            </a:endParaRPr>
          </a:p>
        </p:txBody>
      </p:sp>
      <p:sp>
        <p:nvSpPr>
          <p:cNvPr id="65193" name="Text Placeholder 21"/>
          <p:cNvSpPr txBox="1">
            <a:spLocks/>
          </p:cNvSpPr>
          <p:nvPr>
            <p:custDataLst>
              <p:tags r:id="rId38"/>
            </p:custDataLst>
          </p:nvPr>
        </p:nvSpPr>
        <p:spPr bwMode="auto">
          <a:xfrm>
            <a:off x="381000" y="4421188"/>
            <a:ext cx="504825" cy="182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20638" tIns="0" rIns="20638" bIns="0" anchor="b"/>
          <a:lstStyle/>
          <a:p>
            <a:pPr algn="ctr" eaLnBrk="0" hangingPunct="0">
              <a:buClr>
                <a:schemeClr val="hlink"/>
              </a:buClr>
              <a:buFont typeface="Arial" charset="0"/>
              <a:buNone/>
            </a:pPr>
            <a:fld id="{D826B05A-96A9-4E1D-B174-1DA0EF527724}" type="datetime'''''''''''''''''1''1''''''''.2''''4''''''''''''4'''">
              <a:rPr lang="en-US" sz="1200" b="1"/>
              <a:pPr algn="ctr" eaLnBrk="0" hangingPunct="0">
                <a:buClr>
                  <a:schemeClr val="hlink"/>
                </a:buClr>
                <a:buFont typeface="Arial" charset="0"/>
                <a:buNone/>
              </a:pPr>
              <a:t>11.244</a:t>
            </a:fld>
            <a:endParaRPr lang="en-US" sz="1200" b="1">
              <a:sym typeface="+mn-lt"/>
            </a:endParaRPr>
          </a:p>
        </p:txBody>
      </p:sp>
      <p:sp>
        <p:nvSpPr>
          <p:cNvPr id="65194" name="Text Box 3"/>
          <p:cNvSpPr txBox="1">
            <a:spLocks noChangeArrowheads="1"/>
          </p:cNvSpPr>
          <p:nvPr/>
        </p:nvSpPr>
        <p:spPr bwMode="auto">
          <a:xfrm>
            <a:off x="395288" y="1268413"/>
            <a:ext cx="514985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0" hangingPunct="0"/>
            <a:r>
              <a:rPr lang="ru-RU" sz="1600" b="1"/>
              <a:t>Динамика инвестиций, </a:t>
            </a:r>
            <a:r>
              <a:rPr lang="ru-RU" sz="1600"/>
              <a:t>млрд. руб.</a:t>
            </a:r>
          </a:p>
        </p:txBody>
      </p:sp>
      <p:sp>
        <p:nvSpPr>
          <p:cNvPr id="43" name="Прямоугольник 42"/>
          <p:cNvSpPr/>
          <p:nvPr>
            <p:custDataLst>
              <p:tags r:id="rId39"/>
            </p:custDataLst>
          </p:nvPr>
        </p:nvSpPr>
        <p:spPr bwMode="auto">
          <a:xfrm>
            <a:off x="7404100" y="2919413"/>
            <a:ext cx="179388" cy="133350"/>
          </a:xfrm>
          <a:prstGeom prst="rect">
            <a:avLst/>
          </a:prstGeom>
          <a:solidFill>
            <a:srgbClr val="0B3A73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1" name="Прямоугольник 40"/>
          <p:cNvSpPr/>
          <p:nvPr>
            <p:custDataLst>
              <p:tags r:id="rId40"/>
            </p:custDataLst>
          </p:nvPr>
        </p:nvSpPr>
        <p:spPr bwMode="auto">
          <a:xfrm>
            <a:off x="7404100" y="2668588"/>
            <a:ext cx="179388" cy="133350"/>
          </a:xfrm>
          <a:prstGeom prst="rect">
            <a:avLst/>
          </a:prstGeom>
          <a:solidFill>
            <a:srgbClr val="76B2E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9" name="Прямоугольник 38"/>
          <p:cNvSpPr/>
          <p:nvPr>
            <p:custDataLst>
              <p:tags r:id="rId41"/>
            </p:custDataLst>
          </p:nvPr>
        </p:nvSpPr>
        <p:spPr bwMode="auto">
          <a:xfrm>
            <a:off x="7404100" y="2179638"/>
            <a:ext cx="179388" cy="133350"/>
          </a:xfrm>
          <a:prstGeom prst="rect">
            <a:avLst/>
          </a:prstGeom>
          <a:solidFill>
            <a:srgbClr val="939393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0" name="Прямоугольник 39"/>
          <p:cNvSpPr/>
          <p:nvPr>
            <p:custDataLst>
              <p:tags r:id="rId42"/>
            </p:custDataLst>
          </p:nvPr>
        </p:nvSpPr>
        <p:spPr bwMode="auto">
          <a:xfrm>
            <a:off x="7404100" y="2424113"/>
            <a:ext cx="179388" cy="133350"/>
          </a:xfrm>
          <a:prstGeom prst="rect">
            <a:avLst/>
          </a:prstGeom>
          <a:solidFill>
            <a:srgbClr val="A5CCED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8" name="Прямоугольник 37"/>
          <p:cNvSpPr/>
          <p:nvPr>
            <p:custDataLst>
              <p:tags r:id="rId43"/>
            </p:custDataLst>
          </p:nvPr>
        </p:nvSpPr>
        <p:spPr bwMode="auto">
          <a:xfrm>
            <a:off x="7404100" y="1928813"/>
            <a:ext cx="179388" cy="133350"/>
          </a:xfrm>
          <a:prstGeom prst="rect">
            <a:avLst/>
          </a:prstGeom>
          <a:solidFill>
            <a:srgbClr val="BFBFBF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5" name="Прямоугольник 44"/>
          <p:cNvSpPr/>
          <p:nvPr>
            <p:custDataLst>
              <p:tags r:id="rId44"/>
            </p:custDataLst>
          </p:nvPr>
        </p:nvSpPr>
        <p:spPr bwMode="auto">
          <a:xfrm>
            <a:off x="7404100" y="3162300"/>
            <a:ext cx="179388" cy="133350"/>
          </a:xfrm>
          <a:prstGeom prst="rect">
            <a:avLst/>
          </a:prstGeom>
          <a:solidFill>
            <a:srgbClr val="000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65201" name="Text Placeholder 23"/>
          <p:cNvSpPr txBox="1">
            <a:spLocks/>
          </p:cNvSpPr>
          <p:nvPr>
            <p:custDataLst>
              <p:tags r:id="rId45"/>
            </p:custDataLst>
          </p:nvPr>
        </p:nvSpPr>
        <p:spPr bwMode="auto">
          <a:xfrm>
            <a:off x="7634288" y="2908300"/>
            <a:ext cx="72231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eaLnBrk="0" hangingPunct="0">
              <a:buClr>
                <a:schemeClr val="hlink"/>
              </a:buClr>
              <a:buFont typeface="Arial" charset="0"/>
              <a:buNone/>
            </a:pPr>
            <a:fld id="{330ED967-8119-413A-8170-7F6B457EEB80}" type="datetime'''Эн''''''е''''''''''р''''''''г''е''''т''и''ка''''*'">
              <a:rPr lang="en-US" sz="1000"/>
              <a:pPr eaLnBrk="0" hangingPunct="0">
                <a:buClr>
                  <a:schemeClr val="hlink"/>
                </a:buClr>
                <a:buFont typeface="Arial" charset="0"/>
                <a:buNone/>
              </a:pPr>
              <a:t>Энергетика*</a:t>
            </a:fld>
            <a:endParaRPr lang="en-US" sz="1000">
              <a:sym typeface="+mn-lt"/>
            </a:endParaRPr>
          </a:p>
        </p:txBody>
      </p:sp>
      <p:sp>
        <p:nvSpPr>
          <p:cNvPr id="65202" name="Text Placeholder 18"/>
          <p:cNvSpPr txBox="1">
            <a:spLocks/>
          </p:cNvSpPr>
          <p:nvPr>
            <p:custDataLst>
              <p:tags r:id="rId46"/>
            </p:custDataLst>
          </p:nvPr>
        </p:nvSpPr>
        <p:spPr bwMode="auto">
          <a:xfrm>
            <a:off x="7634288" y="2349500"/>
            <a:ext cx="766762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eaLnBrk="0" hangingPunct="0">
              <a:buClr>
                <a:schemeClr val="hlink"/>
              </a:buClr>
              <a:buFont typeface="Arial" charset="0"/>
              <a:buNone/>
            </a:pPr>
            <a:fld id="{85A391AF-351E-4735-BB1F-CBFD96824FDC}" type="datetime'''''З''''''''олото''&#10;к''''ап''ита''''''л''ьн''''ы''''''е'''">
              <a:rPr lang="en-US" sz="1000"/>
              <a:pPr eaLnBrk="0" hangingPunct="0">
                <a:buClr>
                  <a:schemeClr val="hlink"/>
                </a:buClr>
                <a:buFont typeface="Arial" charset="0"/>
                <a:buNone/>
              </a:pPr>
              <a:t>Золото
капитальные</a:t>
            </a:fld>
            <a:endParaRPr lang="en-US" sz="1000">
              <a:sym typeface="+mn-lt"/>
            </a:endParaRPr>
          </a:p>
        </p:txBody>
      </p:sp>
      <p:sp>
        <p:nvSpPr>
          <p:cNvPr id="65203" name="Text Placeholder 22"/>
          <p:cNvSpPr txBox="1">
            <a:spLocks/>
          </p:cNvSpPr>
          <p:nvPr>
            <p:custDataLst>
              <p:tags r:id="rId47"/>
            </p:custDataLst>
          </p:nvPr>
        </p:nvSpPr>
        <p:spPr bwMode="auto">
          <a:xfrm>
            <a:off x="7634288" y="2665413"/>
            <a:ext cx="6667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eaLnBrk="0" hangingPunct="0">
              <a:buClr>
                <a:schemeClr val="hlink"/>
              </a:buClr>
              <a:buFont typeface="Arial" charset="0"/>
              <a:buNone/>
            </a:pPr>
            <a:fld id="{6CA57367-8C6C-4FFE-8AB1-8AB8EAB42BA4}" type="datetime'''''''''''''Т''''''''ра''''''''н''''с''п''о''''''''''р''т*'''">
              <a:rPr lang="en-US" sz="1000"/>
              <a:pPr eaLnBrk="0" hangingPunct="0">
                <a:buClr>
                  <a:schemeClr val="hlink"/>
                </a:buClr>
                <a:buFont typeface="Arial" charset="0"/>
                <a:buNone/>
              </a:pPr>
              <a:t>Транспорт*</a:t>
            </a:fld>
            <a:endParaRPr lang="en-US" sz="1000">
              <a:sym typeface="+mn-lt"/>
            </a:endParaRPr>
          </a:p>
        </p:txBody>
      </p:sp>
      <p:sp>
        <p:nvSpPr>
          <p:cNvPr id="65204" name="Text Placeholder 17"/>
          <p:cNvSpPr txBox="1">
            <a:spLocks/>
          </p:cNvSpPr>
          <p:nvPr>
            <p:custDataLst>
              <p:tags r:id="rId48"/>
            </p:custDataLst>
          </p:nvPr>
        </p:nvSpPr>
        <p:spPr bwMode="auto">
          <a:xfrm>
            <a:off x="7634288" y="2089150"/>
            <a:ext cx="801687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eaLnBrk="0" hangingPunct="0">
              <a:buClr>
                <a:schemeClr val="hlink"/>
              </a:buClr>
              <a:buFont typeface="Arial" charset="0"/>
              <a:buNone/>
            </a:pPr>
            <a:fld id="{6238D5D0-82D8-4259-8DA4-1DBAB0F801E1}" type="datetime'У''г''''ол''''ь''&#10; ''кап''''''и''та''''''льн''''ы''''е'''">
              <a:rPr lang="en-US" sz="1000"/>
              <a:pPr eaLnBrk="0" hangingPunct="0">
                <a:buClr>
                  <a:schemeClr val="hlink"/>
                </a:buClr>
                <a:buFont typeface="Arial" charset="0"/>
                <a:buNone/>
              </a:pPr>
              <a:t>Уголь
 капитальные</a:t>
            </a:fld>
            <a:endParaRPr lang="en-US" sz="1000">
              <a:sym typeface="+mn-lt"/>
            </a:endParaRPr>
          </a:p>
        </p:txBody>
      </p:sp>
      <p:sp>
        <p:nvSpPr>
          <p:cNvPr id="65205" name="Text Placeholder 16"/>
          <p:cNvSpPr txBox="1">
            <a:spLocks/>
          </p:cNvSpPr>
          <p:nvPr>
            <p:custDataLst>
              <p:tags r:id="rId49"/>
            </p:custDataLst>
          </p:nvPr>
        </p:nvSpPr>
        <p:spPr bwMode="auto">
          <a:xfrm>
            <a:off x="7634288" y="1925638"/>
            <a:ext cx="236537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eaLnBrk="0" hangingPunct="0">
              <a:buClr>
                <a:schemeClr val="hlink"/>
              </a:buClr>
              <a:buFont typeface="Arial" charset="0"/>
              <a:buNone/>
            </a:pPr>
            <a:fld id="{F1A15118-8608-4E5B-91EE-3588D9A8F352}" type="datetime'''''''''''Г''''''''''''''''''Р''''''''''''''''''Р'''''''''">
              <a:rPr lang="en-US" sz="1000"/>
              <a:pPr eaLnBrk="0" hangingPunct="0">
                <a:buClr>
                  <a:schemeClr val="hlink"/>
                </a:buClr>
                <a:buFont typeface="Arial" charset="0"/>
                <a:buNone/>
              </a:pPr>
              <a:t>ГРР</a:t>
            </a:fld>
            <a:endParaRPr lang="en-US" sz="1000">
              <a:sym typeface="+mn-lt"/>
            </a:endParaRPr>
          </a:p>
        </p:txBody>
      </p:sp>
      <p:sp>
        <p:nvSpPr>
          <p:cNvPr id="17" name="Прямоугольник 16"/>
          <p:cNvSpPr/>
          <p:nvPr>
            <p:custDataLst>
              <p:tags r:id="rId50"/>
            </p:custDataLst>
          </p:nvPr>
        </p:nvSpPr>
        <p:spPr bwMode="auto">
          <a:xfrm>
            <a:off x="7634288" y="3151188"/>
            <a:ext cx="1119187" cy="1524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>
              <a:defRPr/>
            </a:pPr>
            <a:fld id="{D3F3E8C5-C421-4FFD-9E30-FB174A8C116A}" type="datetime'''''''''М''''''ед''''ь'' ''''''''капит''ал''''ьны''''''''е'">
              <a:rPr lang="en-US" sz="1000">
                <a:solidFill>
                  <a:schemeClr val="tx1"/>
                </a:solidFill>
              </a:rPr>
              <a:pPr>
                <a:defRPr/>
              </a:pPr>
              <a:t>Медь капитальные</a:t>
            </a:fld>
            <a:endParaRPr lang="ru-RU" sz="1000">
              <a:solidFill>
                <a:schemeClr val="tx1"/>
              </a:solidFill>
              <a:sym typeface="+mn-lt"/>
            </a:endParaRPr>
          </a:p>
        </p:txBody>
      </p:sp>
      <p:sp>
        <p:nvSpPr>
          <p:cNvPr id="65207" name="Line 696"/>
          <p:cNvSpPr>
            <a:spLocks noChangeShapeType="1"/>
          </p:cNvSpPr>
          <p:nvPr/>
        </p:nvSpPr>
        <p:spPr bwMode="auto">
          <a:xfrm flipV="1">
            <a:off x="138113" y="1058863"/>
            <a:ext cx="8899525" cy="7937"/>
          </a:xfrm>
          <a:prstGeom prst="line">
            <a:avLst/>
          </a:prstGeom>
          <a:noFill/>
          <a:ln w="9525">
            <a:solidFill>
              <a:srgbClr val="C0C0C0"/>
            </a:solidFill>
            <a:round/>
            <a:headEnd/>
            <a:tailEnd/>
          </a:ln>
          <a:effectLst>
            <a:prstShdw prst="shdw17" dist="17961" dir="2700000">
              <a:srgbClr val="737373"/>
            </a:prstShdw>
          </a:effectLst>
        </p:spPr>
        <p:txBody>
          <a:bodyPr/>
          <a:lstStyle/>
          <a:p>
            <a:endParaRPr lang="ru-RU"/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6186" name="Object 65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66186" name="think-cell Slide" r:id="rId27" imgW="360" imgH="360" progId="">
              <p:embed/>
            </p:oleObj>
          </a:graphicData>
        </a:graphic>
      </p:graphicFrame>
      <p:sp>
        <p:nvSpPr>
          <p:cNvPr id="66188" name="Rectangle 1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9525" algn="ctr">
            <a:solidFill>
              <a:schemeClr val="tx1"/>
            </a:solidFill>
            <a:round/>
            <a:headEnd/>
            <a:tailEnd type="triangle" w="med" len="med"/>
          </a:ln>
        </p:spPr>
        <p:txBody>
          <a:bodyPr wrap="none" lIns="0" tIns="0" rIns="0" bIns="0"/>
          <a:lstStyle/>
          <a:p>
            <a:endParaRPr lang="en-US" sz="1000">
              <a:sym typeface="Arial" charset="0"/>
            </a:endParaRPr>
          </a:p>
        </p:txBody>
      </p:sp>
      <p:sp>
        <p:nvSpPr>
          <p:cNvPr id="66189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ru-RU" smtClean="0"/>
              <a:t>Основными драйверами развития экономики региона станут цветная металлургия и угольная промышленность</a:t>
            </a:r>
          </a:p>
        </p:txBody>
      </p:sp>
      <p:sp>
        <p:nvSpPr>
          <p:cNvPr id="66190" name="Rectangle 94"/>
          <p:cNvSpPr>
            <a:spLocks noChangeArrowheads="1"/>
          </p:cNvSpPr>
          <p:nvPr/>
        </p:nvSpPr>
        <p:spPr bwMode="auto">
          <a:xfrm>
            <a:off x="7078663" y="1196975"/>
            <a:ext cx="1839912" cy="287338"/>
          </a:xfrm>
          <a:prstGeom prst="rect">
            <a:avLst/>
          </a:prstGeom>
          <a:noFill/>
          <a:ln w="9525" algn="ctr">
            <a:solidFill>
              <a:schemeClr val="tx1"/>
            </a:solidFill>
            <a:round/>
            <a:headEnd/>
            <a:tailEnd type="triangle" w="med" len="med"/>
          </a:ln>
        </p:spPr>
        <p:txBody>
          <a:bodyPr lIns="18288" rIns="18288" anchor="ctr"/>
          <a:lstStyle/>
          <a:p>
            <a:pPr marL="342900" indent="-342900" algn="ctr"/>
            <a:r>
              <a:rPr lang="ru-RU" sz="1200" b="1"/>
              <a:t>ПРОГНОЗНЫЙ РАСЧЕТ</a:t>
            </a:r>
            <a:endParaRPr lang="en-US" sz="1200" b="1"/>
          </a:p>
        </p:txBody>
      </p:sp>
      <p:graphicFrame>
        <p:nvGraphicFramePr>
          <p:cNvPr id="66187" name="Object 651"/>
          <p:cNvGraphicFramePr>
            <a:graphicFrameLocks/>
          </p:cNvGraphicFramePr>
          <p:nvPr>
            <p:custDataLst>
              <p:tags r:id="rId4"/>
            </p:custDataLst>
          </p:nvPr>
        </p:nvGraphicFramePr>
        <p:xfrm>
          <a:off x="152400" y="1714500"/>
          <a:ext cx="8410575" cy="2257425"/>
        </p:xfrm>
        <a:graphic>
          <a:graphicData uri="http://schemas.openxmlformats.org/presentationml/2006/ole">
            <p:oleObj spid="_x0000_s66187" name="Диаграмма" r:id="rId28" imgW="8410548" imgH="2257455" progId="MSGraph.Chart.8">
              <p:embed followColorScheme="full"/>
            </p:oleObj>
          </a:graphicData>
        </a:graphic>
      </p:graphicFrame>
      <p:sp>
        <p:nvSpPr>
          <p:cNvPr id="18" name="Прямоугольник 17"/>
          <p:cNvSpPr/>
          <p:nvPr>
            <p:custDataLst>
              <p:tags r:id="rId5"/>
            </p:custDataLst>
          </p:nvPr>
        </p:nvSpPr>
        <p:spPr bwMode="auto">
          <a:xfrm>
            <a:off x="6796088" y="3956050"/>
            <a:ext cx="1249362" cy="1524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algn="ctr">
              <a:defRPr/>
            </a:pPr>
            <a:r>
              <a:rPr lang="ru-RU" sz="1000">
                <a:solidFill>
                  <a:schemeClr val="tx1"/>
                </a:solidFill>
                <a:sym typeface="+mn-lt"/>
              </a:rPr>
              <a:t>Социальная сфера**</a:t>
            </a:r>
          </a:p>
        </p:txBody>
      </p:sp>
      <p:sp>
        <p:nvSpPr>
          <p:cNvPr id="8" name="Прямоугольник 7"/>
          <p:cNvSpPr/>
          <p:nvPr>
            <p:custDataLst>
              <p:tags r:id="rId6"/>
            </p:custDataLst>
          </p:nvPr>
        </p:nvSpPr>
        <p:spPr bwMode="auto">
          <a:xfrm>
            <a:off x="5700713" y="3487738"/>
            <a:ext cx="420687" cy="182562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anchor="b"/>
          <a:lstStyle/>
          <a:p>
            <a:pPr algn="ctr">
              <a:defRPr/>
            </a:pPr>
            <a:fld id="{E1847664-893F-4B3B-ACEA-BD476ACE5A35}" type="datetime'7''''''''''''''''''''''.''''5''''''''''8''3'''">
              <a:rPr lang="en-US" sz="1200" b="1">
                <a:solidFill>
                  <a:schemeClr val="tx1"/>
                </a:solidFill>
              </a:rPr>
              <a:pPr algn="ctr">
                <a:defRPr/>
              </a:pPr>
              <a:t>7.583</a:t>
            </a:fld>
            <a:endParaRPr lang="ru-RU" sz="1200" b="1">
              <a:solidFill>
                <a:schemeClr val="tx1"/>
              </a:solidFill>
              <a:sym typeface="Arial"/>
            </a:endParaRPr>
          </a:p>
        </p:txBody>
      </p:sp>
      <p:sp>
        <p:nvSpPr>
          <p:cNvPr id="7" name="Прямоугольник 6"/>
          <p:cNvSpPr/>
          <p:nvPr>
            <p:custDataLst>
              <p:tags r:id="rId7"/>
            </p:custDataLst>
          </p:nvPr>
        </p:nvSpPr>
        <p:spPr bwMode="auto">
          <a:xfrm>
            <a:off x="3609975" y="1944688"/>
            <a:ext cx="504825" cy="182562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anchor="b"/>
          <a:lstStyle/>
          <a:p>
            <a:pPr algn="ctr">
              <a:defRPr/>
            </a:pPr>
            <a:fld id="{EE549E86-3BAE-4D16-B5CD-52F24B4FB190}" type="datetime'''''''9''1.''''''2''''''''''''1''''''''''''8'''''''''">
              <a:rPr lang="en-US" sz="1200" b="1">
                <a:solidFill>
                  <a:schemeClr val="tx1"/>
                </a:solidFill>
              </a:rPr>
              <a:pPr algn="ctr">
                <a:defRPr/>
              </a:pPr>
              <a:t>91.218</a:t>
            </a:fld>
            <a:endParaRPr lang="ru-RU" sz="1200" b="1">
              <a:solidFill>
                <a:schemeClr val="tx1"/>
              </a:solidFill>
              <a:sym typeface="Arial"/>
            </a:endParaRPr>
          </a:p>
        </p:txBody>
      </p:sp>
      <p:sp>
        <p:nvSpPr>
          <p:cNvPr id="12" name="Прямоугольник 11"/>
          <p:cNvSpPr/>
          <p:nvPr>
            <p:custDataLst>
              <p:tags r:id="rId8"/>
            </p:custDataLst>
          </p:nvPr>
        </p:nvSpPr>
        <p:spPr bwMode="auto">
          <a:xfrm>
            <a:off x="3067050" y="3249613"/>
            <a:ext cx="504825" cy="182562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anchor="b"/>
          <a:lstStyle/>
          <a:p>
            <a:pPr algn="ctr">
              <a:defRPr/>
            </a:pPr>
            <a:fld id="{86761287-7D28-46D8-B908-D760B9ABFF9D}" type="datetime'''2''''''''0.''''8''''''''''''''''''''''''2''''''''''4'''">
              <a:rPr lang="en-US" sz="1200" b="1">
                <a:solidFill>
                  <a:schemeClr val="tx1"/>
                </a:solidFill>
              </a:rPr>
              <a:pPr algn="ctr">
                <a:defRPr/>
              </a:pPr>
              <a:t>20.824</a:t>
            </a:fld>
            <a:endParaRPr lang="ru-RU" sz="1200" b="1">
              <a:solidFill>
                <a:schemeClr val="tx1"/>
              </a:solidFill>
              <a:sym typeface="Arial"/>
            </a:endParaRPr>
          </a:p>
        </p:txBody>
      </p:sp>
      <p:sp>
        <p:nvSpPr>
          <p:cNvPr id="6" name="Прямоугольник 5"/>
          <p:cNvSpPr/>
          <p:nvPr>
            <p:custDataLst>
              <p:tags r:id="rId9"/>
            </p:custDataLst>
          </p:nvPr>
        </p:nvSpPr>
        <p:spPr bwMode="auto">
          <a:xfrm>
            <a:off x="1511300" y="1620838"/>
            <a:ext cx="588963" cy="182562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anchor="b"/>
          <a:lstStyle/>
          <a:p>
            <a:pPr algn="ctr">
              <a:defRPr/>
            </a:pPr>
            <a:fld id="{84D8B025-43D0-47A3-A69B-B75B4227B4A1}" type="datetime'''10''''8''''''''''''''''''.''''''''''6''''''''''''''7''0'''''">
              <a:rPr lang="en-US" sz="1200" b="1">
                <a:solidFill>
                  <a:schemeClr val="tx1"/>
                </a:solidFill>
              </a:rPr>
              <a:pPr algn="ctr">
                <a:defRPr/>
              </a:pPr>
              <a:t>108.670</a:t>
            </a:fld>
            <a:endParaRPr lang="ru-RU" sz="1200" b="1">
              <a:solidFill>
                <a:schemeClr val="tx1"/>
              </a:solidFill>
              <a:sym typeface="Arial"/>
            </a:endParaRPr>
          </a:p>
        </p:txBody>
      </p:sp>
      <p:sp>
        <p:nvSpPr>
          <p:cNvPr id="66196" name="Text Placeholder 46"/>
          <p:cNvSpPr txBox="1">
            <a:spLocks/>
          </p:cNvSpPr>
          <p:nvPr>
            <p:custDataLst>
              <p:tags r:id="rId10"/>
            </p:custDataLst>
          </p:nvPr>
        </p:nvSpPr>
        <p:spPr bwMode="auto">
          <a:xfrm>
            <a:off x="4624388" y="3516313"/>
            <a:ext cx="420687" cy="182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20638" tIns="0" rIns="20638" bIns="0" anchor="b"/>
          <a:lstStyle/>
          <a:p>
            <a:pPr algn="ctr" eaLnBrk="0" hangingPunct="0">
              <a:buClr>
                <a:schemeClr val="hlink"/>
              </a:buClr>
              <a:buFont typeface="Arial" charset="0"/>
              <a:buNone/>
            </a:pPr>
            <a:fld id="{2AA28A9F-14E7-45A9-A768-234AC93FCFBE}" type="datetime'''''''''''''''''''6''.''''''''''''''''''''''''''''1''5''''2'''">
              <a:rPr lang="en-US" sz="1200" b="1"/>
              <a:pPr algn="ctr" eaLnBrk="0" hangingPunct="0">
                <a:buClr>
                  <a:schemeClr val="hlink"/>
                </a:buClr>
                <a:buFont typeface="Arial" charset="0"/>
                <a:buNone/>
              </a:pPr>
              <a:t>6.152</a:t>
            </a:fld>
            <a:endParaRPr lang="en-US" sz="1200" b="1">
              <a:sym typeface="+mn-lt"/>
            </a:endParaRPr>
          </a:p>
        </p:txBody>
      </p:sp>
      <p:sp>
        <p:nvSpPr>
          <p:cNvPr id="9" name="Прямоугольник 8"/>
          <p:cNvSpPr/>
          <p:nvPr>
            <p:custDataLst>
              <p:tags r:id="rId11"/>
            </p:custDataLst>
          </p:nvPr>
        </p:nvSpPr>
        <p:spPr bwMode="auto">
          <a:xfrm>
            <a:off x="7705725" y="3097213"/>
            <a:ext cx="504825" cy="182562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anchor="b"/>
          <a:lstStyle/>
          <a:p>
            <a:pPr algn="ctr">
              <a:defRPr/>
            </a:pPr>
            <a:fld id="{86283AA1-DDB7-4B62-8CF6-BA8265648B29}" type="datetime'''''''''''''''''2''''''''''8''''.''''9''''''0''''''''7'''''">
              <a:rPr lang="en-US" sz="1200" b="1">
                <a:solidFill>
                  <a:schemeClr val="tx1"/>
                </a:solidFill>
              </a:rPr>
              <a:pPr algn="ctr">
                <a:defRPr/>
              </a:pPr>
              <a:t>28.907</a:t>
            </a:fld>
            <a:endParaRPr lang="ru-RU" sz="1200" b="1">
              <a:solidFill>
                <a:schemeClr val="tx1"/>
              </a:solidFill>
              <a:sym typeface="Arial"/>
            </a:endParaRPr>
          </a:p>
        </p:txBody>
      </p:sp>
      <p:sp>
        <p:nvSpPr>
          <p:cNvPr id="13" name="Прямоугольник 12"/>
          <p:cNvSpPr/>
          <p:nvPr>
            <p:custDataLst>
              <p:tags r:id="rId12"/>
            </p:custDataLst>
          </p:nvPr>
        </p:nvSpPr>
        <p:spPr bwMode="auto">
          <a:xfrm>
            <a:off x="5119688" y="3344863"/>
            <a:ext cx="504825" cy="182562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anchor="b"/>
          <a:lstStyle/>
          <a:p>
            <a:pPr algn="ctr">
              <a:defRPr/>
            </a:pPr>
            <a:fld id="{1856913F-3633-42B5-AB64-F9E0A7D3E055}" type="datetime'1''''''''''''''''''''''5''''.''''''''''''''2''7''''5'''''">
              <a:rPr lang="en-US" sz="1200" b="1">
                <a:solidFill>
                  <a:schemeClr val="tx1"/>
                </a:solidFill>
              </a:rPr>
              <a:pPr algn="ctr">
                <a:defRPr/>
              </a:pPr>
              <a:t>15.275</a:t>
            </a:fld>
            <a:endParaRPr lang="ru-RU" sz="1200" b="1">
              <a:solidFill>
                <a:schemeClr val="tx1"/>
              </a:solidFill>
              <a:sym typeface="Arial"/>
            </a:endParaRPr>
          </a:p>
        </p:txBody>
      </p:sp>
      <p:sp>
        <p:nvSpPr>
          <p:cNvPr id="14" name="Прямоугольник 13"/>
          <p:cNvSpPr/>
          <p:nvPr>
            <p:custDataLst>
              <p:tags r:id="rId13"/>
            </p:custDataLst>
          </p:nvPr>
        </p:nvSpPr>
        <p:spPr bwMode="auto">
          <a:xfrm>
            <a:off x="7167563" y="3201988"/>
            <a:ext cx="504825" cy="182562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anchor="b"/>
          <a:lstStyle/>
          <a:p>
            <a:pPr algn="ctr">
              <a:defRPr/>
            </a:pPr>
            <a:fld id="{CCF7D9A1-41FA-4748-A1A0-6313A01C1670}" type="datetime'''''2''''''3.''0''''0''''''''''2'''''">
              <a:rPr lang="en-US" sz="1200" b="1">
                <a:solidFill>
                  <a:schemeClr val="tx1"/>
                </a:solidFill>
              </a:rPr>
              <a:pPr algn="ctr">
                <a:defRPr/>
              </a:pPr>
              <a:t>23.002</a:t>
            </a:fld>
            <a:endParaRPr lang="ru-RU" sz="1200" b="1">
              <a:solidFill>
                <a:schemeClr val="tx1"/>
              </a:solidFill>
              <a:sym typeface="Arial"/>
            </a:endParaRPr>
          </a:p>
        </p:txBody>
      </p:sp>
      <p:sp>
        <p:nvSpPr>
          <p:cNvPr id="66200" name="Text Placeholder 48"/>
          <p:cNvSpPr txBox="1">
            <a:spLocks/>
          </p:cNvSpPr>
          <p:nvPr>
            <p:custDataLst>
              <p:tags r:id="rId14"/>
            </p:custDataLst>
          </p:nvPr>
        </p:nvSpPr>
        <p:spPr bwMode="auto">
          <a:xfrm>
            <a:off x="6629400" y="3297238"/>
            <a:ext cx="504825" cy="182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20638" tIns="0" rIns="20638" bIns="0" anchor="b"/>
          <a:lstStyle/>
          <a:p>
            <a:pPr algn="ctr" eaLnBrk="0" hangingPunct="0">
              <a:buClr>
                <a:schemeClr val="hlink"/>
              </a:buClr>
              <a:buFont typeface="Arial" charset="0"/>
              <a:buNone/>
            </a:pPr>
            <a:fld id="{FF4E44C5-AA4F-4F0D-88A9-3453487E960F}" type="datetime'''''17''''''''''''''''''''''''''''''.99''''''''''''''1'''''''">
              <a:rPr lang="en-US" sz="1200" b="1"/>
              <a:pPr algn="ctr" eaLnBrk="0" hangingPunct="0">
                <a:buClr>
                  <a:schemeClr val="hlink"/>
                </a:buClr>
                <a:buFont typeface="Arial" charset="0"/>
                <a:buNone/>
              </a:pPr>
              <a:t>17.991</a:t>
            </a:fld>
            <a:endParaRPr lang="en-US" sz="1200" b="1">
              <a:sym typeface="+mn-lt"/>
            </a:endParaRPr>
          </a:p>
        </p:txBody>
      </p:sp>
      <p:sp>
        <p:nvSpPr>
          <p:cNvPr id="11" name="Прямоугольник 10"/>
          <p:cNvSpPr/>
          <p:nvPr>
            <p:custDataLst>
              <p:tags r:id="rId15"/>
            </p:custDataLst>
          </p:nvPr>
        </p:nvSpPr>
        <p:spPr bwMode="auto">
          <a:xfrm>
            <a:off x="1014413" y="2678113"/>
            <a:ext cx="504825" cy="182562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anchor="b"/>
          <a:lstStyle/>
          <a:p>
            <a:pPr algn="ctr">
              <a:defRPr/>
            </a:pPr>
            <a:fld id="{268771AD-13ED-4619-8F77-AD77F47F2D52}" type="datetime'5''''1''.''''6''2''''''''''''''''''''''''7'''''''''''">
              <a:rPr lang="en-US" sz="1200" b="1">
                <a:solidFill>
                  <a:schemeClr val="tx1"/>
                </a:solidFill>
              </a:rPr>
              <a:pPr algn="ctr">
                <a:defRPr/>
              </a:pPr>
              <a:t>51.627</a:t>
            </a:fld>
            <a:endParaRPr lang="ru-RU" sz="1200" b="1">
              <a:solidFill>
                <a:schemeClr val="tx1"/>
              </a:solidFill>
              <a:sym typeface="Arial"/>
            </a:endParaRPr>
          </a:p>
        </p:txBody>
      </p:sp>
      <p:sp>
        <p:nvSpPr>
          <p:cNvPr id="15" name="Прямоугольник 14"/>
          <p:cNvSpPr/>
          <p:nvPr>
            <p:custDataLst>
              <p:tags r:id="rId16"/>
            </p:custDataLst>
          </p:nvPr>
        </p:nvSpPr>
        <p:spPr bwMode="auto">
          <a:xfrm>
            <a:off x="884238" y="3956050"/>
            <a:ext cx="866775" cy="3048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algn="ctr">
              <a:defRPr/>
            </a:pPr>
            <a:r>
              <a:rPr lang="ru-RU" sz="1000">
                <a:solidFill>
                  <a:schemeClr val="tx1"/>
                </a:solidFill>
                <a:sym typeface="+mn-lt"/>
              </a:rPr>
              <a:t>Цветная металлургия</a:t>
            </a:r>
          </a:p>
        </p:txBody>
      </p:sp>
      <p:sp>
        <p:nvSpPr>
          <p:cNvPr id="16" name="Прямоугольник 15"/>
          <p:cNvSpPr/>
          <p:nvPr>
            <p:custDataLst>
              <p:tags r:id="rId17"/>
            </p:custDataLst>
          </p:nvPr>
        </p:nvSpPr>
        <p:spPr bwMode="auto">
          <a:xfrm>
            <a:off x="2797175" y="3956050"/>
            <a:ext cx="1044575" cy="3048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algn="ctr">
              <a:defRPr/>
            </a:pPr>
            <a:r>
              <a:rPr lang="ru-RU" sz="1000">
                <a:solidFill>
                  <a:schemeClr val="tx1"/>
                </a:solidFill>
                <a:sym typeface="+mn-lt"/>
              </a:rPr>
              <a:t>Угольная промышленность</a:t>
            </a:r>
          </a:p>
        </p:txBody>
      </p:sp>
      <p:sp>
        <p:nvSpPr>
          <p:cNvPr id="17" name="Прямоугольник 16"/>
          <p:cNvSpPr/>
          <p:nvPr>
            <p:custDataLst>
              <p:tags r:id="rId18"/>
            </p:custDataLst>
          </p:nvPr>
        </p:nvSpPr>
        <p:spPr bwMode="auto">
          <a:xfrm>
            <a:off x="4919663" y="3956050"/>
            <a:ext cx="904875" cy="1524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algn="ctr">
              <a:defRPr/>
            </a:pPr>
            <a:r>
              <a:rPr lang="ru-RU" sz="1000">
                <a:solidFill>
                  <a:schemeClr val="tx1"/>
                </a:solidFill>
                <a:sym typeface="+mn-lt"/>
              </a:rPr>
              <a:t>Строительство</a:t>
            </a:r>
          </a:p>
        </p:txBody>
      </p:sp>
      <p:sp>
        <p:nvSpPr>
          <p:cNvPr id="66205" name="Text Placeholder 43"/>
          <p:cNvSpPr txBox="1">
            <a:spLocks/>
          </p:cNvSpPr>
          <p:nvPr>
            <p:custDataLst>
              <p:tags r:id="rId19"/>
            </p:custDataLst>
          </p:nvPr>
        </p:nvSpPr>
        <p:spPr bwMode="auto">
          <a:xfrm>
            <a:off x="476250" y="2954338"/>
            <a:ext cx="504825" cy="182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20638" tIns="0" rIns="20638" bIns="0" anchor="b"/>
          <a:lstStyle/>
          <a:p>
            <a:pPr algn="ctr" eaLnBrk="0" hangingPunct="0">
              <a:buClr>
                <a:schemeClr val="hlink"/>
              </a:buClr>
              <a:buFont typeface="Arial" charset="0"/>
              <a:buNone/>
            </a:pPr>
            <a:fld id="{67F0CCC8-2874-48F8-91B1-8DE2930E8015}" type="datetime'''3''''6''''''''''''''''''''''''.5''''''''''''4''''5'">
              <a:rPr lang="en-US" sz="1200" b="1"/>
              <a:pPr algn="ctr" eaLnBrk="0" hangingPunct="0">
                <a:buClr>
                  <a:schemeClr val="hlink"/>
                </a:buClr>
                <a:buFont typeface="Arial" charset="0"/>
                <a:buNone/>
              </a:pPr>
              <a:t>36.545</a:t>
            </a:fld>
            <a:endParaRPr lang="en-US" sz="1200" b="1">
              <a:sym typeface="Arial" charset="0"/>
            </a:endParaRPr>
          </a:p>
        </p:txBody>
      </p:sp>
      <p:sp>
        <p:nvSpPr>
          <p:cNvPr id="4" name="Rectangle 3"/>
          <p:cNvSpPr/>
          <p:nvPr>
            <p:custDataLst>
              <p:tags r:id="rId20"/>
            </p:custDataLst>
          </p:nvPr>
        </p:nvSpPr>
        <p:spPr bwMode="auto">
          <a:xfrm>
            <a:off x="7394575" y="1968500"/>
            <a:ext cx="179388" cy="1333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3" name="Rectangle 2"/>
          <p:cNvSpPr/>
          <p:nvPr>
            <p:custDataLst>
              <p:tags r:id="rId21"/>
            </p:custDataLst>
          </p:nvPr>
        </p:nvSpPr>
        <p:spPr bwMode="auto">
          <a:xfrm>
            <a:off x="7394575" y="1765300"/>
            <a:ext cx="179388" cy="133350"/>
          </a:xfrm>
          <a:prstGeom prst="rect">
            <a:avLst/>
          </a:prstGeom>
          <a:solidFill>
            <a:srgbClr val="6F8DB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0" name="Прямоугольник 9"/>
          <p:cNvSpPr/>
          <p:nvPr>
            <p:custDataLst>
              <p:tags r:id="rId22"/>
            </p:custDataLst>
          </p:nvPr>
        </p:nvSpPr>
        <p:spPr bwMode="auto">
          <a:xfrm>
            <a:off x="7394575" y="2171700"/>
            <a:ext cx="179388" cy="133350"/>
          </a:xfrm>
          <a:prstGeom prst="rect">
            <a:avLst/>
          </a:prstGeom>
          <a:solidFill>
            <a:srgbClr val="939393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5" name="Прямоугольник 4"/>
          <p:cNvSpPr/>
          <p:nvPr>
            <p:custDataLst>
              <p:tags r:id="rId23"/>
            </p:custDataLst>
          </p:nvPr>
        </p:nvSpPr>
        <p:spPr bwMode="auto">
          <a:xfrm>
            <a:off x="7624763" y="2168525"/>
            <a:ext cx="279400" cy="1524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>
              <a:defRPr/>
            </a:pPr>
            <a:fld id="{E4A50AF7-B54E-44AE-AE67-69949C83A6E7}" type="datetime'''2''''''''''''0''''''''''''''''3''0'''''">
              <a:rPr lang="en-US" sz="1000">
                <a:solidFill>
                  <a:schemeClr val="tx1"/>
                </a:solidFill>
              </a:rPr>
              <a:pPr>
                <a:defRPr/>
              </a:pPr>
              <a:t>2030</a:t>
            </a:fld>
            <a:endParaRPr lang="ru-RU" sz="1000">
              <a:solidFill>
                <a:schemeClr val="tx1"/>
              </a:solidFill>
              <a:sym typeface="Arial"/>
            </a:endParaRPr>
          </a:p>
        </p:txBody>
      </p:sp>
      <p:sp>
        <p:nvSpPr>
          <p:cNvPr id="66210" name="Text Placeholder 66"/>
          <p:cNvSpPr txBox="1">
            <a:spLocks/>
          </p:cNvSpPr>
          <p:nvPr>
            <p:custDataLst>
              <p:tags r:id="rId24"/>
            </p:custDataLst>
          </p:nvPr>
        </p:nvSpPr>
        <p:spPr bwMode="auto">
          <a:xfrm>
            <a:off x="7624763" y="1965325"/>
            <a:ext cx="2794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eaLnBrk="0" hangingPunct="0">
              <a:buClr>
                <a:schemeClr val="hlink"/>
              </a:buClr>
              <a:buFont typeface="Arial" charset="0"/>
              <a:buNone/>
            </a:pPr>
            <a:fld id="{3A585CC7-16E2-4057-A492-42FCC4D5B310}" type="datetime'''202''''''''''''''''''''''''''''''''0'''''''''''''''">
              <a:rPr lang="en-US" sz="1000"/>
              <a:pPr eaLnBrk="0" hangingPunct="0">
                <a:buClr>
                  <a:schemeClr val="hlink"/>
                </a:buClr>
                <a:buFont typeface="Arial" charset="0"/>
                <a:buNone/>
              </a:pPr>
              <a:t>2020</a:t>
            </a:fld>
            <a:endParaRPr lang="en-US" sz="1000">
              <a:sym typeface="Arial" charset="0"/>
            </a:endParaRPr>
          </a:p>
        </p:txBody>
      </p:sp>
      <p:sp>
        <p:nvSpPr>
          <p:cNvPr id="66211" name="Text Placeholder 65"/>
          <p:cNvSpPr txBox="1">
            <a:spLocks/>
          </p:cNvSpPr>
          <p:nvPr>
            <p:custDataLst>
              <p:tags r:id="rId25"/>
            </p:custDataLst>
          </p:nvPr>
        </p:nvSpPr>
        <p:spPr bwMode="auto">
          <a:xfrm>
            <a:off x="7624763" y="1762125"/>
            <a:ext cx="2794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eaLnBrk="0" hangingPunct="0">
              <a:buClr>
                <a:schemeClr val="hlink"/>
              </a:buClr>
              <a:buFont typeface="Arial" charset="0"/>
              <a:buNone/>
            </a:pPr>
            <a:fld id="{A6CBF361-5E7E-4CCB-8622-D3ECEC04EAF1}" type="datetime'''''''''''''''2''''''0''''1''''''''''''''''''''2'''''''''">
              <a:rPr lang="en-US" sz="1000"/>
              <a:pPr eaLnBrk="0" hangingPunct="0">
                <a:buClr>
                  <a:schemeClr val="hlink"/>
                </a:buClr>
                <a:buFont typeface="Arial" charset="0"/>
                <a:buNone/>
              </a:pPr>
              <a:t>2012</a:t>
            </a:fld>
            <a:endParaRPr lang="en-US" sz="1000">
              <a:sym typeface="+mn-lt"/>
            </a:endParaRPr>
          </a:p>
        </p:txBody>
      </p:sp>
      <p:sp>
        <p:nvSpPr>
          <p:cNvPr id="66212" name="TextBox 38"/>
          <p:cNvSpPr txBox="1">
            <a:spLocks noChangeArrowheads="1"/>
          </p:cNvSpPr>
          <p:nvPr/>
        </p:nvSpPr>
        <p:spPr bwMode="auto">
          <a:xfrm>
            <a:off x="552450" y="4351338"/>
            <a:ext cx="7815263" cy="1035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400" b="1"/>
              <a:t>Факторы влияющие на выручку добывающих отраслей:</a:t>
            </a:r>
          </a:p>
          <a:p>
            <a:pPr>
              <a:buFont typeface="Arial" charset="0"/>
              <a:buChar char="•"/>
            </a:pPr>
            <a:r>
              <a:rPr lang="ru-RU" sz="1200"/>
              <a:t>Наращивание добычи золота (до 80%)</a:t>
            </a:r>
          </a:p>
          <a:p>
            <a:pPr>
              <a:buFont typeface="Arial" charset="0"/>
              <a:buChar char="•"/>
            </a:pPr>
            <a:r>
              <a:rPr lang="ru-RU" sz="1200"/>
              <a:t>Начало добычи на Амаамском и Верхне-Алькатваамском месторождениях (до 12 млн. тонн)</a:t>
            </a:r>
          </a:p>
          <a:p>
            <a:pPr>
              <a:buFont typeface="Arial" charset="0"/>
              <a:buChar char="•"/>
            </a:pPr>
            <a:r>
              <a:rPr lang="ru-RU" sz="1200"/>
              <a:t>Начало добычи меди на месторождении Песчанка (до 200 тыс. тонн)</a:t>
            </a:r>
          </a:p>
          <a:p>
            <a:pPr>
              <a:buFont typeface="Arial" charset="0"/>
              <a:buChar char="•"/>
            </a:pPr>
            <a:r>
              <a:rPr lang="ru-RU" sz="1200"/>
              <a:t>Снижение прогнозных цен на цветные металлы</a:t>
            </a:r>
          </a:p>
        </p:txBody>
      </p:sp>
      <p:sp>
        <p:nvSpPr>
          <p:cNvPr id="66213" name="Text Box 3"/>
          <p:cNvSpPr txBox="1">
            <a:spLocks noChangeArrowheads="1"/>
          </p:cNvSpPr>
          <p:nvPr/>
        </p:nvSpPr>
        <p:spPr bwMode="auto">
          <a:xfrm>
            <a:off x="395288" y="1125538"/>
            <a:ext cx="603885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0" hangingPunct="0"/>
            <a:r>
              <a:rPr lang="ru-RU" sz="1600" b="1"/>
              <a:t>Выручка основных отраслей экономики Округа в 2030*, </a:t>
            </a:r>
            <a:r>
              <a:rPr lang="ru-RU" sz="1600"/>
              <a:t>млн. руб.</a:t>
            </a:r>
          </a:p>
        </p:txBody>
      </p:sp>
      <p:sp>
        <p:nvSpPr>
          <p:cNvPr id="66214" name="Text Box 37"/>
          <p:cNvSpPr txBox="1">
            <a:spLocks noChangeArrowheads="1"/>
          </p:cNvSpPr>
          <p:nvPr/>
        </p:nvSpPr>
        <p:spPr bwMode="auto">
          <a:xfrm>
            <a:off x="179388" y="5581650"/>
            <a:ext cx="8267700" cy="665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r>
              <a:rPr lang="ru-RU" sz="1000"/>
              <a:t>	  * Оптимистичный вариант развития экономики округа подразумевает полное выполнение инвестиционных программ</a:t>
            </a:r>
          </a:p>
          <a:p>
            <a:r>
              <a:rPr lang="ru-RU" sz="1000"/>
              <a:t>                               по добыче золота и развитию Амаамского месторождения</a:t>
            </a:r>
          </a:p>
          <a:p>
            <a:r>
              <a:rPr lang="ru-RU" sz="1000"/>
              <a:t>	** Социальная сфера: государственное управление, образование, здравоохранение</a:t>
            </a:r>
          </a:p>
        </p:txBody>
      </p:sp>
      <p:sp>
        <p:nvSpPr>
          <p:cNvPr id="66215" name="Line 680"/>
          <p:cNvSpPr>
            <a:spLocks noChangeShapeType="1"/>
          </p:cNvSpPr>
          <p:nvPr/>
        </p:nvSpPr>
        <p:spPr bwMode="auto">
          <a:xfrm flipV="1">
            <a:off x="138113" y="939800"/>
            <a:ext cx="8899525" cy="7938"/>
          </a:xfrm>
          <a:prstGeom prst="line">
            <a:avLst/>
          </a:prstGeom>
          <a:noFill/>
          <a:ln w="9525">
            <a:solidFill>
              <a:srgbClr val="C0C0C0"/>
            </a:solidFill>
            <a:round/>
            <a:headEnd/>
            <a:tailEnd/>
          </a:ln>
          <a:effectLst>
            <a:prstShdw prst="shdw17" dist="17961" dir="2700000">
              <a:srgbClr val="737373"/>
            </a:prstShdw>
          </a:effectLst>
        </p:spPr>
        <p:txBody>
          <a:bodyPr/>
          <a:lstStyle/>
          <a:p>
            <a:endParaRPr lang="ru-RU"/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710" name="Object 65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45710" name="think-cell Slide" r:id="rId47" imgW="360" imgH="360" progId="">
              <p:embed/>
            </p:oleObj>
          </a:graphicData>
        </a:graphic>
      </p:graphicFrame>
      <p:sp>
        <p:nvSpPr>
          <p:cNvPr id="45712" name="Rectangle 1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9525" algn="ctr">
            <a:solidFill>
              <a:schemeClr val="tx1"/>
            </a:solidFill>
            <a:round/>
            <a:headEnd/>
            <a:tailEnd type="triangle" w="med" len="med"/>
          </a:ln>
        </p:spPr>
        <p:txBody>
          <a:bodyPr wrap="none" lIns="0" tIns="0" rIns="0" bIns="0"/>
          <a:lstStyle/>
          <a:p>
            <a:endParaRPr lang="en-US" sz="1200" b="1">
              <a:sym typeface="Arial" charset="0"/>
            </a:endParaRPr>
          </a:p>
        </p:txBody>
      </p:sp>
      <p:sp>
        <p:nvSpPr>
          <p:cNvPr id="45713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ru-RU" smtClean="0"/>
              <a:t>В результате реализации стратегии доля добывающей промышленности превысит 55%</a:t>
            </a:r>
          </a:p>
        </p:txBody>
      </p:sp>
      <p:sp>
        <p:nvSpPr>
          <p:cNvPr id="45714" name="Rectangle 23"/>
          <p:cNvSpPr>
            <a:spLocks noChangeArrowheads="1"/>
          </p:cNvSpPr>
          <p:nvPr/>
        </p:nvSpPr>
        <p:spPr bwMode="auto">
          <a:xfrm rot="10800000">
            <a:off x="250825" y="4413250"/>
            <a:ext cx="504825" cy="882650"/>
          </a:xfrm>
          <a:prstGeom prst="rect">
            <a:avLst/>
          </a:prstGeom>
          <a:solidFill>
            <a:srgbClr val="99CCFF"/>
          </a:solidFill>
          <a:ln w="9525" algn="ctr">
            <a:solidFill>
              <a:schemeClr val="bg1"/>
            </a:solidFill>
            <a:miter lim="800000"/>
            <a:headEnd/>
            <a:tailEnd/>
          </a:ln>
        </p:spPr>
        <p:txBody>
          <a:bodyPr vert="eaVert" anchor="ctr"/>
          <a:lstStyle/>
          <a:p>
            <a:pPr algn="ctr"/>
            <a:r>
              <a:rPr lang="ru-RU"/>
              <a:t>Базовые сектора экономики</a:t>
            </a:r>
          </a:p>
        </p:txBody>
      </p:sp>
      <p:sp>
        <p:nvSpPr>
          <p:cNvPr id="45715" name="Rectangle 24"/>
          <p:cNvSpPr>
            <a:spLocks noChangeArrowheads="1"/>
          </p:cNvSpPr>
          <p:nvPr/>
        </p:nvSpPr>
        <p:spPr bwMode="auto">
          <a:xfrm rot="10800000">
            <a:off x="250825" y="1889125"/>
            <a:ext cx="504825" cy="2513013"/>
          </a:xfrm>
          <a:prstGeom prst="rect">
            <a:avLst/>
          </a:prstGeom>
          <a:solidFill>
            <a:srgbClr val="99CCFF"/>
          </a:solidFill>
          <a:ln w="9525" algn="ctr">
            <a:solidFill>
              <a:schemeClr val="bg1"/>
            </a:solidFill>
            <a:miter lim="800000"/>
            <a:headEnd/>
            <a:tailEnd/>
          </a:ln>
        </p:spPr>
        <p:txBody>
          <a:bodyPr vert="eaVert" wrap="none" anchor="ctr"/>
          <a:lstStyle/>
          <a:p>
            <a:pPr marL="342900" indent="-342900" algn="ctr"/>
            <a:r>
              <a:rPr lang="ru-RU"/>
              <a:t>Поддерживающие  сектора экономики</a:t>
            </a:r>
          </a:p>
        </p:txBody>
      </p:sp>
      <p:sp>
        <p:nvSpPr>
          <p:cNvPr id="45716" name="Rectangle 94"/>
          <p:cNvSpPr>
            <a:spLocks noChangeArrowheads="1"/>
          </p:cNvSpPr>
          <p:nvPr/>
        </p:nvSpPr>
        <p:spPr bwMode="auto">
          <a:xfrm>
            <a:off x="7078663" y="1196975"/>
            <a:ext cx="1839912" cy="287338"/>
          </a:xfrm>
          <a:prstGeom prst="rect">
            <a:avLst/>
          </a:prstGeom>
          <a:noFill/>
          <a:ln w="9525" algn="ctr">
            <a:solidFill>
              <a:schemeClr val="tx1"/>
            </a:solidFill>
            <a:round/>
            <a:headEnd/>
            <a:tailEnd type="triangle" w="med" len="med"/>
          </a:ln>
        </p:spPr>
        <p:txBody>
          <a:bodyPr lIns="18288" rIns="18288" anchor="ctr"/>
          <a:lstStyle/>
          <a:p>
            <a:pPr marL="342900" indent="-342900" algn="ctr"/>
            <a:r>
              <a:rPr lang="ru-RU" sz="1200" b="1"/>
              <a:t>ПРОГНОЗНЫЙ РАСЧЕТ</a:t>
            </a:r>
            <a:endParaRPr lang="en-US" sz="1200" b="1"/>
          </a:p>
        </p:txBody>
      </p:sp>
      <p:graphicFrame>
        <p:nvGraphicFramePr>
          <p:cNvPr id="45711" name="Object 655"/>
          <p:cNvGraphicFramePr>
            <a:graphicFrameLocks/>
          </p:cNvGraphicFramePr>
          <p:nvPr>
            <p:custDataLst>
              <p:tags r:id="rId4"/>
            </p:custDataLst>
          </p:nvPr>
        </p:nvGraphicFramePr>
        <p:xfrm>
          <a:off x="2019300" y="1752600"/>
          <a:ext cx="6543675" cy="3695700"/>
        </p:xfrm>
        <a:graphic>
          <a:graphicData uri="http://schemas.openxmlformats.org/presentationml/2006/ole">
            <p:oleObj spid="_x0000_s45711" name="Диаграмма" r:id="rId48" imgW="6543637" imgH="3695661" progId="MSGraph.Chart.8">
              <p:embed followColorScheme="full"/>
            </p:oleObj>
          </a:graphicData>
        </a:graphic>
      </p:graphicFrame>
      <p:cxnSp>
        <p:nvCxnSpPr>
          <p:cNvPr id="11" name="Прямая соединительная линия 10"/>
          <p:cNvCxnSpPr/>
          <p:nvPr>
            <p:custDataLst>
              <p:tags r:id="rId5"/>
            </p:custDataLst>
          </p:nvPr>
        </p:nvCxnSpPr>
        <p:spPr bwMode="auto">
          <a:xfrm flipH="1" flipV="1">
            <a:off x="8115300" y="3343275"/>
            <a:ext cx="95250" cy="106363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718" name="Straight Connector 3"/>
          <p:cNvCxnSpPr>
            <a:cxnSpLocks noChangeShapeType="1"/>
          </p:cNvCxnSpPr>
          <p:nvPr>
            <p:custDataLst>
              <p:tags r:id="rId6"/>
            </p:custDataLst>
          </p:nvPr>
        </p:nvCxnSpPr>
        <p:spPr bwMode="auto">
          <a:xfrm flipH="1">
            <a:off x="8242300" y="1885950"/>
            <a:ext cx="203200" cy="0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 type="triangle" w="med" len="med"/>
          </a:ln>
        </p:spPr>
      </p:cxnSp>
      <p:cxnSp>
        <p:nvCxnSpPr>
          <p:cNvPr id="12" name="Прямая соединительная линия 11"/>
          <p:cNvCxnSpPr/>
          <p:nvPr>
            <p:custDataLst>
              <p:tags r:id="rId7"/>
            </p:custDataLst>
          </p:nvPr>
        </p:nvCxnSpPr>
        <p:spPr bwMode="auto">
          <a:xfrm flipH="1">
            <a:off x="8115300" y="3084513"/>
            <a:ext cx="95250" cy="106362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единительная линия 26"/>
          <p:cNvCxnSpPr/>
          <p:nvPr>
            <p:custDataLst>
              <p:tags r:id="rId8"/>
            </p:custDataLst>
          </p:nvPr>
        </p:nvCxnSpPr>
        <p:spPr bwMode="auto">
          <a:xfrm flipH="1">
            <a:off x="6534150" y="3324225"/>
            <a:ext cx="95250" cy="0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единительная линия 12"/>
          <p:cNvCxnSpPr/>
          <p:nvPr>
            <p:custDataLst>
              <p:tags r:id="rId9"/>
            </p:custDataLst>
          </p:nvPr>
        </p:nvCxnSpPr>
        <p:spPr bwMode="auto">
          <a:xfrm flipH="1">
            <a:off x="8115300" y="3267075"/>
            <a:ext cx="95250" cy="28575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722" name="Text Placeholder 4"/>
          <p:cNvSpPr txBox="1">
            <a:spLocks/>
          </p:cNvSpPr>
          <p:nvPr>
            <p:custDataLst>
              <p:tags r:id="rId10"/>
            </p:custDataLst>
          </p:nvPr>
        </p:nvSpPr>
        <p:spPr bwMode="auto">
          <a:xfrm>
            <a:off x="8496300" y="1809750"/>
            <a:ext cx="32226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eaLnBrk="0" hangingPunct="0"/>
            <a:fld id="{14B829FF-0980-4D1E-93AD-CF6DD3B8D995}" type="datetime'''1''''''''''0''''0''%'''''''''''''''''''''''''">
              <a:rPr lang="en-US" sz="1000"/>
              <a:pPr eaLnBrk="0" hangingPunct="0"/>
              <a:t>100%</a:t>
            </a:fld>
            <a:endParaRPr lang="en-US" sz="1000">
              <a:sym typeface="+mn-lt"/>
            </a:endParaRPr>
          </a:p>
        </p:txBody>
      </p:sp>
      <p:sp>
        <p:nvSpPr>
          <p:cNvPr id="45723" name="Text Placeholder 30"/>
          <p:cNvSpPr txBox="1">
            <a:spLocks/>
          </p:cNvSpPr>
          <p:nvPr>
            <p:custDataLst>
              <p:tags r:id="rId11"/>
            </p:custDataLst>
          </p:nvPr>
        </p:nvSpPr>
        <p:spPr bwMode="auto">
          <a:xfrm>
            <a:off x="1014413" y="4976813"/>
            <a:ext cx="1265237" cy="182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r" eaLnBrk="0" hangingPunct="0"/>
            <a:fld id="{3C8ED0C1-0362-43DD-B819-7854FEED7EA5}" type="datetime'''П''''р''о''мы''''шл''''ен''''''''нос''''''ть'''''''''">
              <a:rPr lang="en-US" sz="1200"/>
              <a:pPr algn="r" eaLnBrk="0" hangingPunct="0"/>
              <a:t>Промышленность</a:t>
            </a:fld>
            <a:endParaRPr lang="en-US" sz="1200">
              <a:sym typeface="Arial" charset="0"/>
            </a:endParaRPr>
          </a:p>
        </p:txBody>
      </p:sp>
      <p:sp>
        <p:nvSpPr>
          <p:cNvPr id="45724" name="Text Placeholder 28"/>
          <p:cNvSpPr txBox="1">
            <a:spLocks/>
          </p:cNvSpPr>
          <p:nvPr>
            <p:custDataLst>
              <p:tags r:id="rId12"/>
            </p:custDataLst>
          </p:nvPr>
        </p:nvSpPr>
        <p:spPr bwMode="auto">
          <a:xfrm>
            <a:off x="854075" y="4586288"/>
            <a:ext cx="1425575" cy="182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r" eaLnBrk="0" hangingPunct="0"/>
            <a:fld id="{683C48A5-CB41-4A9D-9E33-2A4FC527D788}" type="datetime'Се''''''''''ль''''''с''''к''ое'''' ''хоз''я''йст''''в''о'">
              <a:rPr lang="en-US" sz="1200"/>
              <a:pPr algn="r" eaLnBrk="0" hangingPunct="0"/>
              <a:t>Сельское хозяйство</a:t>
            </a:fld>
            <a:endParaRPr lang="en-US" sz="1200">
              <a:sym typeface="Arial" charset="0"/>
            </a:endParaRPr>
          </a:p>
        </p:txBody>
      </p:sp>
      <p:sp>
        <p:nvSpPr>
          <p:cNvPr id="45725" name="Text Placeholder 26"/>
          <p:cNvSpPr txBox="1">
            <a:spLocks/>
          </p:cNvSpPr>
          <p:nvPr>
            <p:custDataLst>
              <p:tags r:id="rId13"/>
            </p:custDataLst>
          </p:nvPr>
        </p:nvSpPr>
        <p:spPr bwMode="auto">
          <a:xfrm>
            <a:off x="1212850" y="4200525"/>
            <a:ext cx="106680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r" eaLnBrk="0" hangingPunct="0"/>
            <a:fld id="{67E1B286-6E8A-4C0A-A9BB-7E12F7C9278E}" type="datetime'''Ст''''р''о''ите''''''''л''''''''''''''''''''''''ьство'''''''">
              <a:rPr lang="en-US" sz="1200"/>
              <a:pPr algn="r" eaLnBrk="0" hangingPunct="0"/>
              <a:t>Строительство</a:t>
            </a:fld>
            <a:endParaRPr lang="en-US" sz="1200">
              <a:sym typeface="Arial" charset="0"/>
            </a:endParaRPr>
          </a:p>
        </p:txBody>
      </p:sp>
      <p:sp>
        <p:nvSpPr>
          <p:cNvPr id="45726" name="Text Placeholder 24"/>
          <p:cNvSpPr txBox="1">
            <a:spLocks/>
          </p:cNvSpPr>
          <p:nvPr>
            <p:custDataLst>
              <p:tags r:id="rId14"/>
            </p:custDataLst>
          </p:nvPr>
        </p:nvSpPr>
        <p:spPr bwMode="auto">
          <a:xfrm>
            <a:off x="1536700" y="3824288"/>
            <a:ext cx="742950" cy="182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r" eaLnBrk="0" hangingPunct="0"/>
            <a:fld id="{AC088854-07DE-4106-AA79-3AC51082C8E9}" type="datetime'''''Т''р''''''''''''''''а''н''с''''''''''п''''''ор''т'''''">
              <a:rPr lang="en-US" sz="1200"/>
              <a:pPr algn="r" eaLnBrk="0" hangingPunct="0"/>
              <a:t>Транспорт</a:t>
            </a:fld>
            <a:endParaRPr lang="en-US" sz="1200">
              <a:sym typeface="Arial" charset="0"/>
            </a:endParaRPr>
          </a:p>
        </p:txBody>
      </p:sp>
      <p:sp>
        <p:nvSpPr>
          <p:cNvPr id="45727" name="Text Placeholder 22"/>
          <p:cNvSpPr txBox="1">
            <a:spLocks/>
          </p:cNvSpPr>
          <p:nvPr>
            <p:custDataLst>
              <p:tags r:id="rId15"/>
            </p:custDataLst>
          </p:nvPr>
        </p:nvSpPr>
        <p:spPr bwMode="auto">
          <a:xfrm>
            <a:off x="1857375" y="3590925"/>
            <a:ext cx="42227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r" eaLnBrk="0" hangingPunct="0"/>
            <a:fld id="{E22E20C6-6D70-4D30-AC5D-EADF6892E662}" type="datetime'''С''''''''''''в''''''''''''''я''''''''''зь'''''''''''">
              <a:rPr lang="en-US" sz="1200"/>
              <a:pPr algn="r" eaLnBrk="0" hangingPunct="0"/>
              <a:t>Связь</a:t>
            </a:fld>
            <a:endParaRPr lang="en-US" sz="1200">
              <a:sym typeface="Arial" charset="0"/>
            </a:endParaRPr>
          </a:p>
        </p:txBody>
      </p:sp>
      <p:sp>
        <p:nvSpPr>
          <p:cNvPr id="45728" name="Text Placeholder 20"/>
          <p:cNvSpPr txBox="1">
            <a:spLocks/>
          </p:cNvSpPr>
          <p:nvPr>
            <p:custDataLst>
              <p:tags r:id="rId16"/>
            </p:custDataLst>
          </p:nvPr>
        </p:nvSpPr>
        <p:spPr bwMode="auto">
          <a:xfrm>
            <a:off x="1625600" y="3357563"/>
            <a:ext cx="654050" cy="182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r" eaLnBrk="0" hangingPunct="0"/>
            <a:fld id="{2C3CFB23-4B34-41BD-92B5-E5CF2FA05D3C}" type="datetime'''''''''''То''''р''''''''г''''о''''в''''ля'''''''''''''''''">
              <a:rPr lang="en-US" sz="1200"/>
              <a:pPr algn="r" eaLnBrk="0" hangingPunct="0"/>
              <a:t>Торговля</a:t>
            </a:fld>
            <a:endParaRPr lang="en-US" sz="1200">
              <a:sym typeface="Arial" charset="0"/>
            </a:endParaRPr>
          </a:p>
        </p:txBody>
      </p:sp>
      <p:sp>
        <p:nvSpPr>
          <p:cNvPr id="45729" name="Text Placeholder 17"/>
          <p:cNvSpPr txBox="1">
            <a:spLocks/>
          </p:cNvSpPr>
          <p:nvPr>
            <p:custDataLst>
              <p:tags r:id="rId17"/>
            </p:custDataLst>
          </p:nvPr>
        </p:nvSpPr>
        <p:spPr bwMode="auto">
          <a:xfrm>
            <a:off x="1000125" y="3067050"/>
            <a:ext cx="127952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r" eaLnBrk="0" hangingPunct="0"/>
            <a:fld id="{1CCC4EFF-E020-4FB2-826A-6CFEF2243B63}" type="datetime'''Ж''КХ и'' э''н''''е''''р''''''''''г''етик''''''''''''''''а'">
              <a:rPr lang="en-US" sz="1200"/>
              <a:pPr algn="r" eaLnBrk="0" hangingPunct="0"/>
              <a:t>ЖКХ и энергетика</a:t>
            </a:fld>
            <a:endParaRPr lang="en-US" sz="1200">
              <a:sym typeface="Arial" charset="0"/>
            </a:endParaRPr>
          </a:p>
        </p:txBody>
      </p:sp>
      <p:sp>
        <p:nvSpPr>
          <p:cNvPr id="45730" name="Text Placeholder 15"/>
          <p:cNvSpPr txBox="1">
            <a:spLocks/>
          </p:cNvSpPr>
          <p:nvPr>
            <p:custDataLst>
              <p:tags r:id="rId18"/>
            </p:custDataLst>
          </p:nvPr>
        </p:nvSpPr>
        <p:spPr bwMode="auto">
          <a:xfrm>
            <a:off x="854075" y="2386013"/>
            <a:ext cx="1425575" cy="182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r" eaLnBrk="0" hangingPunct="0"/>
            <a:fld id="{E3C9486E-D2FC-4675-9C37-8C7353FD2DA9}" type="datetime'''С''о''''''циа''''л''ьная'' ''с''ф''''''ер''''''а''*'''">
              <a:rPr lang="en-US" sz="1200"/>
              <a:pPr algn="r" eaLnBrk="0" hangingPunct="0"/>
              <a:t>Социальная сфера*</a:t>
            </a:fld>
            <a:r>
              <a:rPr lang="ru-RU" sz="1200"/>
              <a:t>*</a:t>
            </a:r>
            <a:endParaRPr lang="en-US" sz="1200">
              <a:sym typeface="+mn-lt"/>
            </a:endParaRPr>
          </a:p>
        </p:txBody>
      </p:sp>
      <p:sp>
        <p:nvSpPr>
          <p:cNvPr id="3" name="Прямоугольник 2"/>
          <p:cNvSpPr/>
          <p:nvPr>
            <p:custDataLst>
              <p:tags r:id="rId19"/>
            </p:custDataLst>
          </p:nvPr>
        </p:nvSpPr>
        <p:spPr bwMode="auto">
          <a:xfrm>
            <a:off x="7488238" y="5426075"/>
            <a:ext cx="3492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algn="ctr">
              <a:defRPr/>
            </a:pPr>
            <a:fld id="{62B1F66C-3865-4688-84A6-73C7716291B6}" type="datetime'20''''''''''''''''''''''''''''''''''''3''''''0'''''''">
              <a:rPr lang="en-US" sz="1200">
                <a:solidFill>
                  <a:schemeClr val="tx1"/>
                </a:solidFill>
              </a:rPr>
              <a:pPr algn="ctr">
                <a:defRPr/>
              </a:pPr>
              <a:t>2030</a:t>
            </a:fld>
            <a:endParaRPr lang="ru-RU" sz="1200">
              <a:solidFill>
                <a:schemeClr val="tx1"/>
              </a:solidFill>
              <a:sym typeface="Arial"/>
            </a:endParaRPr>
          </a:p>
        </p:txBody>
      </p:sp>
      <p:sp>
        <p:nvSpPr>
          <p:cNvPr id="14" name="Прямоугольник 13"/>
          <p:cNvSpPr/>
          <p:nvPr>
            <p:custDataLst>
              <p:tags r:id="rId20"/>
            </p:custDataLst>
          </p:nvPr>
        </p:nvSpPr>
        <p:spPr bwMode="auto">
          <a:xfrm>
            <a:off x="7369175" y="1677988"/>
            <a:ext cx="588963" cy="182562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anchor="b"/>
          <a:lstStyle/>
          <a:p>
            <a:pPr algn="ctr">
              <a:defRPr/>
            </a:pPr>
            <a:fld id="{327AFF02-3282-40F2-BD99-80B3F3D5EF64}" type="datetime'''''1''''''''''''''7''''''''''''''7''''.''''''00''''''''9'''''">
              <a:rPr lang="en-US" sz="1200" b="1">
                <a:solidFill>
                  <a:schemeClr val="tx1"/>
                </a:solidFill>
              </a:rPr>
              <a:pPr algn="ctr">
                <a:defRPr/>
              </a:pPr>
              <a:t>177.009</a:t>
            </a:fld>
            <a:endParaRPr lang="ru-RU" sz="1200" b="1">
              <a:solidFill>
                <a:schemeClr val="tx1"/>
              </a:solidFill>
              <a:sym typeface="Arial"/>
            </a:endParaRPr>
          </a:p>
        </p:txBody>
      </p:sp>
      <p:sp>
        <p:nvSpPr>
          <p:cNvPr id="15" name="Прямоугольник 14"/>
          <p:cNvSpPr/>
          <p:nvPr>
            <p:custDataLst>
              <p:tags r:id="rId21"/>
            </p:custDataLst>
          </p:nvPr>
        </p:nvSpPr>
        <p:spPr bwMode="gray">
          <a:xfrm>
            <a:off x="7491413" y="4229100"/>
            <a:ext cx="344487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anchor="ctr"/>
          <a:lstStyle/>
          <a:p>
            <a:pPr algn="ctr">
              <a:defRPr/>
            </a:pPr>
            <a:fld id="{E8A6D2DA-CFF5-41DF-9765-A0CE27B221C5}" type="datetime'5''''''''''''''''''''''''''7''''''''''''''''''''%'">
              <a:rPr lang="en-US" sz="1200">
                <a:solidFill>
                  <a:schemeClr val="bg1"/>
                </a:solidFill>
              </a:rPr>
              <a:pPr algn="ctr">
                <a:defRPr/>
              </a:pPr>
              <a:t>57%</a:t>
            </a:fld>
            <a:endParaRPr lang="ru-RU" sz="1200">
              <a:solidFill>
                <a:schemeClr val="bg1"/>
              </a:solidFill>
              <a:sym typeface="Arial"/>
            </a:endParaRPr>
          </a:p>
        </p:txBody>
      </p:sp>
      <p:sp>
        <p:nvSpPr>
          <p:cNvPr id="18" name="Прямоугольник 17"/>
          <p:cNvSpPr/>
          <p:nvPr>
            <p:custDataLst>
              <p:tags r:id="rId22"/>
            </p:custDataLst>
          </p:nvPr>
        </p:nvSpPr>
        <p:spPr bwMode="gray">
          <a:xfrm>
            <a:off x="7267575" y="3138488"/>
            <a:ext cx="260350" cy="182562"/>
          </a:xfrm>
          <a:prstGeom prst="rect">
            <a:avLst/>
          </a:prstGeom>
          <a:solidFill>
            <a:srgbClr val="0B3A73"/>
          </a:solidFill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anchor="ctr"/>
          <a:lstStyle/>
          <a:p>
            <a:pPr algn="ctr">
              <a:defRPr/>
            </a:pPr>
            <a:fld id="{C039AC2F-4036-405D-B4AF-7BF029E3E8C6}" type="datetime'2''''''''''''''''''''''''''''''''''''''''''''%'''''''''''''">
              <a:rPr lang="en-US" sz="1200">
                <a:solidFill>
                  <a:schemeClr val="bg1"/>
                </a:solidFill>
              </a:rPr>
              <a:pPr algn="ctr">
                <a:defRPr/>
              </a:pPr>
              <a:t>2%</a:t>
            </a:fld>
            <a:endParaRPr lang="ru-RU" sz="1200">
              <a:solidFill>
                <a:schemeClr val="bg1"/>
              </a:solidFill>
              <a:sym typeface="Arial"/>
            </a:endParaRPr>
          </a:p>
        </p:txBody>
      </p:sp>
      <p:sp>
        <p:nvSpPr>
          <p:cNvPr id="19488" name="Прямоугольник 19487"/>
          <p:cNvSpPr/>
          <p:nvPr>
            <p:custDataLst>
              <p:tags r:id="rId23"/>
            </p:custDataLst>
          </p:nvPr>
        </p:nvSpPr>
        <p:spPr bwMode="gray">
          <a:xfrm>
            <a:off x="7796213" y="3038475"/>
            <a:ext cx="260350" cy="182563"/>
          </a:xfrm>
          <a:prstGeom prst="rect">
            <a:avLst/>
          </a:prstGeom>
          <a:solidFill>
            <a:srgbClr val="6F8DB9"/>
          </a:solidFill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anchor="ctr"/>
          <a:lstStyle/>
          <a:p>
            <a:pPr algn="ctr">
              <a:defRPr/>
            </a:pPr>
            <a:fld id="{42B09CE0-4259-4D21-9437-3B54BBE9018E}" type="datetime'''''''''''''''''''''''''''3''''''''''''%'''''''">
              <a:rPr lang="en-US" sz="1200">
                <a:solidFill>
                  <a:schemeClr val="bg1"/>
                </a:solidFill>
              </a:rPr>
              <a:pPr algn="ctr">
                <a:defRPr/>
              </a:pPr>
              <a:t>3%</a:t>
            </a:fld>
            <a:endParaRPr lang="ru-RU" sz="1200">
              <a:solidFill>
                <a:schemeClr val="bg1"/>
              </a:solidFill>
              <a:sym typeface="Arial"/>
            </a:endParaRPr>
          </a:p>
        </p:txBody>
      </p:sp>
      <p:sp>
        <p:nvSpPr>
          <p:cNvPr id="45736" name="Text Placeholder 7"/>
          <p:cNvSpPr txBox="1">
            <a:spLocks/>
          </p:cNvSpPr>
          <p:nvPr>
            <p:custDataLst>
              <p:tags r:id="rId24"/>
            </p:custDataLst>
          </p:nvPr>
        </p:nvSpPr>
        <p:spPr bwMode="auto">
          <a:xfrm>
            <a:off x="5911850" y="5426075"/>
            <a:ext cx="34925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 eaLnBrk="0" hangingPunct="0"/>
            <a:fld id="{B4786781-35AA-4F36-A041-247ED460FE96}" type="datetime'''''''''''2''0''''''2''''''''''''''''''0'">
              <a:rPr lang="en-US" sz="1200"/>
              <a:pPr algn="ctr" eaLnBrk="0" hangingPunct="0"/>
              <a:t>2020</a:t>
            </a:fld>
            <a:endParaRPr lang="en-US" sz="1200">
              <a:sym typeface="+mn-lt"/>
            </a:endParaRPr>
          </a:p>
        </p:txBody>
      </p:sp>
      <p:sp>
        <p:nvSpPr>
          <p:cNvPr id="21" name="Прямоугольник 20"/>
          <p:cNvSpPr/>
          <p:nvPr>
            <p:custDataLst>
              <p:tags r:id="rId25"/>
            </p:custDataLst>
          </p:nvPr>
        </p:nvSpPr>
        <p:spPr bwMode="auto">
          <a:xfrm>
            <a:off x="5834063" y="1677988"/>
            <a:ext cx="504825" cy="182562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anchor="b"/>
          <a:lstStyle/>
          <a:p>
            <a:pPr algn="ctr">
              <a:defRPr/>
            </a:pPr>
            <a:fld id="{1F2C63D8-5D1D-43A6-BA2E-E99883156224}" type="datetime'''''7''''''''''''''''''''''''''''9''''''.''6''''2''7'''''''''">
              <a:rPr lang="en-US" sz="1200" b="1">
                <a:solidFill>
                  <a:schemeClr val="tx1"/>
                </a:solidFill>
              </a:rPr>
              <a:pPr algn="ctr">
                <a:defRPr/>
              </a:pPr>
              <a:t>79.627</a:t>
            </a:fld>
            <a:endParaRPr lang="ru-RU" sz="1200" b="1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22" name="Прямоугольник 21"/>
          <p:cNvSpPr/>
          <p:nvPr>
            <p:custDataLst>
              <p:tags r:id="rId26"/>
            </p:custDataLst>
          </p:nvPr>
        </p:nvSpPr>
        <p:spPr bwMode="gray">
          <a:xfrm>
            <a:off x="5915025" y="4419600"/>
            <a:ext cx="344488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anchor="ctr"/>
          <a:lstStyle/>
          <a:p>
            <a:pPr algn="ctr">
              <a:defRPr/>
            </a:pPr>
            <a:fld id="{0B7724AE-D5E5-4190-9F37-884A1A221447}" type="datetime'''''''''''''''''4''''''''''''''6''''''''''''''''''%'''">
              <a:rPr lang="en-US" sz="1200">
                <a:solidFill>
                  <a:schemeClr val="bg1"/>
                </a:solidFill>
              </a:rPr>
              <a:pPr algn="ctr">
                <a:defRPr/>
              </a:pPr>
              <a:t>46%</a:t>
            </a:fld>
            <a:endParaRPr lang="ru-RU" sz="1200">
              <a:solidFill>
                <a:schemeClr val="bg1"/>
              </a:solidFill>
              <a:sym typeface="Arial"/>
            </a:endParaRPr>
          </a:p>
        </p:txBody>
      </p:sp>
      <p:sp>
        <p:nvSpPr>
          <p:cNvPr id="23" name="Прямоугольник 22"/>
          <p:cNvSpPr/>
          <p:nvPr>
            <p:custDataLst>
              <p:tags r:id="rId27"/>
            </p:custDataLst>
          </p:nvPr>
        </p:nvSpPr>
        <p:spPr bwMode="auto">
          <a:xfrm>
            <a:off x="5956300" y="3614738"/>
            <a:ext cx="260350" cy="182562"/>
          </a:xfrm>
          <a:prstGeom prst="rect">
            <a:avLst/>
          </a:prstGeom>
          <a:solidFill>
            <a:srgbClr val="DCDCDC"/>
          </a:solidFill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anchor="ctr"/>
          <a:lstStyle/>
          <a:p>
            <a:pPr algn="ctr">
              <a:defRPr/>
            </a:pPr>
            <a:fld id="{935AD572-C50E-4658-B029-AE498DCEB625}" type="datetime'''''''''''''''2''''''''''''''%'''">
              <a:rPr lang="en-US" sz="1200">
                <a:solidFill>
                  <a:schemeClr val="tx1"/>
                </a:solidFill>
              </a:rPr>
              <a:pPr algn="ctr">
                <a:defRPr/>
              </a:pPr>
              <a:t>2%</a:t>
            </a:fld>
            <a:endParaRPr lang="ru-RU" sz="1200">
              <a:solidFill>
                <a:schemeClr val="tx1"/>
              </a:solidFill>
              <a:sym typeface="Arial"/>
            </a:endParaRPr>
          </a:p>
        </p:txBody>
      </p:sp>
      <p:sp>
        <p:nvSpPr>
          <p:cNvPr id="24" name="Прямоугольник 23"/>
          <p:cNvSpPr/>
          <p:nvPr>
            <p:custDataLst>
              <p:tags r:id="rId28"/>
            </p:custDataLst>
          </p:nvPr>
        </p:nvSpPr>
        <p:spPr bwMode="gray">
          <a:xfrm>
            <a:off x="5956300" y="3429000"/>
            <a:ext cx="2603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anchor="ctr"/>
          <a:lstStyle/>
          <a:p>
            <a:pPr algn="ctr">
              <a:defRPr/>
            </a:pPr>
            <a:fld id="{9D854124-50CF-4461-97DE-963B2A903B9F}" type="datetime'''''9''%'''''''''''''''''''''''''''''''''''''">
              <a:rPr lang="en-US" sz="1200">
                <a:solidFill>
                  <a:schemeClr val="bg1"/>
                </a:solidFill>
              </a:rPr>
              <a:pPr algn="ctr">
                <a:defRPr/>
              </a:pPr>
              <a:t>9%</a:t>
            </a:fld>
            <a:endParaRPr lang="ru-RU" sz="1200">
              <a:solidFill>
                <a:schemeClr val="bg1"/>
              </a:solidFill>
              <a:sym typeface="Arial"/>
            </a:endParaRPr>
          </a:p>
        </p:txBody>
      </p:sp>
      <p:sp>
        <p:nvSpPr>
          <p:cNvPr id="25" name="Прямоугольник 24"/>
          <p:cNvSpPr/>
          <p:nvPr>
            <p:custDataLst>
              <p:tags r:id="rId29"/>
            </p:custDataLst>
          </p:nvPr>
        </p:nvSpPr>
        <p:spPr bwMode="auto">
          <a:xfrm>
            <a:off x="5694363" y="3186113"/>
            <a:ext cx="260350" cy="182562"/>
          </a:xfrm>
          <a:prstGeom prst="rect">
            <a:avLst/>
          </a:prstGeom>
          <a:solidFill>
            <a:srgbClr val="EFB643"/>
          </a:solidFill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anchor="ctr"/>
          <a:lstStyle/>
          <a:p>
            <a:pPr algn="ctr">
              <a:defRPr/>
            </a:pPr>
            <a:fld id="{67ACED1E-6E9B-4BDD-B5CD-9E25E72D88F4}" type="datetime'''''''''''''''''1''''''''''''''%'''''''''''''''''''''''''''">
              <a:rPr lang="en-US" sz="1200">
                <a:solidFill>
                  <a:schemeClr val="tx1"/>
                </a:solidFill>
              </a:rPr>
              <a:pPr algn="ctr">
                <a:defRPr/>
              </a:pPr>
              <a:t>1%</a:t>
            </a:fld>
            <a:endParaRPr lang="ru-RU" sz="1200">
              <a:solidFill>
                <a:schemeClr val="tx1"/>
              </a:solidFill>
              <a:sym typeface="Arial"/>
            </a:endParaRPr>
          </a:p>
        </p:txBody>
      </p:sp>
      <p:sp>
        <p:nvSpPr>
          <p:cNvPr id="26" name="Прямоугольник 25"/>
          <p:cNvSpPr/>
          <p:nvPr>
            <p:custDataLst>
              <p:tags r:id="rId30"/>
            </p:custDataLst>
          </p:nvPr>
        </p:nvSpPr>
        <p:spPr bwMode="gray">
          <a:xfrm>
            <a:off x="6218238" y="3076575"/>
            <a:ext cx="2603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anchor="ctr"/>
          <a:lstStyle/>
          <a:p>
            <a:pPr algn="ctr">
              <a:defRPr/>
            </a:pPr>
            <a:fld id="{BCD4A874-B440-4CB7-8131-F7533B246DC9}" type="datetime'''''''''''''6%'''''''''''''''''''''''''''">
              <a:rPr lang="en-US" sz="1200">
                <a:solidFill>
                  <a:schemeClr val="bg1"/>
                </a:solidFill>
              </a:rPr>
              <a:pPr algn="ctr">
                <a:defRPr/>
              </a:pPr>
              <a:t>6%</a:t>
            </a:fld>
            <a:endParaRPr lang="ru-RU" sz="1200">
              <a:solidFill>
                <a:schemeClr val="bg1"/>
              </a:solidFill>
              <a:sym typeface="Arial"/>
            </a:endParaRPr>
          </a:p>
        </p:txBody>
      </p:sp>
      <p:sp>
        <p:nvSpPr>
          <p:cNvPr id="45743" name="Text Placeholder 6"/>
          <p:cNvSpPr txBox="1">
            <a:spLocks/>
          </p:cNvSpPr>
          <p:nvPr>
            <p:custDataLst>
              <p:tags r:id="rId31"/>
            </p:custDataLst>
          </p:nvPr>
        </p:nvSpPr>
        <p:spPr bwMode="auto">
          <a:xfrm>
            <a:off x="4335463" y="5426075"/>
            <a:ext cx="34925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 eaLnBrk="0" hangingPunct="0"/>
            <a:fld id="{3EF8A539-15DE-4B14-8088-A9DE8D4A98BD}" type="datetime'''''2''0''''''''''''''''''1''''''''''1'''''''''''''''">
              <a:rPr lang="en-US" sz="1200"/>
              <a:pPr algn="ctr" eaLnBrk="0" hangingPunct="0"/>
              <a:t>2011</a:t>
            </a:fld>
            <a:endParaRPr lang="en-US" sz="1200">
              <a:sym typeface="+mn-lt"/>
            </a:endParaRPr>
          </a:p>
        </p:txBody>
      </p:sp>
      <p:sp>
        <p:nvSpPr>
          <p:cNvPr id="45744" name="Text Placeholder 34"/>
          <p:cNvSpPr txBox="1">
            <a:spLocks/>
          </p:cNvSpPr>
          <p:nvPr>
            <p:custDataLst>
              <p:tags r:id="rId32"/>
            </p:custDataLst>
          </p:nvPr>
        </p:nvSpPr>
        <p:spPr bwMode="auto">
          <a:xfrm>
            <a:off x="4257675" y="1677988"/>
            <a:ext cx="504825" cy="182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20638" tIns="0" rIns="20638" bIns="0" anchor="b"/>
          <a:lstStyle/>
          <a:p>
            <a:pPr algn="ctr" eaLnBrk="0" hangingPunct="0"/>
            <a:fld id="{E1262D8B-6355-4B91-A4A5-E51DF67618E7}" type="datetime'''''''''4''''''6.''1''''''''''09'">
              <a:rPr lang="en-US" sz="1200" b="1"/>
              <a:pPr algn="ctr" eaLnBrk="0" hangingPunct="0"/>
              <a:t>46.109</a:t>
            </a:fld>
            <a:endParaRPr lang="en-US" sz="1200" b="1">
              <a:sym typeface="Arial" charset="0"/>
            </a:endParaRPr>
          </a:p>
        </p:txBody>
      </p:sp>
      <p:sp>
        <p:nvSpPr>
          <p:cNvPr id="7" name="Прямоугольник 6"/>
          <p:cNvSpPr/>
          <p:nvPr>
            <p:custDataLst>
              <p:tags r:id="rId33"/>
            </p:custDataLst>
          </p:nvPr>
        </p:nvSpPr>
        <p:spPr bwMode="gray">
          <a:xfrm>
            <a:off x="4338638" y="4491038"/>
            <a:ext cx="344487" cy="182562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anchor="ctr"/>
          <a:lstStyle/>
          <a:p>
            <a:pPr algn="ctr">
              <a:defRPr/>
            </a:pPr>
            <a:fld id="{B0F383A0-F4B5-43FF-8E88-081C9C9D03BD}" type="datetime'''''4''''''''1''''''''''''''''''''''''''''''''''''%'">
              <a:rPr lang="en-US" sz="1200">
                <a:solidFill>
                  <a:schemeClr val="bg1"/>
                </a:solidFill>
              </a:rPr>
              <a:pPr algn="ctr">
                <a:defRPr/>
              </a:pPr>
              <a:t>41%</a:t>
            </a:fld>
            <a:endParaRPr lang="ru-RU" sz="1200">
              <a:solidFill>
                <a:schemeClr val="bg1"/>
              </a:solidFill>
              <a:sym typeface="Arial"/>
            </a:endParaRPr>
          </a:p>
        </p:txBody>
      </p:sp>
      <p:sp>
        <p:nvSpPr>
          <p:cNvPr id="45746" name="Text Placeholder 69"/>
          <p:cNvSpPr txBox="1">
            <a:spLocks/>
          </p:cNvSpPr>
          <p:nvPr>
            <p:custDataLst>
              <p:tags r:id="rId34"/>
            </p:custDataLst>
          </p:nvPr>
        </p:nvSpPr>
        <p:spPr bwMode="auto">
          <a:xfrm>
            <a:off x="4379913" y="3743325"/>
            <a:ext cx="260350" cy="182563"/>
          </a:xfrm>
          <a:prstGeom prst="rect">
            <a:avLst/>
          </a:prstGeom>
          <a:solidFill>
            <a:srgbClr val="DCDCDC"/>
          </a:solidFill>
          <a:ln w="9525">
            <a:noFill/>
            <a:miter lim="800000"/>
            <a:headEnd/>
            <a:tailEnd/>
          </a:ln>
        </p:spPr>
        <p:txBody>
          <a:bodyPr wrap="none" lIns="20638" tIns="0" rIns="20638" bIns="0" anchor="ctr"/>
          <a:lstStyle/>
          <a:p>
            <a:pPr algn="ctr" eaLnBrk="0" hangingPunct="0">
              <a:buClr>
                <a:schemeClr val="hlink"/>
              </a:buClr>
              <a:buFont typeface="Arial" charset="0"/>
              <a:buNone/>
            </a:pPr>
            <a:fld id="{7EEC697B-AA5F-4D61-ABE2-93B633D5BD24}" type="datetime'''''''''3''''%'''''''''''''''''''''''''''''''''''''''''''''">
              <a:rPr lang="en-US" sz="1200"/>
              <a:pPr algn="ctr" eaLnBrk="0" hangingPunct="0">
                <a:buClr>
                  <a:schemeClr val="hlink"/>
                </a:buClr>
                <a:buFont typeface="Arial" charset="0"/>
                <a:buNone/>
              </a:pPr>
              <a:t>3%</a:t>
            </a:fld>
            <a:endParaRPr lang="en-US" sz="1200">
              <a:sym typeface="Arial" charset="0"/>
            </a:endParaRPr>
          </a:p>
        </p:txBody>
      </p:sp>
      <p:sp>
        <p:nvSpPr>
          <p:cNvPr id="8" name="Прямоугольник 7"/>
          <p:cNvSpPr/>
          <p:nvPr>
            <p:custDataLst>
              <p:tags r:id="rId35"/>
            </p:custDataLst>
          </p:nvPr>
        </p:nvSpPr>
        <p:spPr bwMode="gray">
          <a:xfrm>
            <a:off x="4379913" y="3557588"/>
            <a:ext cx="260350" cy="182562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anchor="ctr"/>
          <a:lstStyle/>
          <a:p>
            <a:pPr algn="ctr">
              <a:defRPr/>
            </a:pPr>
            <a:fld id="{18DBA93A-F7BE-45DB-A780-C66CC890F367}" type="datetime'''''''''9''''''''''''''%'''''''''''">
              <a:rPr lang="en-US" sz="1200">
                <a:solidFill>
                  <a:schemeClr val="bg1"/>
                </a:solidFill>
              </a:rPr>
              <a:pPr algn="ctr">
                <a:defRPr/>
              </a:pPr>
              <a:t>9%</a:t>
            </a:fld>
            <a:endParaRPr lang="ru-RU" sz="1200">
              <a:solidFill>
                <a:schemeClr val="bg1"/>
              </a:solidFill>
              <a:sym typeface="Arial"/>
            </a:endParaRPr>
          </a:p>
        </p:txBody>
      </p:sp>
      <p:sp>
        <p:nvSpPr>
          <p:cNvPr id="45748" name="Text Placeholder 96"/>
          <p:cNvSpPr txBox="1">
            <a:spLocks/>
          </p:cNvSpPr>
          <p:nvPr>
            <p:custDataLst>
              <p:tags r:id="rId36"/>
            </p:custDataLst>
          </p:nvPr>
        </p:nvSpPr>
        <p:spPr bwMode="gray">
          <a:xfrm>
            <a:off x="4114800" y="3367088"/>
            <a:ext cx="260350" cy="182562"/>
          </a:xfrm>
          <a:prstGeom prst="rect">
            <a:avLst/>
          </a:prstGeom>
          <a:solidFill>
            <a:srgbClr val="0B3A73"/>
          </a:solidFill>
          <a:ln w="9525">
            <a:noFill/>
            <a:miter lim="800000"/>
            <a:headEnd/>
            <a:tailEnd/>
          </a:ln>
        </p:spPr>
        <p:txBody>
          <a:bodyPr wrap="none" lIns="20638" tIns="0" rIns="20638" bIns="0" anchor="ctr"/>
          <a:lstStyle/>
          <a:p>
            <a:pPr algn="ctr" eaLnBrk="0" hangingPunct="0"/>
            <a:fld id="{BB3311B0-EB82-4422-BEC8-BD52A4AD19D9}" type="datetime'''3''''''''''''''''''''''''%'''''''">
              <a:rPr lang="en-US" sz="1200">
                <a:solidFill>
                  <a:schemeClr val="bg1"/>
                </a:solidFill>
              </a:rPr>
              <a:pPr algn="ctr" eaLnBrk="0" hangingPunct="0"/>
              <a:t>3%</a:t>
            </a:fld>
            <a:endParaRPr lang="en-US" sz="1200">
              <a:solidFill>
                <a:schemeClr val="bg1"/>
              </a:solidFill>
              <a:sym typeface="Arial" charset="0"/>
            </a:endParaRPr>
          </a:p>
        </p:txBody>
      </p:sp>
      <p:sp>
        <p:nvSpPr>
          <p:cNvPr id="45749" name="Text Placeholder 70"/>
          <p:cNvSpPr txBox="1">
            <a:spLocks/>
          </p:cNvSpPr>
          <p:nvPr>
            <p:custDataLst>
              <p:tags r:id="rId37"/>
            </p:custDataLst>
          </p:nvPr>
        </p:nvSpPr>
        <p:spPr bwMode="auto">
          <a:xfrm>
            <a:off x="4643438" y="3305175"/>
            <a:ext cx="260350" cy="182563"/>
          </a:xfrm>
          <a:prstGeom prst="rect">
            <a:avLst/>
          </a:prstGeom>
          <a:solidFill>
            <a:srgbClr val="EFB643"/>
          </a:solidFill>
          <a:ln w="9525">
            <a:noFill/>
            <a:miter lim="800000"/>
            <a:headEnd/>
            <a:tailEnd/>
          </a:ln>
        </p:spPr>
        <p:txBody>
          <a:bodyPr wrap="none" lIns="20638" tIns="0" rIns="20638" bIns="0" anchor="ctr"/>
          <a:lstStyle/>
          <a:p>
            <a:pPr algn="ctr" eaLnBrk="0" hangingPunct="0">
              <a:buClr>
                <a:schemeClr val="hlink"/>
              </a:buClr>
              <a:buFont typeface="Arial" charset="0"/>
              <a:buNone/>
            </a:pPr>
            <a:fld id="{221EC60F-B820-4FC4-BCC6-38724BF21179}" type="datetime'''''''''''''''1''''''%'''''''''''''">
              <a:rPr lang="en-US" sz="1200"/>
              <a:pPr algn="ctr" eaLnBrk="0" hangingPunct="0">
                <a:buClr>
                  <a:schemeClr val="hlink"/>
                </a:buClr>
                <a:buFont typeface="Arial" charset="0"/>
                <a:buNone/>
              </a:pPr>
              <a:t>1%</a:t>
            </a:fld>
            <a:endParaRPr lang="en-US" sz="1200">
              <a:sym typeface="Arial" charset="0"/>
            </a:endParaRPr>
          </a:p>
        </p:txBody>
      </p:sp>
      <p:sp>
        <p:nvSpPr>
          <p:cNvPr id="9" name="Прямоугольник 8"/>
          <p:cNvSpPr/>
          <p:nvPr>
            <p:custDataLst>
              <p:tags r:id="rId38"/>
            </p:custDataLst>
          </p:nvPr>
        </p:nvSpPr>
        <p:spPr bwMode="gray">
          <a:xfrm>
            <a:off x="4114800" y="3195638"/>
            <a:ext cx="260350" cy="182562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anchor="ctr"/>
          <a:lstStyle/>
          <a:p>
            <a:pPr algn="ctr">
              <a:defRPr/>
            </a:pPr>
            <a:fld id="{BFDF6692-58A2-4022-9B4F-C6E3F54383AB}" type="datetime'''''''''''''''''''''''''''''''''''6''%'''''''">
              <a:rPr lang="en-US" sz="1200">
                <a:solidFill>
                  <a:schemeClr val="bg1"/>
                </a:solidFill>
              </a:rPr>
              <a:pPr algn="ctr">
                <a:defRPr/>
              </a:pPr>
              <a:t>6%</a:t>
            </a:fld>
            <a:endParaRPr lang="ru-RU" sz="1200">
              <a:solidFill>
                <a:schemeClr val="bg1"/>
              </a:solidFill>
              <a:sym typeface="Arial"/>
            </a:endParaRPr>
          </a:p>
        </p:txBody>
      </p:sp>
      <p:sp>
        <p:nvSpPr>
          <p:cNvPr id="45751" name="Text Placeholder 5"/>
          <p:cNvSpPr txBox="1">
            <a:spLocks/>
          </p:cNvSpPr>
          <p:nvPr>
            <p:custDataLst>
              <p:tags r:id="rId39"/>
            </p:custDataLst>
          </p:nvPr>
        </p:nvSpPr>
        <p:spPr bwMode="auto">
          <a:xfrm>
            <a:off x="2754313" y="5426075"/>
            <a:ext cx="34925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 eaLnBrk="0" hangingPunct="0"/>
            <a:fld id="{DE24BC30-BB97-426A-B4A5-250D3C1A0F0C}" type="datetime'''''''''''''''''''''''''''''2''''''''''0''''''''''''0''4'">
              <a:rPr lang="en-US" sz="1200"/>
              <a:pPr algn="ctr" eaLnBrk="0" hangingPunct="0"/>
              <a:t>2004</a:t>
            </a:fld>
            <a:endParaRPr lang="en-US" sz="1200">
              <a:sym typeface="+mn-lt"/>
            </a:endParaRPr>
          </a:p>
        </p:txBody>
      </p:sp>
      <p:sp>
        <p:nvSpPr>
          <p:cNvPr id="45752" name="Text Placeholder 16"/>
          <p:cNvSpPr txBox="1">
            <a:spLocks/>
          </p:cNvSpPr>
          <p:nvPr>
            <p:custDataLst>
              <p:tags r:id="rId40"/>
            </p:custDataLst>
          </p:nvPr>
        </p:nvSpPr>
        <p:spPr bwMode="auto">
          <a:xfrm>
            <a:off x="2676525" y="1677988"/>
            <a:ext cx="504825" cy="182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20638" tIns="0" rIns="20638" bIns="0" anchor="b"/>
          <a:lstStyle/>
          <a:p>
            <a:pPr algn="ctr" eaLnBrk="0" hangingPunct="0"/>
            <a:fld id="{619B4266-6272-4209-85E2-0B7C78E5C987}" type="datetime'''''''''''1''''''''''''''''''''''''0.''7''''''''''''37'''">
              <a:rPr lang="en-US" sz="1200" b="1"/>
              <a:pPr algn="ctr" eaLnBrk="0" hangingPunct="0"/>
              <a:t>10.737</a:t>
            </a:fld>
            <a:endParaRPr lang="en-US" sz="1200" b="1">
              <a:sym typeface="+mn-lt"/>
            </a:endParaRPr>
          </a:p>
        </p:txBody>
      </p:sp>
      <p:sp>
        <p:nvSpPr>
          <p:cNvPr id="2" name="Прямоугольник 1"/>
          <p:cNvSpPr/>
          <p:nvPr>
            <p:custDataLst>
              <p:tags r:id="rId41"/>
            </p:custDataLst>
          </p:nvPr>
        </p:nvSpPr>
        <p:spPr bwMode="gray">
          <a:xfrm>
            <a:off x="2757488" y="4976813"/>
            <a:ext cx="344487" cy="182562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anchor="ctr"/>
          <a:lstStyle/>
          <a:p>
            <a:pPr algn="ctr">
              <a:defRPr/>
            </a:pPr>
            <a:fld id="{00C7E567-72B8-414A-9030-0EBFD793C768}" type="datetime'''''''1''''''''''''''''''3''%'''''''''''''''''''''''''''''''''">
              <a:rPr lang="en-US" sz="1200">
                <a:solidFill>
                  <a:schemeClr val="bg1"/>
                </a:solidFill>
              </a:rPr>
              <a:pPr algn="ctr">
                <a:defRPr/>
              </a:pPr>
              <a:t>13%</a:t>
            </a:fld>
            <a:endParaRPr lang="ru-RU" sz="1200">
              <a:solidFill>
                <a:schemeClr val="bg1"/>
              </a:solidFill>
              <a:sym typeface="Arial"/>
            </a:endParaRPr>
          </a:p>
        </p:txBody>
      </p:sp>
      <p:sp>
        <p:nvSpPr>
          <p:cNvPr id="4" name="Прямоугольник 3"/>
          <p:cNvSpPr/>
          <p:nvPr>
            <p:custDataLst>
              <p:tags r:id="rId42"/>
            </p:custDataLst>
          </p:nvPr>
        </p:nvSpPr>
        <p:spPr bwMode="gray">
          <a:xfrm>
            <a:off x="2757488" y="4200525"/>
            <a:ext cx="344487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anchor="ctr"/>
          <a:lstStyle/>
          <a:p>
            <a:pPr algn="ctr">
              <a:defRPr/>
            </a:pPr>
            <a:fld id="{A5634890-CC9A-4E81-A987-CB004F5124BE}" type="datetime'1''''''''''''''''''''3''''''%'''">
              <a:rPr lang="en-US" sz="1200">
                <a:solidFill>
                  <a:schemeClr val="bg1"/>
                </a:solidFill>
              </a:rPr>
              <a:pPr algn="ctr">
                <a:defRPr/>
              </a:pPr>
              <a:t>13%</a:t>
            </a:fld>
            <a:endParaRPr lang="ru-RU" sz="1200">
              <a:solidFill>
                <a:schemeClr val="bg1"/>
              </a:solidFill>
              <a:sym typeface="Arial"/>
            </a:endParaRPr>
          </a:p>
        </p:txBody>
      </p:sp>
      <p:sp>
        <p:nvSpPr>
          <p:cNvPr id="5" name="Прямоугольник 4"/>
          <p:cNvSpPr/>
          <p:nvPr>
            <p:custDataLst>
              <p:tags r:id="rId43"/>
            </p:custDataLst>
          </p:nvPr>
        </p:nvSpPr>
        <p:spPr bwMode="gray">
          <a:xfrm>
            <a:off x="2757488" y="3814763"/>
            <a:ext cx="344487" cy="182562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anchor="ctr"/>
          <a:lstStyle/>
          <a:p>
            <a:pPr algn="ctr">
              <a:defRPr/>
            </a:pPr>
            <a:fld id="{9CE11BF0-7713-463E-B370-ED19A292FA1A}" type="datetime'''''''1''''0''''''''''''''''''''''%'''''''''''">
              <a:rPr lang="en-US" sz="1200">
                <a:solidFill>
                  <a:schemeClr val="bg1"/>
                </a:solidFill>
              </a:rPr>
              <a:pPr algn="ctr">
                <a:defRPr/>
              </a:pPr>
              <a:t>10%</a:t>
            </a:fld>
            <a:endParaRPr lang="ru-RU" sz="1200">
              <a:solidFill>
                <a:schemeClr val="bg1"/>
              </a:solidFill>
              <a:sym typeface="Arial"/>
            </a:endParaRPr>
          </a:p>
        </p:txBody>
      </p:sp>
      <p:sp>
        <p:nvSpPr>
          <p:cNvPr id="45756" name="Text Placeholder 68"/>
          <p:cNvSpPr txBox="1">
            <a:spLocks/>
          </p:cNvSpPr>
          <p:nvPr>
            <p:custDataLst>
              <p:tags r:id="rId44"/>
            </p:custDataLst>
          </p:nvPr>
        </p:nvSpPr>
        <p:spPr bwMode="auto">
          <a:xfrm>
            <a:off x="2798763" y="3600450"/>
            <a:ext cx="260350" cy="182563"/>
          </a:xfrm>
          <a:prstGeom prst="rect">
            <a:avLst/>
          </a:prstGeom>
          <a:solidFill>
            <a:srgbClr val="EFB643"/>
          </a:solidFill>
          <a:ln w="9525">
            <a:noFill/>
            <a:miter lim="800000"/>
            <a:headEnd/>
            <a:tailEnd/>
          </a:ln>
        </p:spPr>
        <p:txBody>
          <a:bodyPr wrap="none" lIns="20638" tIns="0" rIns="20638" bIns="0" anchor="ctr"/>
          <a:lstStyle/>
          <a:p>
            <a:pPr algn="ctr" eaLnBrk="0" hangingPunct="0">
              <a:buClr>
                <a:schemeClr val="hlink"/>
              </a:buClr>
              <a:buFont typeface="Arial" charset="0"/>
              <a:buNone/>
            </a:pPr>
            <a:fld id="{B342A0A9-F90D-4A2D-8A48-470EE3309324}" type="datetime'3''%'''''''''''''''''''''''">
              <a:rPr lang="en-US" sz="1200"/>
              <a:pPr algn="ctr" eaLnBrk="0" hangingPunct="0">
                <a:buClr>
                  <a:schemeClr val="hlink"/>
                </a:buClr>
                <a:buFont typeface="Arial" charset="0"/>
                <a:buNone/>
              </a:pPr>
              <a:t>3%</a:t>
            </a:fld>
            <a:endParaRPr lang="en-US" sz="1200">
              <a:sym typeface="Arial" charset="0"/>
            </a:endParaRPr>
          </a:p>
        </p:txBody>
      </p:sp>
      <p:sp>
        <p:nvSpPr>
          <p:cNvPr id="6" name="Прямоугольник 5"/>
          <p:cNvSpPr/>
          <p:nvPr>
            <p:custDataLst>
              <p:tags r:id="rId45"/>
            </p:custDataLst>
          </p:nvPr>
        </p:nvSpPr>
        <p:spPr bwMode="gray">
          <a:xfrm>
            <a:off x="2757488" y="3357563"/>
            <a:ext cx="344487" cy="182562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anchor="ctr"/>
          <a:lstStyle/>
          <a:p>
            <a:pPr algn="ctr">
              <a:defRPr/>
            </a:pPr>
            <a:fld id="{C0755C3D-7857-48F0-A9BF-A3573FAE68AE}" type="datetime'''''''''1''''''''''''''''2''''''''''''''''''''''''%'''''''''">
              <a:rPr lang="en-US" sz="1200">
                <a:solidFill>
                  <a:schemeClr val="bg1"/>
                </a:solidFill>
              </a:rPr>
              <a:pPr algn="ctr">
                <a:defRPr/>
              </a:pPr>
              <a:t>12%</a:t>
            </a:fld>
            <a:endParaRPr lang="ru-RU" sz="1200">
              <a:solidFill>
                <a:schemeClr val="bg1"/>
              </a:solidFill>
              <a:sym typeface="Arial"/>
            </a:endParaRPr>
          </a:p>
        </p:txBody>
      </p:sp>
      <p:sp>
        <p:nvSpPr>
          <p:cNvPr id="45758" name="Text Box 37"/>
          <p:cNvSpPr txBox="1">
            <a:spLocks noChangeArrowheads="1"/>
          </p:cNvSpPr>
          <p:nvPr/>
        </p:nvSpPr>
        <p:spPr bwMode="auto">
          <a:xfrm>
            <a:off x="177800" y="5865813"/>
            <a:ext cx="8267700" cy="50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r>
              <a:rPr lang="ru-RU" sz="1000"/>
              <a:t>           Ссылка:	* Расчет роста ВРП с учетом реализации оптимистичного варианта развития экономики округа</a:t>
            </a:r>
          </a:p>
          <a:p>
            <a:r>
              <a:rPr lang="ru-RU" sz="1000"/>
              <a:t>	**Социальная сфера: государственное управление, образование, здравоохранение</a:t>
            </a:r>
          </a:p>
        </p:txBody>
      </p:sp>
      <p:sp>
        <p:nvSpPr>
          <p:cNvPr id="45759" name="Text Box 3"/>
          <p:cNvSpPr txBox="1">
            <a:spLocks noChangeArrowheads="1"/>
          </p:cNvSpPr>
          <p:nvPr/>
        </p:nvSpPr>
        <p:spPr bwMode="auto">
          <a:xfrm>
            <a:off x="254000" y="1125538"/>
            <a:ext cx="6600825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0" hangingPunct="0"/>
            <a:r>
              <a:rPr lang="ru-RU" sz="1600" b="1"/>
              <a:t>Отраслевая структура валовой добавленной стоимости Чукотского АО*, </a:t>
            </a:r>
            <a:r>
              <a:rPr lang="ru-RU" sz="1600"/>
              <a:t>млн. руб.</a:t>
            </a:r>
          </a:p>
        </p:txBody>
      </p:sp>
      <p:sp>
        <p:nvSpPr>
          <p:cNvPr id="45760" name="Line 705"/>
          <p:cNvSpPr>
            <a:spLocks noChangeShapeType="1"/>
          </p:cNvSpPr>
          <p:nvPr/>
        </p:nvSpPr>
        <p:spPr bwMode="auto">
          <a:xfrm flipV="1">
            <a:off x="138113" y="947738"/>
            <a:ext cx="8899525" cy="7937"/>
          </a:xfrm>
          <a:prstGeom prst="line">
            <a:avLst/>
          </a:prstGeom>
          <a:noFill/>
          <a:ln w="9525">
            <a:solidFill>
              <a:srgbClr val="C0C0C0"/>
            </a:solidFill>
            <a:round/>
            <a:headEnd/>
            <a:tailEnd/>
          </a:ln>
          <a:effectLst>
            <a:prstShdw prst="shdw17" dist="17961" dir="2700000">
              <a:srgbClr val="737373"/>
            </a:prstShdw>
          </a:effectLst>
        </p:spPr>
        <p:txBody>
          <a:bodyPr/>
          <a:lstStyle/>
          <a:p>
            <a:endParaRPr lang="ru-RU"/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7015" name="AutoShape 935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47015" name="think-cell Slide" r:id="rId39" imgW="0" imgH="0" progId="">
              <p:embed/>
            </p:oleObj>
          </a:graphicData>
        </a:graphic>
      </p:graphicFrame>
      <p:sp>
        <p:nvSpPr>
          <p:cNvPr id="47018" name="Rectangle 18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endParaRPr lang="en-US" sz="1000">
              <a:sym typeface="Arial" charset="0"/>
            </a:endParaRPr>
          </a:p>
        </p:txBody>
      </p:sp>
      <p:sp>
        <p:nvSpPr>
          <p:cNvPr id="47019" name="Rectangle 2"/>
          <p:cNvSpPr>
            <a:spLocks noGrp="1" noChangeArrowheads="1"/>
          </p:cNvSpPr>
          <p:nvPr>
            <p:ph type="title"/>
          </p:nvPr>
        </p:nvSpPr>
        <p:spPr>
          <a:xfrm>
            <a:off x="395288" y="227013"/>
            <a:ext cx="7672387" cy="609600"/>
          </a:xfrm>
        </p:spPr>
        <p:txBody>
          <a:bodyPr/>
          <a:lstStyle/>
          <a:p>
            <a:pPr eaLnBrk="1" hangingPunct="1"/>
            <a:r>
              <a:rPr lang="ru-RU" smtClean="0"/>
              <a:t>В результате реализации стратегии доходы населения округа вырастут и приблизятся к уровню развитых стран</a:t>
            </a:r>
          </a:p>
        </p:txBody>
      </p:sp>
      <p:sp>
        <p:nvSpPr>
          <p:cNvPr id="47020" name="Text Box 40"/>
          <p:cNvSpPr txBox="1">
            <a:spLocks noChangeArrowheads="1"/>
          </p:cNvSpPr>
          <p:nvPr/>
        </p:nvSpPr>
        <p:spPr bwMode="auto">
          <a:xfrm>
            <a:off x="5003800" y="1773238"/>
            <a:ext cx="3924300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ru-RU" sz="1200"/>
              <a:t>Среднедушевые доходы в северных регионах с учетом ППС**,  долл. </a:t>
            </a:r>
            <a:r>
              <a:rPr lang="en-US" sz="1200"/>
              <a:t>/</a:t>
            </a:r>
            <a:r>
              <a:rPr lang="ru-RU" sz="1200"/>
              <a:t>мес., 2030 г. </a:t>
            </a:r>
          </a:p>
        </p:txBody>
      </p:sp>
      <p:sp>
        <p:nvSpPr>
          <p:cNvPr id="47021" name="Rectangle 113"/>
          <p:cNvSpPr>
            <a:spLocks noChangeArrowheads="1"/>
          </p:cNvSpPr>
          <p:nvPr/>
        </p:nvSpPr>
        <p:spPr bwMode="auto">
          <a:xfrm>
            <a:off x="4859338" y="1628775"/>
            <a:ext cx="4106862" cy="3529013"/>
          </a:xfrm>
          <a:prstGeom prst="rect">
            <a:avLst/>
          </a:prstGeom>
          <a:noFill/>
          <a:ln w="9525" algn="ctr">
            <a:solidFill>
              <a:srgbClr val="0000FF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47022" name="Rectangle 94"/>
          <p:cNvSpPr>
            <a:spLocks noChangeArrowheads="1"/>
          </p:cNvSpPr>
          <p:nvPr/>
        </p:nvSpPr>
        <p:spPr bwMode="auto">
          <a:xfrm>
            <a:off x="7078663" y="1196975"/>
            <a:ext cx="1839912" cy="287338"/>
          </a:xfrm>
          <a:prstGeom prst="rect">
            <a:avLst/>
          </a:prstGeom>
          <a:noFill/>
          <a:ln w="9525" algn="ctr">
            <a:solidFill>
              <a:schemeClr val="tx1"/>
            </a:solidFill>
            <a:round/>
            <a:headEnd/>
            <a:tailEnd type="triangle" w="med" len="med"/>
          </a:ln>
        </p:spPr>
        <p:txBody>
          <a:bodyPr lIns="18288" rIns="18288" anchor="ctr"/>
          <a:lstStyle/>
          <a:p>
            <a:pPr marL="342900" indent="-342900" algn="ctr"/>
            <a:r>
              <a:rPr lang="ru-RU" sz="1200" b="1"/>
              <a:t>ПРОГНОЗНЫЙ РАСЧЕТ</a:t>
            </a:r>
            <a:endParaRPr lang="en-US" sz="1200" b="1"/>
          </a:p>
        </p:txBody>
      </p:sp>
      <p:sp>
        <p:nvSpPr>
          <p:cNvPr id="47023" name="Text Box 37"/>
          <p:cNvSpPr txBox="1">
            <a:spLocks noChangeArrowheads="1"/>
          </p:cNvSpPr>
          <p:nvPr/>
        </p:nvSpPr>
        <p:spPr bwMode="auto">
          <a:xfrm>
            <a:off x="179388" y="5629275"/>
            <a:ext cx="8550275" cy="587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r>
              <a:rPr lang="ru-RU" sz="1000"/>
              <a:t>           Ссылка:	 * Номинальный доход для Чукотского АО считался с учетом прогнозного курса доллара к 2030 – 36,9 руб./долл.</a:t>
            </a:r>
          </a:p>
          <a:p>
            <a:r>
              <a:rPr lang="ru-RU" sz="1000"/>
              <a:t>	** Доход по ППС рассчитывался с учетом курса ППС (18,5 руб./долл.) и прогнозируемой девальвации рубля к доллару 		    с 31 руб. в 2012 году до 36,9 руб. в 2030 </a:t>
            </a:r>
          </a:p>
        </p:txBody>
      </p:sp>
      <p:sp>
        <p:nvSpPr>
          <p:cNvPr id="47024" name="Text Box 4"/>
          <p:cNvSpPr txBox="1">
            <a:spLocks noChangeArrowheads="1"/>
          </p:cNvSpPr>
          <p:nvPr/>
        </p:nvSpPr>
        <p:spPr bwMode="auto">
          <a:xfrm>
            <a:off x="539750" y="1747838"/>
            <a:ext cx="3924300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ru-RU" sz="1200"/>
              <a:t>Среднедушевые номинальные доходы* в северных регионах,  долл. США</a:t>
            </a:r>
            <a:r>
              <a:rPr lang="en-US" sz="1200"/>
              <a:t>/</a:t>
            </a:r>
            <a:r>
              <a:rPr lang="ru-RU" sz="1200"/>
              <a:t>мес., 2030 г. </a:t>
            </a:r>
          </a:p>
        </p:txBody>
      </p:sp>
      <p:graphicFrame>
        <p:nvGraphicFramePr>
          <p:cNvPr id="47016" name="Object 936"/>
          <p:cNvGraphicFramePr>
            <a:graphicFrameLocks/>
          </p:cNvGraphicFramePr>
          <p:nvPr>
            <p:custDataLst>
              <p:tags r:id="rId4"/>
            </p:custDataLst>
          </p:nvPr>
        </p:nvGraphicFramePr>
        <p:xfrm>
          <a:off x="533400" y="2552700"/>
          <a:ext cx="3705225" cy="2133600"/>
        </p:xfrm>
        <a:graphic>
          <a:graphicData uri="http://schemas.openxmlformats.org/presentationml/2006/ole">
            <p:oleObj spid="_x0000_s47016" name="Диаграмма" r:id="rId40" imgW="3705208" imgH="2133555" progId="MSGraph.Chart.8">
              <p:embed followColorScheme="full"/>
            </p:oleObj>
          </a:graphicData>
        </a:graphic>
      </p:graphicFrame>
      <p:cxnSp>
        <p:nvCxnSpPr>
          <p:cNvPr id="47025" name="Straight Connector 5"/>
          <p:cNvCxnSpPr>
            <a:cxnSpLocks noChangeShapeType="1"/>
          </p:cNvCxnSpPr>
          <p:nvPr>
            <p:custDataLst>
              <p:tags r:id="rId5"/>
            </p:custDataLst>
          </p:nvPr>
        </p:nvCxnSpPr>
        <p:spPr bwMode="auto">
          <a:xfrm>
            <a:off x="3795713" y="2663825"/>
            <a:ext cx="0" cy="1225550"/>
          </a:xfrm>
          <a:prstGeom prst="line">
            <a:avLst/>
          </a:prstGeom>
          <a:noFill/>
          <a:ln w="25400" algn="ctr">
            <a:solidFill>
              <a:schemeClr val="tx1"/>
            </a:solidFill>
            <a:round/>
            <a:headEnd/>
            <a:tailEnd type="triangle" w="med" len="med"/>
          </a:ln>
        </p:spPr>
      </p:cxnSp>
      <p:cxnSp>
        <p:nvCxnSpPr>
          <p:cNvPr id="47026" name="Straight Connector 4"/>
          <p:cNvCxnSpPr>
            <a:cxnSpLocks noChangeShapeType="1"/>
          </p:cNvCxnSpPr>
          <p:nvPr>
            <p:custDataLst>
              <p:tags r:id="rId6"/>
            </p:custDataLst>
          </p:nvPr>
        </p:nvCxnSpPr>
        <p:spPr bwMode="auto">
          <a:xfrm>
            <a:off x="1192213" y="3886200"/>
            <a:ext cx="2641600" cy="0"/>
          </a:xfrm>
          <a:prstGeom prst="line">
            <a:avLst/>
          </a:prstGeom>
          <a:noFill/>
          <a:ln w="6350" algn="ctr">
            <a:solidFill>
              <a:schemeClr val="tx1"/>
            </a:solidFill>
            <a:prstDash val="dash"/>
            <a:round/>
            <a:headEnd/>
            <a:tailEnd/>
          </a:ln>
        </p:spPr>
      </p:cxnSp>
      <p:cxnSp>
        <p:nvCxnSpPr>
          <p:cNvPr id="47027" name="Straight Connector 3"/>
          <p:cNvCxnSpPr>
            <a:cxnSpLocks noChangeShapeType="1"/>
          </p:cNvCxnSpPr>
          <p:nvPr>
            <p:custDataLst>
              <p:tags r:id="rId7"/>
            </p:custDataLst>
          </p:nvPr>
        </p:nvCxnSpPr>
        <p:spPr bwMode="auto">
          <a:xfrm>
            <a:off x="1695450" y="3340100"/>
            <a:ext cx="0" cy="549275"/>
          </a:xfrm>
          <a:prstGeom prst="line">
            <a:avLst/>
          </a:prstGeom>
          <a:noFill/>
          <a:ln w="25400" algn="ctr">
            <a:solidFill>
              <a:schemeClr val="tx1"/>
            </a:solidFill>
            <a:round/>
            <a:headEnd/>
            <a:tailEnd type="triangle" w="med" len="med"/>
          </a:ln>
        </p:spPr>
      </p:cxnSp>
      <p:cxnSp>
        <p:nvCxnSpPr>
          <p:cNvPr id="47028" name="Straight Connector 2"/>
          <p:cNvCxnSpPr>
            <a:cxnSpLocks noChangeShapeType="1"/>
          </p:cNvCxnSpPr>
          <p:nvPr>
            <p:custDataLst>
              <p:tags r:id="rId8"/>
            </p:custDataLst>
          </p:nvPr>
        </p:nvCxnSpPr>
        <p:spPr bwMode="auto">
          <a:xfrm>
            <a:off x="1192213" y="3886200"/>
            <a:ext cx="541337" cy="0"/>
          </a:xfrm>
          <a:prstGeom prst="line">
            <a:avLst/>
          </a:prstGeom>
          <a:noFill/>
          <a:ln w="6350" algn="ctr">
            <a:solidFill>
              <a:schemeClr val="tx1"/>
            </a:solidFill>
            <a:prstDash val="dash"/>
            <a:round/>
            <a:headEnd/>
            <a:tailEnd/>
          </a:ln>
        </p:spPr>
      </p:cxnSp>
      <p:sp>
        <p:nvSpPr>
          <p:cNvPr id="7" name="Прямоугольник 6"/>
          <p:cNvSpPr/>
          <p:nvPr>
            <p:custDataLst>
              <p:tags r:id="rId9"/>
            </p:custDataLst>
          </p:nvPr>
        </p:nvSpPr>
        <p:spPr bwMode="auto">
          <a:xfrm>
            <a:off x="3621088" y="2489200"/>
            <a:ext cx="349250" cy="1524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7463" tIns="0" rIns="17463" bIns="0" anchor="b"/>
          <a:lstStyle/>
          <a:p>
            <a:pPr algn="ctr">
              <a:defRPr/>
            </a:pPr>
            <a:fld id="{9722321E-8E5D-495E-B0E4-CF02CB7184F2}" type="datetime'''''7'''''''''''''''''',''''''''''''''''''7''1''''''''5'''">
              <a:rPr lang="en-US" sz="1000">
                <a:solidFill>
                  <a:schemeClr val="tx1"/>
                </a:solidFill>
              </a:rPr>
              <a:pPr algn="ctr">
                <a:defRPr/>
              </a:pPr>
              <a:t>7,715</a:t>
            </a:fld>
            <a:endParaRPr lang="ru-RU" sz="1000">
              <a:solidFill>
                <a:schemeClr val="tx1"/>
              </a:solidFill>
              <a:sym typeface="Arial"/>
            </a:endParaRPr>
          </a:p>
        </p:txBody>
      </p:sp>
      <p:sp>
        <p:nvSpPr>
          <p:cNvPr id="47030" name="Oval 39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3565525" y="3119438"/>
            <a:ext cx="460375" cy="238125"/>
          </a:xfrm>
          <a:prstGeom prst="ellipse">
            <a:avLst/>
          </a:prstGeom>
          <a:solidFill>
            <a:srgbClr val="FFFFFF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fld id="{45D56E68-EFE5-408E-A038-0997F1CAA541}" type="datetime'''''''''''''''''''''-''''''6''''4''''''%'">
              <a:rPr lang="en-US" b="1"/>
              <a:pPr algn="ctr"/>
              <a:t>-64%</a:t>
            </a:fld>
            <a:endParaRPr lang="ru-RU" b="1"/>
          </a:p>
        </p:txBody>
      </p:sp>
      <p:sp>
        <p:nvSpPr>
          <p:cNvPr id="4" name="Прямоугольник 3"/>
          <p:cNvSpPr/>
          <p:nvPr>
            <p:custDataLst>
              <p:tags r:id="rId11"/>
            </p:custDataLst>
          </p:nvPr>
        </p:nvSpPr>
        <p:spPr bwMode="auto">
          <a:xfrm>
            <a:off x="1520825" y="3165475"/>
            <a:ext cx="349250" cy="1524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7463" tIns="0" rIns="17463" bIns="0" anchor="b"/>
          <a:lstStyle/>
          <a:p>
            <a:pPr algn="ctr">
              <a:defRPr/>
            </a:pPr>
            <a:fld id="{8A54EAC5-F9F4-4201-8473-5F19B9AD82CC}" type="datetime'''''''''''''''5'''''''''''''''''',''''''''0''''0''''0'''">
              <a:rPr lang="en-US" sz="1000">
                <a:solidFill>
                  <a:schemeClr val="tx1"/>
                </a:solidFill>
              </a:rPr>
              <a:pPr algn="ctr">
                <a:defRPr/>
              </a:pPr>
              <a:t>5,000</a:t>
            </a:fld>
            <a:endParaRPr lang="ru-RU" sz="1000">
              <a:solidFill>
                <a:schemeClr val="tx1"/>
              </a:solidFill>
              <a:sym typeface="Arial"/>
            </a:endParaRPr>
          </a:p>
        </p:txBody>
      </p:sp>
      <p:sp>
        <p:nvSpPr>
          <p:cNvPr id="47032" name="Oval 38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465263" y="3457575"/>
            <a:ext cx="460375" cy="238125"/>
          </a:xfrm>
          <a:prstGeom prst="ellipse">
            <a:avLst/>
          </a:prstGeom>
          <a:solidFill>
            <a:srgbClr val="FFFFFF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fld id="{28CE3A43-6422-4211-B064-D4E848E6214A}" type="datetime'''''''''''''-''''''4''''''''4''''''%'''''''''''''''''">
              <a:rPr lang="en-US" b="1"/>
              <a:pPr algn="ctr"/>
              <a:t>-44%</a:t>
            </a:fld>
            <a:endParaRPr lang="ru-RU" b="1"/>
          </a:p>
        </p:txBody>
      </p:sp>
      <p:sp>
        <p:nvSpPr>
          <p:cNvPr id="47033" name="Rectangle 40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3602038" y="4686300"/>
            <a:ext cx="388937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/>
            <a:fld id="{0FD377CD-C688-4BA7-BD31-97E19CC55657}" type="datetime'''А''''''''''''''''''''''''''''''''''л''''''я''''''''с''''ка'">
              <a:rPr lang="en-US" sz="900"/>
              <a:pPr algn="ctr"/>
              <a:t>Аляска</a:t>
            </a:fld>
            <a:endParaRPr lang="ru-RU" sz="900"/>
          </a:p>
        </p:txBody>
      </p:sp>
      <p:sp>
        <p:nvSpPr>
          <p:cNvPr id="47034" name="Rectangle 36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2857500" y="4686300"/>
            <a:ext cx="476250" cy="273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/>
            <a:r>
              <a:rPr lang="ru-RU" sz="900"/>
              <a:t>СЗТ (Канада)</a:t>
            </a:r>
          </a:p>
        </p:txBody>
      </p:sp>
      <p:sp>
        <p:nvSpPr>
          <p:cNvPr id="6" name="Прямоугольник 5"/>
          <p:cNvSpPr/>
          <p:nvPr>
            <p:custDataLst>
              <p:tags r:id="rId15"/>
            </p:custDataLst>
          </p:nvPr>
        </p:nvSpPr>
        <p:spPr bwMode="auto">
          <a:xfrm>
            <a:off x="2921000" y="2641600"/>
            <a:ext cx="349250" cy="1524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7463" tIns="0" rIns="17463" bIns="0" anchor="b"/>
          <a:lstStyle/>
          <a:p>
            <a:pPr algn="ctr">
              <a:defRPr/>
            </a:pPr>
            <a:fld id="{8CA9B8E4-1DCB-4325-9D3F-2564AA1DB285}" type="datetime'''''''''''''''''''''''''7'''''''''',1''''17'''''''''''''''''''">
              <a:rPr lang="en-US" sz="1000">
                <a:solidFill>
                  <a:schemeClr val="tx1"/>
                </a:solidFill>
              </a:rPr>
              <a:pPr algn="ctr">
                <a:defRPr/>
              </a:pPr>
              <a:t>7,117</a:t>
            </a:fld>
            <a:endParaRPr lang="ru-RU" sz="1000">
              <a:solidFill>
                <a:schemeClr val="tx1"/>
              </a:solidFill>
              <a:sym typeface="Arial"/>
            </a:endParaRPr>
          </a:p>
        </p:txBody>
      </p:sp>
      <p:sp>
        <p:nvSpPr>
          <p:cNvPr id="47036" name="Rectangle 34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2243138" y="4686300"/>
            <a:ext cx="306387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/>
            <a:fld id="{54A63D60-FB65-4075-8D4C-1E50F914049F}" type="datetime'''''''''''''''''Ю''''''''''''к''о''''''''''''''''''''н'''''">
              <a:rPr lang="en-US" sz="900"/>
              <a:pPr algn="ctr"/>
              <a:t>Юкон</a:t>
            </a:fld>
            <a:endParaRPr lang="ru-RU" sz="900"/>
          </a:p>
        </p:txBody>
      </p:sp>
      <p:sp>
        <p:nvSpPr>
          <p:cNvPr id="5" name="Прямоугольник 4"/>
          <p:cNvSpPr/>
          <p:nvPr>
            <p:custDataLst>
              <p:tags r:id="rId17"/>
            </p:custDataLst>
          </p:nvPr>
        </p:nvSpPr>
        <p:spPr bwMode="auto">
          <a:xfrm>
            <a:off x="2220913" y="2794000"/>
            <a:ext cx="349250" cy="1524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7463" tIns="0" rIns="17463" bIns="0" anchor="b"/>
          <a:lstStyle/>
          <a:p>
            <a:pPr algn="ctr">
              <a:defRPr/>
            </a:pPr>
            <a:fld id="{3E946F21-99C2-4586-817E-889EB329C4D7}" type="datetime'''''''''''''6'''''''''''''''',''''''''''''''''''49''''1'">
              <a:rPr lang="en-US" sz="1000">
                <a:solidFill>
                  <a:schemeClr val="tx1"/>
                </a:solidFill>
              </a:rPr>
              <a:pPr algn="ctr">
                <a:defRPr/>
              </a:pPr>
              <a:t>6,491</a:t>
            </a:fld>
            <a:endParaRPr lang="ru-RU" sz="1000">
              <a:solidFill>
                <a:schemeClr val="tx1"/>
              </a:solidFill>
              <a:sym typeface="Arial"/>
            </a:endParaRPr>
          </a:p>
        </p:txBody>
      </p:sp>
      <p:sp>
        <p:nvSpPr>
          <p:cNvPr id="47038" name="Rectangle 32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1468438" y="4686300"/>
            <a:ext cx="455612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/>
            <a:fld id="{9E4B6EA7-DDCA-4C68-8360-DA76786C51E5}" type="datetime'''''''На''''''н''''''''''а''''в''у''''т'''''''''''''''''''''''">
              <a:rPr lang="en-US" sz="900"/>
              <a:pPr algn="ctr"/>
              <a:t>Нанавут</a:t>
            </a:fld>
            <a:endParaRPr lang="ru-RU" sz="900"/>
          </a:p>
        </p:txBody>
      </p:sp>
      <p:sp>
        <p:nvSpPr>
          <p:cNvPr id="47039" name="Rectangle 30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782638" y="4686300"/>
            <a:ext cx="427037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/>
            <a:fld id="{B983F964-DDDF-4955-B678-2E88B08838BD}" type="datetime'''''''''''''''Ч''''''''''''''у''к''от''''''''''''''ка'''">
              <a:rPr lang="en-US" sz="900"/>
              <a:pPr algn="ctr"/>
              <a:t>Чукотка</a:t>
            </a:fld>
            <a:endParaRPr lang="ru-RU" sz="900"/>
          </a:p>
        </p:txBody>
      </p:sp>
      <p:sp>
        <p:nvSpPr>
          <p:cNvPr id="3" name="Прямоугольник 2"/>
          <p:cNvSpPr/>
          <p:nvPr>
            <p:custDataLst>
              <p:tags r:id="rId20"/>
            </p:custDataLst>
          </p:nvPr>
        </p:nvSpPr>
        <p:spPr bwMode="auto">
          <a:xfrm>
            <a:off x="820738" y="3708400"/>
            <a:ext cx="349250" cy="1524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7463" tIns="0" rIns="17463" bIns="0" anchor="b"/>
          <a:lstStyle/>
          <a:p>
            <a:pPr algn="ctr">
              <a:defRPr/>
            </a:pPr>
            <a:fld id="{DD73367D-097E-4328-9324-212DED774823}" type="datetime'''''''''''''2'''''',''''''''''''8''''''0''''''3'''''">
              <a:rPr lang="en-US" sz="1000">
                <a:solidFill>
                  <a:schemeClr val="tx1"/>
                </a:solidFill>
              </a:rPr>
              <a:pPr algn="ctr">
                <a:defRPr/>
              </a:pPr>
              <a:t>2,803</a:t>
            </a:fld>
            <a:endParaRPr lang="ru-RU" sz="1000">
              <a:solidFill>
                <a:schemeClr val="tx1"/>
              </a:solidFill>
              <a:sym typeface="Arial"/>
            </a:endParaRPr>
          </a:p>
        </p:txBody>
      </p:sp>
      <p:sp>
        <p:nvSpPr>
          <p:cNvPr id="47041" name="Rectangle 44"/>
          <p:cNvSpPr>
            <a:spLocks noChangeArrowheads="1"/>
          </p:cNvSpPr>
          <p:nvPr/>
        </p:nvSpPr>
        <p:spPr bwMode="auto">
          <a:xfrm>
            <a:off x="395288" y="1628775"/>
            <a:ext cx="4106862" cy="3529013"/>
          </a:xfrm>
          <a:prstGeom prst="rect">
            <a:avLst/>
          </a:prstGeom>
          <a:noFill/>
          <a:ln w="9525" algn="ctr">
            <a:solidFill>
              <a:srgbClr val="0000FF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graphicFrame>
        <p:nvGraphicFramePr>
          <p:cNvPr id="47017" name="Object 937"/>
          <p:cNvGraphicFramePr>
            <a:graphicFrameLocks/>
          </p:cNvGraphicFramePr>
          <p:nvPr>
            <p:custDataLst>
              <p:tags r:id="rId21"/>
            </p:custDataLst>
          </p:nvPr>
        </p:nvGraphicFramePr>
        <p:xfrm>
          <a:off x="5029200" y="2552700"/>
          <a:ext cx="3705225" cy="2133600"/>
        </p:xfrm>
        <a:graphic>
          <a:graphicData uri="http://schemas.openxmlformats.org/presentationml/2006/ole">
            <p:oleObj spid="_x0000_s47017" name="Диаграмма" r:id="rId41" imgW="3705208" imgH="2133555" progId="MSGraph.Chart.8">
              <p:embed followColorScheme="full"/>
            </p:oleObj>
          </a:graphicData>
        </a:graphic>
      </p:graphicFrame>
      <p:cxnSp>
        <p:nvCxnSpPr>
          <p:cNvPr id="14" name="Прямая соединительная линия 13"/>
          <p:cNvCxnSpPr/>
          <p:nvPr>
            <p:custDataLst>
              <p:tags r:id="rId22"/>
            </p:custDataLst>
          </p:nvPr>
        </p:nvCxnSpPr>
        <p:spPr bwMode="auto">
          <a:xfrm>
            <a:off x="5688013" y="3657600"/>
            <a:ext cx="2641600" cy="0"/>
          </a:xfrm>
          <a:prstGeom prst="line">
            <a:avLst/>
          </a:prstGeom>
          <a:ln w="6350">
            <a:solidFill>
              <a:schemeClr val="tx1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043" name="Straight Connector 3"/>
          <p:cNvCxnSpPr>
            <a:cxnSpLocks noChangeShapeType="1"/>
          </p:cNvCxnSpPr>
          <p:nvPr>
            <p:custDataLst>
              <p:tags r:id="rId23"/>
            </p:custDataLst>
          </p:nvPr>
        </p:nvCxnSpPr>
        <p:spPr bwMode="auto">
          <a:xfrm>
            <a:off x="6191250" y="3644900"/>
            <a:ext cx="0" cy="15875"/>
          </a:xfrm>
          <a:prstGeom prst="line">
            <a:avLst/>
          </a:prstGeom>
          <a:noFill/>
          <a:ln w="25400" algn="ctr">
            <a:solidFill>
              <a:schemeClr val="tx1"/>
            </a:solidFill>
            <a:round/>
            <a:headEnd/>
            <a:tailEnd type="triangle" w="med" len="med"/>
          </a:ln>
        </p:spPr>
      </p:cxnSp>
      <p:cxnSp>
        <p:nvCxnSpPr>
          <p:cNvPr id="47044" name="Straight Connector 2"/>
          <p:cNvCxnSpPr>
            <a:cxnSpLocks noChangeShapeType="1"/>
          </p:cNvCxnSpPr>
          <p:nvPr>
            <p:custDataLst>
              <p:tags r:id="rId24"/>
            </p:custDataLst>
          </p:nvPr>
        </p:nvCxnSpPr>
        <p:spPr bwMode="auto">
          <a:xfrm>
            <a:off x="5688013" y="3657600"/>
            <a:ext cx="541337" cy="0"/>
          </a:xfrm>
          <a:prstGeom prst="line">
            <a:avLst/>
          </a:prstGeom>
          <a:noFill/>
          <a:ln w="6350" algn="ctr">
            <a:solidFill>
              <a:schemeClr val="tx1"/>
            </a:solidFill>
            <a:prstDash val="dash"/>
            <a:round/>
            <a:headEnd/>
            <a:tailEnd/>
          </a:ln>
        </p:spPr>
      </p:cxnSp>
      <p:cxnSp>
        <p:nvCxnSpPr>
          <p:cNvPr id="47045" name="Straight Connector 5"/>
          <p:cNvCxnSpPr>
            <a:cxnSpLocks noChangeShapeType="1"/>
          </p:cNvCxnSpPr>
          <p:nvPr>
            <p:custDataLst>
              <p:tags r:id="rId25"/>
            </p:custDataLst>
          </p:nvPr>
        </p:nvCxnSpPr>
        <p:spPr bwMode="auto">
          <a:xfrm>
            <a:off x="8291513" y="2663825"/>
            <a:ext cx="0" cy="996950"/>
          </a:xfrm>
          <a:prstGeom prst="line">
            <a:avLst/>
          </a:prstGeom>
          <a:noFill/>
          <a:ln w="25400" algn="ctr">
            <a:solidFill>
              <a:schemeClr val="tx1"/>
            </a:solidFill>
            <a:round/>
            <a:headEnd/>
            <a:tailEnd type="triangle" w="med" len="med"/>
          </a:ln>
        </p:spPr>
      </p:cxnSp>
      <p:sp>
        <p:nvSpPr>
          <p:cNvPr id="12" name="Прямоугольник 11"/>
          <p:cNvSpPr/>
          <p:nvPr>
            <p:custDataLst>
              <p:tags r:id="rId26"/>
            </p:custDataLst>
          </p:nvPr>
        </p:nvSpPr>
        <p:spPr bwMode="auto">
          <a:xfrm>
            <a:off x="8116888" y="2489200"/>
            <a:ext cx="349250" cy="1524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7463" tIns="0" rIns="17463" bIns="0" anchor="b"/>
          <a:lstStyle/>
          <a:p>
            <a:pPr algn="ctr">
              <a:defRPr/>
            </a:pPr>
            <a:fld id="{275A38D7-F6C4-4120-A06E-A84F0DF6526E}" type="datetime'''''''''''''''''''''''''''6'''''''''',''''''429'''">
              <a:rPr lang="en-US" sz="1000">
                <a:solidFill>
                  <a:schemeClr val="tx1"/>
                </a:solidFill>
              </a:rPr>
              <a:pPr algn="ctr">
                <a:defRPr/>
              </a:pPr>
              <a:t>6,429</a:t>
            </a:fld>
            <a:endParaRPr lang="ru-RU" sz="1000">
              <a:solidFill>
                <a:schemeClr val="tx1"/>
              </a:solidFill>
              <a:sym typeface="Arial"/>
            </a:endParaRPr>
          </a:p>
        </p:txBody>
      </p:sp>
      <p:sp>
        <p:nvSpPr>
          <p:cNvPr id="47047" name="Oval 39"/>
          <p:cNvSpPr>
            <a:spLocks noChangeArrowheads="1"/>
          </p:cNvSpPr>
          <p:nvPr>
            <p:custDataLst>
              <p:tags r:id="rId27"/>
            </p:custDataLst>
          </p:nvPr>
        </p:nvSpPr>
        <p:spPr bwMode="auto">
          <a:xfrm>
            <a:off x="8061325" y="3005138"/>
            <a:ext cx="460375" cy="238125"/>
          </a:xfrm>
          <a:prstGeom prst="ellipse">
            <a:avLst/>
          </a:prstGeom>
          <a:solidFill>
            <a:srgbClr val="FFFFFF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fld id="{19C86757-9AF8-4A0A-A600-805BA1CA75FD}" type="datetime'''''''''''''''-5''''2''%'''''''''''''''">
              <a:rPr lang="en-US" b="1"/>
              <a:pPr algn="ctr"/>
              <a:t>-52%</a:t>
            </a:fld>
            <a:endParaRPr lang="ru-RU" b="1"/>
          </a:p>
        </p:txBody>
      </p:sp>
      <p:sp>
        <p:nvSpPr>
          <p:cNvPr id="9" name="Прямоугольник 8"/>
          <p:cNvSpPr/>
          <p:nvPr>
            <p:custDataLst>
              <p:tags r:id="rId28"/>
            </p:custDataLst>
          </p:nvPr>
        </p:nvSpPr>
        <p:spPr bwMode="auto">
          <a:xfrm>
            <a:off x="6016625" y="3470275"/>
            <a:ext cx="349250" cy="1524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7463" tIns="0" rIns="17463" bIns="0" anchor="b"/>
          <a:lstStyle/>
          <a:p>
            <a:pPr algn="ctr">
              <a:defRPr/>
            </a:pPr>
            <a:fld id="{3E98083F-32D0-45AA-9F85-0F22879EF721}" type="datetime'''''''''''''''''''''''3'''''''',''''''''1''2''''9'''''''''">
              <a:rPr lang="en-US" sz="1000">
                <a:solidFill>
                  <a:schemeClr val="tx1"/>
                </a:solidFill>
              </a:rPr>
              <a:pPr algn="ctr">
                <a:defRPr/>
              </a:pPr>
              <a:t>3,129</a:t>
            </a:fld>
            <a:endParaRPr lang="ru-RU" sz="10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47049" name="Oval 38"/>
          <p:cNvSpPr>
            <a:spLocks noChangeArrowheads="1"/>
          </p:cNvSpPr>
          <p:nvPr>
            <p:custDataLst>
              <p:tags r:id="rId29"/>
            </p:custDataLst>
          </p:nvPr>
        </p:nvSpPr>
        <p:spPr bwMode="auto">
          <a:xfrm>
            <a:off x="6016625" y="3705225"/>
            <a:ext cx="349250" cy="238125"/>
          </a:xfrm>
          <a:prstGeom prst="ellipse">
            <a:avLst/>
          </a:prstGeom>
          <a:solidFill>
            <a:srgbClr val="FFFFFF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fld id="{2CFBEC2B-F265-4033-A9FF-9578987837B0}" type="datetime'''''''-1''%'''''''''''''''''''''''''''''''''''">
              <a:rPr lang="en-US" b="1"/>
              <a:pPr algn="ctr"/>
              <a:t>-1%</a:t>
            </a:fld>
            <a:endParaRPr lang="ru-RU" b="1"/>
          </a:p>
        </p:txBody>
      </p:sp>
      <p:sp>
        <p:nvSpPr>
          <p:cNvPr id="47050" name="Rectangle 40"/>
          <p:cNvSpPr>
            <a:spLocks noChangeArrowheads="1"/>
          </p:cNvSpPr>
          <p:nvPr>
            <p:custDataLst>
              <p:tags r:id="rId30"/>
            </p:custDataLst>
          </p:nvPr>
        </p:nvSpPr>
        <p:spPr bwMode="auto">
          <a:xfrm>
            <a:off x="8097838" y="4686300"/>
            <a:ext cx="388937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/>
            <a:fld id="{7FDB88C6-F876-4CC8-A210-C888941D9D1A}" type="datetime'''''''''''''''''''''''''''А''''л''''''яс''''''''к''а'">
              <a:rPr lang="en-US" sz="900"/>
              <a:pPr algn="ctr"/>
              <a:t>Аляска</a:t>
            </a:fld>
            <a:endParaRPr lang="ru-RU" sz="900"/>
          </a:p>
        </p:txBody>
      </p:sp>
      <p:sp>
        <p:nvSpPr>
          <p:cNvPr id="47051" name="Rectangle 36"/>
          <p:cNvSpPr>
            <a:spLocks noChangeArrowheads="1"/>
          </p:cNvSpPr>
          <p:nvPr>
            <p:custDataLst>
              <p:tags r:id="rId31"/>
            </p:custDataLst>
          </p:nvPr>
        </p:nvSpPr>
        <p:spPr bwMode="auto">
          <a:xfrm>
            <a:off x="7353300" y="4686300"/>
            <a:ext cx="476250" cy="273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/>
            <a:r>
              <a:rPr lang="ru-RU" sz="900"/>
              <a:t>СЗТ (Канада)</a:t>
            </a:r>
          </a:p>
        </p:txBody>
      </p:sp>
      <p:sp>
        <p:nvSpPr>
          <p:cNvPr id="11" name="Прямоугольник 10"/>
          <p:cNvSpPr/>
          <p:nvPr>
            <p:custDataLst>
              <p:tags r:id="rId32"/>
            </p:custDataLst>
          </p:nvPr>
        </p:nvSpPr>
        <p:spPr bwMode="auto">
          <a:xfrm>
            <a:off x="7416800" y="2774950"/>
            <a:ext cx="349250" cy="1524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7463" tIns="0" rIns="17463" bIns="0" anchor="b"/>
          <a:lstStyle/>
          <a:p>
            <a:pPr algn="ctr">
              <a:defRPr/>
            </a:pPr>
            <a:fld id="{C64FAB04-9DFD-49E8-9676-081A7D535C94}" type="datetime'''''5,4''''''''''7''''''''''''''''''''4'''''''''''''''''''''">
              <a:rPr lang="en-US" sz="1000">
                <a:solidFill>
                  <a:schemeClr val="tx1"/>
                </a:solidFill>
              </a:rPr>
              <a:pPr algn="ctr">
                <a:defRPr/>
              </a:pPr>
              <a:t>5,474</a:t>
            </a:fld>
            <a:endParaRPr lang="ru-RU" sz="1000">
              <a:solidFill>
                <a:schemeClr val="tx1"/>
              </a:solidFill>
              <a:sym typeface="Arial"/>
            </a:endParaRPr>
          </a:p>
        </p:txBody>
      </p:sp>
      <p:sp>
        <p:nvSpPr>
          <p:cNvPr id="47053" name="Rectangle 34"/>
          <p:cNvSpPr>
            <a:spLocks noChangeArrowheads="1"/>
          </p:cNvSpPr>
          <p:nvPr>
            <p:custDataLst>
              <p:tags r:id="rId33"/>
            </p:custDataLst>
          </p:nvPr>
        </p:nvSpPr>
        <p:spPr bwMode="auto">
          <a:xfrm>
            <a:off x="6738938" y="4686300"/>
            <a:ext cx="306387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/>
            <a:fld id="{BA378AE5-4F8F-4E3B-B150-8C73A85770F0}" type="datetime'Ю''''к''''''''''''''''''''''''о''''''''н'''''''''''''">
              <a:rPr lang="en-US" sz="900"/>
              <a:pPr algn="ctr"/>
              <a:t>Юкон</a:t>
            </a:fld>
            <a:endParaRPr lang="ru-RU" sz="900"/>
          </a:p>
        </p:txBody>
      </p:sp>
      <p:sp>
        <p:nvSpPr>
          <p:cNvPr id="10" name="Прямоугольник 9"/>
          <p:cNvSpPr/>
          <p:nvPr>
            <p:custDataLst>
              <p:tags r:id="rId34"/>
            </p:custDataLst>
          </p:nvPr>
        </p:nvSpPr>
        <p:spPr bwMode="auto">
          <a:xfrm>
            <a:off x="6716713" y="3117850"/>
            <a:ext cx="349250" cy="1524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7463" tIns="0" rIns="17463" bIns="0" anchor="b"/>
          <a:lstStyle/>
          <a:p>
            <a:pPr algn="ctr">
              <a:defRPr/>
            </a:pPr>
            <a:fld id="{2076B736-38A3-431D-B5B9-1567781CBBD3}" type="datetime'''4'''''''',''''''''3''''''''''26'''''''''''''">
              <a:rPr lang="en-US" sz="1000">
                <a:solidFill>
                  <a:schemeClr val="tx1"/>
                </a:solidFill>
              </a:rPr>
              <a:pPr algn="ctr">
                <a:defRPr/>
              </a:pPr>
              <a:t>4,326</a:t>
            </a:fld>
            <a:endParaRPr lang="ru-RU" sz="1000">
              <a:solidFill>
                <a:schemeClr val="tx1"/>
              </a:solidFill>
              <a:sym typeface="Arial"/>
            </a:endParaRPr>
          </a:p>
        </p:txBody>
      </p:sp>
      <p:sp>
        <p:nvSpPr>
          <p:cNvPr id="47055" name="Rectangle 32"/>
          <p:cNvSpPr>
            <a:spLocks noChangeArrowheads="1"/>
          </p:cNvSpPr>
          <p:nvPr>
            <p:custDataLst>
              <p:tags r:id="rId35"/>
            </p:custDataLst>
          </p:nvPr>
        </p:nvSpPr>
        <p:spPr bwMode="auto">
          <a:xfrm>
            <a:off x="5964238" y="4686300"/>
            <a:ext cx="455612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/>
            <a:fld id="{BD0590C4-6DEC-410A-B6FC-DF5551EA3E26}" type="datetime'''''На''н''''''''а''''в''''у''''т'''''''''">
              <a:rPr lang="en-US" sz="900"/>
              <a:pPr algn="ctr"/>
              <a:t>Нанавут</a:t>
            </a:fld>
            <a:endParaRPr lang="ru-RU" sz="900"/>
          </a:p>
        </p:txBody>
      </p:sp>
      <p:sp>
        <p:nvSpPr>
          <p:cNvPr id="47056" name="Rectangle 30"/>
          <p:cNvSpPr>
            <a:spLocks noChangeArrowheads="1"/>
          </p:cNvSpPr>
          <p:nvPr>
            <p:custDataLst>
              <p:tags r:id="rId36"/>
            </p:custDataLst>
          </p:nvPr>
        </p:nvSpPr>
        <p:spPr bwMode="auto">
          <a:xfrm>
            <a:off x="5278438" y="4686300"/>
            <a:ext cx="427037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/>
            <a:fld id="{3B508C04-DA68-450A-8A74-27985A243721}" type="datetime'''Ч''''''у''к''о''''''''''''тк''а'''''''''''''''''''''''''">
              <a:rPr lang="en-US" sz="900"/>
              <a:pPr algn="ctr"/>
              <a:t>Чукотка</a:t>
            </a:fld>
            <a:endParaRPr lang="ru-RU" sz="900"/>
          </a:p>
        </p:txBody>
      </p:sp>
      <p:sp>
        <p:nvSpPr>
          <p:cNvPr id="8" name="Прямоугольник 7"/>
          <p:cNvSpPr/>
          <p:nvPr>
            <p:custDataLst>
              <p:tags r:id="rId37"/>
            </p:custDataLst>
          </p:nvPr>
        </p:nvSpPr>
        <p:spPr bwMode="auto">
          <a:xfrm>
            <a:off x="5316538" y="3479800"/>
            <a:ext cx="349250" cy="1524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7463" tIns="0" rIns="17463" bIns="0" anchor="b"/>
          <a:lstStyle/>
          <a:p>
            <a:pPr algn="ctr">
              <a:defRPr/>
            </a:pPr>
            <a:fld id="{98FD89CC-0B89-4C78-AF73-9BBA90E35FE3}" type="datetime'''''''''''''3'''''''''''''''',''''''''1''''''0''''''''9'''''''">
              <a:rPr lang="en-US" sz="1000">
                <a:solidFill>
                  <a:schemeClr val="tx1"/>
                </a:solidFill>
              </a:rPr>
              <a:pPr algn="ctr">
                <a:defRPr/>
              </a:pPr>
              <a:t>3,109</a:t>
            </a:fld>
            <a:endParaRPr lang="ru-RU" sz="1000">
              <a:solidFill>
                <a:schemeClr val="tx1"/>
              </a:solidFill>
              <a:sym typeface="Arial"/>
            </a:endParaRPr>
          </a:p>
        </p:txBody>
      </p:sp>
      <p:sp>
        <p:nvSpPr>
          <p:cNvPr id="47058" name="Text Box 3"/>
          <p:cNvSpPr txBox="1">
            <a:spLocks noChangeArrowheads="1"/>
          </p:cNvSpPr>
          <p:nvPr/>
        </p:nvSpPr>
        <p:spPr bwMode="auto">
          <a:xfrm>
            <a:off x="365125" y="1244600"/>
            <a:ext cx="6600825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0" hangingPunct="0"/>
            <a:r>
              <a:rPr lang="ru-RU" sz="1600" b="1"/>
              <a:t>Соотношение доходов населения</a:t>
            </a:r>
            <a:endParaRPr lang="ru-RU" sz="1600"/>
          </a:p>
        </p:txBody>
      </p:sp>
      <p:sp>
        <p:nvSpPr>
          <p:cNvPr id="47059" name="Line 980"/>
          <p:cNvSpPr>
            <a:spLocks noChangeShapeType="1"/>
          </p:cNvSpPr>
          <p:nvPr/>
        </p:nvSpPr>
        <p:spPr bwMode="auto">
          <a:xfrm flipV="1">
            <a:off x="138113" y="971550"/>
            <a:ext cx="8899525" cy="7938"/>
          </a:xfrm>
          <a:prstGeom prst="line">
            <a:avLst/>
          </a:prstGeom>
          <a:noFill/>
          <a:ln w="9525">
            <a:solidFill>
              <a:srgbClr val="C0C0C0"/>
            </a:solidFill>
            <a:round/>
            <a:headEnd/>
            <a:tailEnd/>
          </a:ln>
          <a:effectLst>
            <a:prstShdw prst="shdw17" dist="17961" dir="2700000">
              <a:srgbClr val="737373"/>
            </a:prstShdw>
          </a:effectLst>
        </p:spPr>
        <p:txBody>
          <a:bodyPr/>
          <a:lstStyle/>
          <a:p>
            <a:endParaRPr lang="ru-RU"/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0804" name="AutoShape 628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50804" name="think-cell Slide" r:id="rId27" imgW="0" imgH="0" progId="">
              <p:embed/>
            </p:oleObj>
          </a:graphicData>
        </a:graphic>
      </p:graphicFrame>
      <p:sp>
        <p:nvSpPr>
          <p:cNvPr id="50806" name="Rectangle 22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endParaRPr lang="en-US" sz="1000">
              <a:sym typeface="Arial" charset="0"/>
            </a:endParaRPr>
          </a:p>
        </p:txBody>
      </p:sp>
      <p:graphicFrame>
        <p:nvGraphicFramePr>
          <p:cNvPr id="50805" name="Object 629"/>
          <p:cNvGraphicFramePr>
            <a:graphicFrameLocks/>
          </p:cNvGraphicFramePr>
          <p:nvPr>
            <p:custDataLst>
              <p:tags r:id="rId4"/>
            </p:custDataLst>
          </p:nvPr>
        </p:nvGraphicFramePr>
        <p:xfrm>
          <a:off x="320675" y="1447800"/>
          <a:ext cx="8494713" cy="3724275"/>
        </p:xfrm>
        <a:graphic>
          <a:graphicData uri="http://schemas.openxmlformats.org/presentationml/2006/ole">
            <p:oleObj spid="_x0000_s50805" name="Диаграмма" r:id="rId28" imgW="8448609" imgH="3724274" progId="MSGraph.Chart.8">
              <p:embed followColorScheme="full"/>
            </p:oleObj>
          </a:graphicData>
        </a:graphic>
      </p:graphicFrame>
      <p:sp>
        <p:nvSpPr>
          <p:cNvPr id="50807" name="Text Placeholder 222"/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3470275" y="5099050"/>
            <a:ext cx="2921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 eaLnBrk="0" hangingPunct="0">
              <a:buClr>
                <a:schemeClr val="hlink"/>
              </a:buClr>
              <a:buFont typeface="Arial" charset="0"/>
              <a:buNone/>
            </a:pPr>
            <a:fld id="{CCB3E275-83B2-43E3-BF8D-CC48219D4C71}" type="datetime'''''''2''''''''''''0''''''''''''''2''''''''0'''''''''''">
              <a:rPr lang="en-US" sz="1000"/>
              <a:pPr algn="ctr" eaLnBrk="0" hangingPunct="0">
                <a:buClr>
                  <a:schemeClr val="hlink"/>
                </a:buClr>
                <a:buFont typeface="Arial" charset="0"/>
                <a:buNone/>
              </a:pPr>
              <a:t>2020</a:t>
            </a:fld>
            <a:endParaRPr lang="en-US" sz="1000">
              <a:sym typeface="+mn-lt"/>
            </a:endParaRPr>
          </a:p>
        </p:txBody>
      </p:sp>
      <p:sp>
        <p:nvSpPr>
          <p:cNvPr id="50808" name="Text Placeholder 220"/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2976563" y="5099050"/>
            <a:ext cx="2921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 eaLnBrk="0" hangingPunct="0">
              <a:buClr>
                <a:schemeClr val="hlink"/>
              </a:buClr>
              <a:buFont typeface="Arial" charset="0"/>
              <a:buNone/>
            </a:pPr>
            <a:fld id="{E55C5A04-728C-43DD-B979-12F0E3A6950A}" type="datetime'''''''''''20''''''''''1''9'''">
              <a:rPr lang="en-US" sz="1000"/>
              <a:pPr algn="ctr" eaLnBrk="0" hangingPunct="0">
                <a:buClr>
                  <a:schemeClr val="hlink"/>
                </a:buClr>
                <a:buFont typeface="Arial" charset="0"/>
                <a:buNone/>
              </a:pPr>
              <a:t>2019</a:t>
            </a:fld>
            <a:endParaRPr lang="en-US" sz="1000">
              <a:sym typeface="+mn-lt"/>
            </a:endParaRPr>
          </a:p>
        </p:txBody>
      </p:sp>
      <p:sp>
        <p:nvSpPr>
          <p:cNvPr id="50809" name="Text Placeholder 12"/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2487613" y="5099050"/>
            <a:ext cx="2921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 eaLnBrk="0" hangingPunct="0">
              <a:buClr>
                <a:schemeClr val="hlink"/>
              </a:buClr>
              <a:buFont typeface="Arial" charset="0"/>
              <a:buNone/>
            </a:pPr>
            <a:fld id="{DEDEE8CD-31E1-4A78-93B8-5295E48AD7AE}" type="datetime'2''''''''''''''''''''''''''''''0''''''''1''''''''''''8'''''''">
              <a:rPr lang="en-US" sz="1000"/>
              <a:pPr algn="ctr" eaLnBrk="0" hangingPunct="0">
                <a:buClr>
                  <a:schemeClr val="hlink"/>
                </a:buClr>
                <a:buFont typeface="Arial" charset="0"/>
                <a:buNone/>
              </a:pPr>
              <a:t>2018</a:t>
            </a:fld>
            <a:endParaRPr lang="en-US" sz="1000">
              <a:sym typeface="+mn-lt"/>
            </a:endParaRPr>
          </a:p>
        </p:txBody>
      </p:sp>
      <p:sp>
        <p:nvSpPr>
          <p:cNvPr id="50810" name="Text Placeholder 11"/>
          <p:cNvSpPr txBox="1">
            <a:spLocks/>
          </p:cNvSpPr>
          <p:nvPr>
            <p:custDataLst>
              <p:tags r:id="rId8"/>
            </p:custDataLst>
          </p:nvPr>
        </p:nvSpPr>
        <p:spPr bwMode="auto">
          <a:xfrm>
            <a:off x="2006600" y="5099050"/>
            <a:ext cx="2921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 eaLnBrk="0" hangingPunct="0">
              <a:buClr>
                <a:schemeClr val="hlink"/>
              </a:buClr>
              <a:buFont typeface="Arial" charset="0"/>
              <a:buNone/>
            </a:pPr>
            <a:fld id="{A3D372AF-D8E2-4E8F-9BB4-38EED91A228A}" type="datetime'''''''''''''''20''''''''''''''''''''''17'''''">
              <a:rPr lang="en-US" sz="1000"/>
              <a:pPr algn="ctr" eaLnBrk="0" hangingPunct="0">
                <a:buClr>
                  <a:schemeClr val="hlink"/>
                </a:buClr>
                <a:buFont typeface="Arial" charset="0"/>
                <a:buNone/>
              </a:pPr>
              <a:t>2017</a:t>
            </a:fld>
            <a:endParaRPr lang="en-US" sz="1000">
              <a:sym typeface="+mn-lt"/>
            </a:endParaRPr>
          </a:p>
        </p:txBody>
      </p:sp>
      <p:sp>
        <p:nvSpPr>
          <p:cNvPr id="50811" name="Text Placeholder 10"/>
          <p:cNvSpPr txBox="1">
            <a:spLocks/>
          </p:cNvSpPr>
          <p:nvPr>
            <p:custDataLst>
              <p:tags r:id="rId9"/>
            </p:custDataLst>
          </p:nvPr>
        </p:nvSpPr>
        <p:spPr bwMode="auto">
          <a:xfrm>
            <a:off x="1528763" y="5099050"/>
            <a:ext cx="2921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 eaLnBrk="0" hangingPunct="0">
              <a:buClr>
                <a:schemeClr val="hlink"/>
              </a:buClr>
              <a:buFont typeface="Arial" charset="0"/>
              <a:buNone/>
            </a:pPr>
            <a:fld id="{B09FB624-2BC2-41E4-9474-A360659B37AD}" type="datetime'2''0''''''''''''''''''''''''''''1''''6'''''''''''''">
              <a:rPr lang="en-US" sz="1000"/>
              <a:pPr algn="ctr" eaLnBrk="0" hangingPunct="0">
                <a:buClr>
                  <a:schemeClr val="hlink"/>
                </a:buClr>
                <a:buFont typeface="Arial" charset="0"/>
                <a:buNone/>
              </a:pPr>
              <a:t>2016</a:t>
            </a:fld>
            <a:endParaRPr lang="en-US" sz="1000">
              <a:sym typeface="+mn-lt"/>
            </a:endParaRPr>
          </a:p>
        </p:txBody>
      </p:sp>
      <p:sp>
        <p:nvSpPr>
          <p:cNvPr id="50812" name="Text Placeholder 9"/>
          <p:cNvSpPr txBox="1">
            <a:spLocks/>
          </p:cNvSpPr>
          <p:nvPr>
            <p:custDataLst>
              <p:tags r:id="rId10"/>
            </p:custDataLst>
          </p:nvPr>
        </p:nvSpPr>
        <p:spPr bwMode="auto">
          <a:xfrm>
            <a:off x="1031875" y="5099050"/>
            <a:ext cx="2921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 eaLnBrk="0" hangingPunct="0">
              <a:buClr>
                <a:schemeClr val="hlink"/>
              </a:buClr>
              <a:buFont typeface="Arial" charset="0"/>
              <a:buNone/>
            </a:pPr>
            <a:fld id="{4547F451-61C9-4CD5-AC6E-762595EC7A74}" type="datetime'''''''''''''''''2''''''''''''''''''''''''''''01''''''''5'">
              <a:rPr lang="en-US" sz="1000"/>
              <a:pPr algn="ctr" eaLnBrk="0" hangingPunct="0">
                <a:buClr>
                  <a:schemeClr val="hlink"/>
                </a:buClr>
                <a:buFont typeface="Arial" charset="0"/>
                <a:buNone/>
              </a:pPr>
              <a:t>2015</a:t>
            </a:fld>
            <a:endParaRPr lang="en-US" sz="1000">
              <a:sym typeface="+mn-lt"/>
            </a:endParaRPr>
          </a:p>
        </p:txBody>
      </p:sp>
      <p:sp>
        <p:nvSpPr>
          <p:cNvPr id="50813" name="Text Placeholder 6"/>
          <p:cNvSpPr txBox="1">
            <a:spLocks/>
          </p:cNvSpPr>
          <p:nvPr>
            <p:custDataLst>
              <p:tags r:id="rId11"/>
            </p:custDataLst>
          </p:nvPr>
        </p:nvSpPr>
        <p:spPr bwMode="auto">
          <a:xfrm>
            <a:off x="550863" y="5099050"/>
            <a:ext cx="2921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 eaLnBrk="0" hangingPunct="0">
              <a:buClr>
                <a:schemeClr val="hlink"/>
              </a:buClr>
              <a:buFont typeface="Arial" charset="0"/>
              <a:buNone/>
            </a:pPr>
            <a:fld id="{429BD264-59C0-4E6D-BBCB-0537F2DA5C6D}" type="datetime'''''''''''''''20''14'''">
              <a:rPr lang="en-US" sz="1000"/>
              <a:pPr algn="ctr" eaLnBrk="0" hangingPunct="0">
                <a:buClr>
                  <a:schemeClr val="hlink"/>
                </a:buClr>
                <a:buFont typeface="Arial" charset="0"/>
                <a:buNone/>
              </a:pPr>
              <a:t>2014</a:t>
            </a:fld>
            <a:endParaRPr lang="en-US" sz="1000">
              <a:sym typeface="+mn-lt"/>
            </a:endParaRPr>
          </a:p>
        </p:txBody>
      </p:sp>
      <p:sp>
        <p:nvSpPr>
          <p:cNvPr id="2" name="Прямоугольник 1"/>
          <p:cNvSpPr/>
          <p:nvPr>
            <p:custDataLst>
              <p:tags r:id="rId12"/>
            </p:custDataLst>
          </p:nvPr>
        </p:nvSpPr>
        <p:spPr bwMode="auto">
          <a:xfrm>
            <a:off x="3935413" y="5099050"/>
            <a:ext cx="292100" cy="1524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algn="ctr">
              <a:defRPr/>
            </a:pPr>
            <a:fld id="{694C19A0-2433-48E8-B90D-6BA2D467FADC}" type="datetime'''2''''''0''''''''2''''''1'''''''''''''''''">
              <a:rPr lang="en-US" sz="1000">
                <a:solidFill>
                  <a:schemeClr val="tx1"/>
                </a:solidFill>
              </a:rPr>
              <a:pPr algn="ctr">
                <a:defRPr/>
              </a:pPr>
              <a:t>2021</a:t>
            </a:fld>
            <a:endParaRPr lang="ru-RU" sz="1000">
              <a:solidFill>
                <a:schemeClr val="tx1"/>
              </a:solidFill>
              <a:sym typeface="Arial"/>
            </a:endParaRPr>
          </a:p>
        </p:txBody>
      </p:sp>
      <p:sp>
        <p:nvSpPr>
          <p:cNvPr id="6" name="Прямоугольник 5"/>
          <p:cNvSpPr/>
          <p:nvPr>
            <p:custDataLst>
              <p:tags r:id="rId13"/>
            </p:custDataLst>
          </p:nvPr>
        </p:nvSpPr>
        <p:spPr bwMode="auto">
          <a:xfrm>
            <a:off x="4432300" y="5099050"/>
            <a:ext cx="292100" cy="1524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algn="ctr">
              <a:defRPr/>
            </a:pPr>
            <a:fld id="{66741AB2-94FA-423E-8474-4878712DFA71}" type="datetime'''''''''''''2''0''''''''2''''''''''''2'''''''''''''''">
              <a:rPr lang="en-US" sz="1000">
                <a:solidFill>
                  <a:schemeClr val="tx1"/>
                </a:solidFill>
              </a:rPr>
              <a:pPr algn="ctr">
                <a:defRPr/>
              </a:pPr>
              <a:t>2022</a:t>
            </a:fld>
            <a:endParaRPr lang="ru-RU" sz="1000">
              <a:solidFill>
                <a:schemeClr val="tx1"/>
              </a:solidFill>
              <a:sym typeface="Arial"/>
            </a:endParaRPr>
          </a:p>
        </p:txBody>
      </p:sp>
      <p:sp>
        <p:nvSpPr>
          <p:cNvPr id="7" name="Прямоугольник 6"/>
          <p:cNvSpPr/>
          <p:nvPr>
            <p:custDataLst>
              <p:tags r:id="rId14"/>
            </p:custDataLst>
          </p:nvPr>
        </p:nvSpPr>
        <p:spPr bwMode="auto">
          <a:xfrm>
            <a:off x="4913313" y="5099050"/>
            <a:ext cx="292100" cy="1524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algn="ctr">
              <a:defRPr/>
            </a:pPr>
            <a:fld id="{4961B11F-1229-4276-BDAD-58040A5EFC2C}" type="datetime'''''''''''''''''''''''2''''0''''''''''''2''''''''3'''''''">
              <a:rPr lang="en-US" sz="1000">
                <a:solidFill>
                  <a:schemeClr val="tx1"/>
                </a:solidFill>
              </a:rPr>
              <a:pPr algn="ctr">
                <a:defRPr/>
              </a:pPr>
              <a:t>2023</a:t>
            </a:fld>
            <a:endParaRPr lang="ru-RU" sz="1000">
              <a:solidFill>
                <a:schemeClr val="tx1"/>
              </a:solidFill>
              <a:sym typeface="Arial"/>
            </a:endParaRPr>
          </a:p>
        </p:txBody>
      </p:sp>
      <p:sp>
        <p:nvSpPr>
          <p:cNvPr id="8" name="Прямоугольник 7"/>
          <p:cNvSpPr/>
          <p:nvPr>
            <p:custDataLst>
              <p:tags r:id="rId15"/>
            </p:custDataLst>
          </p:nvPr>
        </p:nvSpPr>
        <p:spPr bwMode="auto">
          <a:xfrm>
            <a:off x="5394325" y="5099050"/>
            <a:ext cx="292100" cy="1524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algn="ctr">
              <a:defRPr/>
            </a:pPr>
            <a:fld id="{0C413760-A36A-48A4-A917-13D297AD8CA5}" type="datetime'''''''''''''''''2''''''''''''''0''2''''''4'''''''''">
              <a:rPr lang="en-US" sz="1000">
                <a:solidFill>
                  <a:schemeClr val="tx1"/>
                </a:solidFill>
              </a:rPr>
              <a:pPr algn="ctr">
                <a:defRPr/>
              </a:pPr>
              <a:t>2024</a:t>
            </a:fld>
            <a:endParaRPr lang="ru-RU" sz="1000">
              <a:solidFill>
                <a:schemeClr val="tx1"/>
              </a:solidFill>
              <a:sym typeface="Arial"/>
            </a:endParaRPr>
          </a:p>
        </p:txBody>
      </p:sp>
      <p:sp>
        <p:nvSpPr>
          <p:cNvPr id="9" name="Прямоугольник 8"/>
          <p:cNvSpPr/>
          <p:nvPr>
            <p:custDataLst>
              <p:tags r:id="rId16"/>
            </p:custDataLst>
          </p:nvPr>
        </p:nvSpPr>
        <p:spPr bwMode="auto">
          <a:xfrm>
            <a:off x="5888038" y="5099050"/>
            <a:ext cx="292100" cy="1524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algn="ctr">
              <a:defRPr/>
            </a:pPr>
            <a:fld id="{FD6F391A-CFFE-4739-BAA5-E781E12E5536}" type="datetime'''''''''''''''2''''''''0''''''2''''''''''''''5'''''''''">
              <a:rPr lang="en-US" sz="1000">
                <a:solidFill>
                  <a:schemeClr val="tx1"/>
                </a:solidFill>
              </a:rPr>
              <a:pPr algn="ctr">
                <a:defRPr/>
              </a:pPr>
              <a:t>2025</a:t>
            </a:fld>
            <a:endParaRPr lang="ru-RU" sz="1000">
              <a:solidFill>
                <a:schemeClr val="tx1"/>
              </a:solidFill>
              <a:sym typeface="Arial"/>
            </a:endParaRPr>
          </a:p>
        </p:txBody>
      </p:sp>
      <p:sp>
        <p:nvSpPr>
          <p:cNvPr id="10" name="Прямоугольник 9"/>
          <p:cNvSpPr/>
          <p:nvPr>
            <p:custDataLst>
              <p:tags r:id="rId17"/>
            </p:custDataLst>
          </p:nvPr>
        </p:nvSpPr>
        <p:spPr bwMode="auto">
          <a:xfrm>
            <a:off x="6376988" y="5099050"/>
            <a:ext cx="292100" cy="1524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algn="ctr">
              <a:defRPr/>
            </a:pPr>
            <a:fld id="{D94199A8-421B-4B13-AAD0-B8F441E1B12E}" type="datetime'''''''''''''2''''''''''0''''''''''''''''''2''''''''''6'''''">
              <a:rPr lang="en-US" sz="1000">
                <a:solidFill>
                  <a:schemeClr val="tx1"/>
                </a:solidFill>
              </a:rPr>
              <a:pPr algn="ctr">
                <a:defRPr/>
              </a:pPr>
              <a:t>2026</a:t>
            </a:fld>
            <a:endParaRPr lang="ru-RU" sz="1000">
              <a:solidFill>
                <a:schemeClr val="tx1"/>
              </a:solidFill>
              <a:sym typeface="Arial"/>
            </a:endParaRPr>
          </a:p>
        </p:txBody>
      </p:sp>
      <p:sp>
        <p:nvSpPr>
          <p:cNvPr id="11" name="Прямоугольник 10"/>
          <p:cNvSpPr/>
          <p:nvPr>
            <p:custDataLst>
              <p:tags r:id="rId18"/>
            </p:custDataLst>
          </p:nvPr>
        </p:nvSpPr>
        <p:spPr bwMode="auto">
          <a:xfrm>
            <a:off x="6858000" y="5099050"/>
            <a:ext cx="292100" cy="1524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algn="ctr">
              <a:defRPr/>
            </a:pPr>
            <a:fld id="{22E80B40-FFF1-4B7F-8B3E-CA370CAFB86A}" type="datetime'2''''''''0''''''''''''''''''''''''''''''2''''''7'''''''">
              <a:rPr lang="en-US" sz="1000">
                <a:solidFill>
                  <a:schemeClr val="tx1"/>
                </a:solidFill>
              </a:rPr>
              <a:pPr algn="ctr">
                <a:defRPr/>
              </a:pPr>
              <a:t>2027</a:t>
            </a:fld>
            <a:endParaRPr lang="ru-RU" sz="1000">
              <a:solidFill>
                <a:schemeClr val="tx1"/>
              </a:solidFill>
              <a:sym typeface="Arial"/>
            </a:endParaRPr>
          </a:p>
        </p:txBody>
      </p:sp>
      <p:sp>
        <p:nvSpPr>
          <p:cNvPr id="12" name="Прямоугольник 11"/>
          <p:cNvSpPr/>
          <p:nvPr>
            <p:custDataLst>
              <p:tags r:id="rId19"/>
            </p:custDataLst>
          </p:nvPr>
        </p:nvSpPr>
        <p:spPr bwMode="auto">
          <a:xfrm>
            <a:off x="7343775" y="5099050"/>
            <a:ext cx="292100" cy="1524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algn="ctr">
              <a:defRPr/>
            </a:pPr>
            <a:fld id="{ACC53D6F-ACF1-4FE3-A4C2-C1E9AAF8BBFF}" type="datetime'''''''''''''''2''''''''''''''''''''''''0''''2''8'''''">
              <a:rPr lang="en-US" sz="1000">
                <a:solidFill>
                  <a:schemeClr val="tx1"/>
                </a:solidFill>
              </a:rPr>
              <a:pPr algn="ctr">
                <a:defRPr/>
              </a:pPr>
              <a:t>2028</a:t>
            </a:fld>
            <a:endParaRPr lang="ru-RU" sz="1000">
              <a:solidFill>
                <a:schemeClr val="tx1"/>
              </a:solidFill>
              <a:sym typeface="Arial"/>
            </a:endParaRPr>
          </a:p>
        </p:txBody>
      </p:sp>
      <p:sp>
        <p:nvSpPr>
          <p:cNvPr id="13" name="Прямоугольник 12"/>
          <p:cNvSpPr/>
          <p:nvPr>
            <p:custDataLst>
              <p:tags r:id="rId20"/>
            </p:custDataLst>
          </p:nvPr>
        </p:nvSpPr>
        <p:spPr bwMode="auto">
          <a:xfrm>
            <a:off x="7832725" y="5099050"/>
            <a:ext cx="292100" cy="1524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algn="ctr">
              <a:defRPr/>
            </a:pPr>
            <a:fld id="{1A6D66A0-A540-4542-B956-E37A952B849E}" type="datetime'''''''''''2''''''''''''''''''''''0''''29'''''''''''''''''">
              <a:rPr lang="en-US" sz="1000">
                <a:solidFill>
                  <a:schemeClr val="tx1"/>
                </a:solidFill>
              </a:rPr>
              <a:pPr algn="ctr">
                <a:defRPr/>
              </a:pPr>
              <a:t>2029</a:t>
            </a:fld>
            <a:endParaRPr lang="ru-RU" sz="1000">
              <a:solidFill>
                <a:schemeClr val="tx1"/>
              </a:solidFill>
              <a:sym typeface="Arial"/>
            </a:endParaRPr>
          </a:p>
        </p:txBody>
      </p:sp>
      <p:sp>
        <p:nvSpPr>
          <p:cNvPr id="14" name="Прямоугольник 13"/>
          <p:cNvSpPr/>
          <p:nvPr>
            <p:custDataLst>
              <p:tags r:id="rId21"/>
            </p:custDataLst>
          </p:nvPr>
        </p:nvSpPr>
        <p:spPr bwMode="auto">
          <a:xfrm>
            <a:off x="8313738" y="5099050"/>
            <a:ext cx="292100" cy="1524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algn="ctr">
              <a:defRPr/>
            </a:pPr>
            <a:fld id="{9A5D17BB-FFD8-482A-8959-D40C16584D83}" type="datetime'''2''''''''''03''''''''''''''''''0'''''''''">
              <a:rPr lang="en-US" sz="1000">
                <a:solidFill>
                  <a:schemeClr val="tx1"/>
                </a:solidFill>
              </a:rPr>
              <a:pPr algn="ctr">
                <a:defRPr/>
              </a:pPr>
              <a:t>2030</a:t>
            </a:fld>
            <a:endParaRPr lang="ru-RU" sz="1000">
              <a:solidFill>
                <a:schemeClr val="tx1"/>
              </a:solidFill>
              <a:sym typeface="Arial"/>
            </a:endParaRPr>
          </a:p>
        </p:txBody>
      </p:sp>
      <p:sp>
        <p:nvSpPr>
          <p:cNvPr id="4" name="Rectangle 3"/>
          <p:cNvSpPr/>
          <p:nvPr>
            <p:custDataLst>
              <p:tags r:id="rId22"/>
            </p:custDataLst>
          </p:nvPr>
        </p:nvSpPr>
        <p:spPr bwMode="auto">
          <a:xfrm>
            <a:off x="652463" y="5507038"/>
            <a:ext cx="179387" cy="133350"/>
          </a:xfrm>
          <a:prstGeom prst="rect">
            <a:avLst/>
          </a:prstGeom>
          <a:solidFill>
            <a:srgbClr val="6F91B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5" name="Rectangle 4"/>
          <p:cNvSpPr/>
          <p:nvPr>
            <p:custDataLst>
              <p:tags r:id="rId23"/>
            </p:custDataLst>
          </p:nvPr>
        </p:nvSpPr>
        <p:spPr bwMode="auto">
          <a:xfrm>
            <a:off x="3413125" y="5507038"/>
            <a:ext cx="179388" cy="133350"/>
          </a:xfrm>
          <a:prstGeom prst="rect">
            <a:avLst/>
          </a:prstGeom>
          <a:solidFill>
            <a:srgbClr val="939393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50826" name="Text Placeholder 7"/>
          <p:cNvSpPr txBox="1">
            <a:spLocks/>
          </p:cNvSpPr>
          <p:nvPr>
            <p:custDataLst>
              <p:tags r:id="rId24"/>
            </p:custDataLst>
          </p:nvPr>
        </p:nvSpPr>
        <p:spPr bwMode="auto">
          <a:xfrm>
            <a:off x="3643313" y="5503863"/>
            <a:ext cx="180657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eaLnBrk="0" hangingPunct="0">
              <a:buClr>
                <a:schemeClr val="hlink"/>
              </a:buClr>
              <a:buFont typeface="Arial" charset="0"/>
              <a:buNone/>
            </a:pPr>
            <a:fld id="{10FCE7A3-1AF6-49FD-A949-0677947E7F94}" type="datetime'П''л''ани''р''уемые'' ''рас''''ходы'' ''Окр''у''г''''''а'''">
              <a:rPr lang="en-US" sz="1000"/>
              <a:pPr eaLnBrk="0" hangingPunct="0">
                <a:buClr>
                  <a:schemeClr val="hlink"/>
                </a:buClr>
                <a:buFont typeface="Arial" charset="0"/>
                <a:buNone/>
              </a:pPr>
              <a:t>Планируемые расходы Округа</a:t>
            </a:fld>
            <a:endParaRPr lang="en-US" sz="1000">
              <a:sym typeface="+mn-lt"/>
            </a:endParaRPr>
          </a:p>
        </p:txBody>
      </p:sp>
      <p:sp>
        <p:nvSpPr>
          <p:cNvPr id="50827" name="Text Placeholder 8"/>
          <p:cNvSpPr txBox="1">
            <a:spLocks/>
          </p:cNvSpPr>
          <p:nvPr>
            <p:custDataLst>
              <p:tags r:id="rId25"/>
            </p:custDataLst>
          </p:nvPr>
        </p:nvSpPr>
        <p:spPr bwMode="auto">
          <a:xfrm>
            <a:off x="890588" y="5503863"/>
            <a:ext cx="242887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eaLnBrk="0" hangingPunct="0">
              <a:buClr>
                <a:schemeClr val="hlink"/>
              </a:buClr>
              <a:buFont typeface="Arial" charset="0"/>
              <a:buNone/>
            </a:pPr>
            <a:fld id="{46B258D4-5AEC-46E7-B40B-4F925A55C8E5}" type="datetime'С''обств''''енные н''''ал''''''оговые дохо''''ды Ок''руга''*'">
              <a:rPr lang="en-US" sz="1000"/>
              <a:pPr eaLnBrk="0" hangingPunct="0">
                <a:buClr>
                  <a:schemeClr val="hlink"/>
                </a:buClr>
                <a:buFont typeface="Arial" charset="0"/>
                <a:buNone/>
              </a:pPr>
              <a:t>Собственные налоговые доходы Округа*</a:t>
            </a:fld>
            <a:endParaRPr lang="en-US" sz="1000">
              <a:sym typeface="+mn-lt"/>
            </a:endParaRPr>
          </a:p>
        </p:txBody>
      </p:sp>
      <p:sp>
        <p:nvSpPr>
          <p:cNvPr id="50828" name="Rectangle 2"/>
          <p:cNvSpPr txBox="1">
            <a:spLocks noChangeArrowheads="1"/>
          </p:cNvSpPr>
          <p:nvPr/>
        </p:nvSpPr>
        <p:spPr bwMode="auto">
          <a:xfrm>
            <a:off x="685800" y="209550"/>
            <a:ext cx="7772400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17" tIns="45709" rIns="91417" bIns="45709" anchor="ctr"/>
          <a:lstStyle/>
          <a:p>
            <a:r>
              <a:rPr lang="ru-RU" sz="2000">
                <a:solidFill>
                  <a:srgbClr val="000000"/>
                </a:solidFill>
              </a:rPr>
              <a:t>В результате реализации стратегии бюджет округа станет бездефицитным</a:t>
            </a:r>
            <a:endParaRPr lang="ru-RU">
              <a:solidFill>
                <a:srgbClr val="000000"/>
              </a:solidFill>
            </a:endParaRPr>
          </a:p>
        </p:txBody>
      </p:sp>
      <p:sp>
        <p:nvSpPr>
          <p:cNvPr id="50829" name="Rectangle 22"/>
          <p:cNvSpPr>
            <a:spLocks noChangeArrowheads="1"/>
          </p:cNvSpPr>
          <p:nvPr/>
        </p:nvSpPr>
        <p:spPr bwMode="auto">
          <a:xfrm>
            <a:off x="642938" y="1831975"/>
            <a:ext cx="7772400" cy="458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r>
              <a:rPr lang="ru-RU" sz="1600" b="1"/>
              <a:t>Структура бюджета Чукотского АО, </a:t>
            </a:r>
          </a:p>
          <a:p>
            <a:r>
              <a:rPr lang="ru-RU" sz="1600"/>
              <a:t>млрд. руб., 2014-2030гг</a:t>
            </a:r>
          </a:p>
        </p:txBody>
      </p:sp>
      <p:sp>
        <p:nvSpPr>
          <p:cNvPr id="50830" name="Text Box 37"/>
          <p:cNvSpPr txBox="1">
            <a:spLocks noChangeArrowheads="1"/>
          </p:cNvSpPr>
          <p:nvPr/>
        </p:nvSpPr>
        <p:spPr bwMode="auto">
          <a:xfrm>
            <a:off x="179388" y="5970588"/>
            <a:ext cx="7735887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r>
              <a:rPr lang="ru-RU" sz="1000"/>
              <a:t>           Ссылка:	* Расчет налоговых доходов с учетом реализации оптимистичного варианта развития экономики Округа</a:t>
            </a:r>
          </a:p>
        </p:txBody>
      </p:sp>
      <p:sp>
        <p:nvSpPr>
          <p:cNvPr id="50832" name="Rectangle 656"/>
          <p:cNvSpPr>
            <a:spLocks noChangeArrowheads="1"/>
          </p:cNvSpPr>
          <p:nvPr/>
        </p:nvSpPr>
        <p:spPr bwMode="auto">
          <a:xfrm>
            <a:off x="666750" y="1050925"/>
            <a:ext cx="7038975" cy="581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pPr>
              <a:defRPr/>
            </a:pPr>
            <a:r>
              <a:rPr lang="ru-RU" sz="1600">
                <a:solidFill>
                  <a:srgbClr val="003399"/>
                </a:solidFill>
              </a:rPr>
              <a:t>Реализация стратегии позволит увеличить собственную налоговую базу бюджета округа в 3,5 раза </a:t>
            </a:r>
          </a:p>
        </p:txBody>
      </p:sp>
      <p:sp>
        <p:nvSpPr>
          <p:cNvPr id="3" name="Line 658"/>
          <p:cNvSpPr>
            <a:spLocks noChangeShapeType="1"/>
          </p:cNvSpPr>
          <p:nvPr/>
        </p:nvSpPr>
        <p:spPr bwMode="auto">
          <a:xfrm flipV="1">
            <a:off x="138113" y="947738"/>
            <a:ext cx="8899525" cy="7937"/>
          </a:xfrm>
          <a:prstGeom prst="line">
            <a:avLst/>
          </a:prstGeom>
          <a:noFill/>
          <a:ln w="9525">
            <a:solidFill>
              <a:srgbClr val="C0C0C0"/>
            </a:solidFill>
            <a:round/>
            <a:headEnd/>
            <a:tailEnd/>
          </a:ln>
          <a:effectLst>
            <a:prstShdw prst="shdw17" dist="17961" dir="2700000">
              <a:srgbClr val="737373"/>
            </a:prstShdw>
          </a:effectLst>
        </p:spPr>
        <p:txBody>
          <a:bodyPr/>
          <a:lstStyle/>
          <a:p>
            <a:endParaRPr lang="ru-RU"/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6113" name="Rectangle 2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ru-RU" sz="1800" smtClean="0">
                <a:solidFill>
                  <a:schemeClr val="tx1"/>
                </a:solidFill>
              </a:rPr>
              <a:t/>
            </a:r>
            <a:br>
              <a:rPr lang="ru-RU" sz="1800" smtClean="0">
                <a:solidFill>
                  <a:schemeClr val="tx1"/>
                </a:solidFill>
              </a:rPr>
            </a:br>
            <a:r>
              <a:rPr lang="ru-RU" smtClean="0">
                <a:solidFill>
                  <a:schemeClr val="tx1"/>
                </a:solidFill>
              </a:rPr>
              <a:t>Меры по реализации Стратегии социально-экономического развития Чукотского АО до 2030 года</a:t>
            </a:r>
            <a:br>
              <a:rPr lang="ru-RU" smtClean="0">
                <a:solidFill>
                  <a:schemeClr val="tx1"/>
                </a:solidFill>
              </a:rPr>
            </a:br>
            <a:endParaRPr lang="ru-RU" smtClean="0">
              <a:solidFill>
                <a:schemeClr val="tx1"/>
              </a:solidFill>
            </a:endParaRPr>
          </a:p>
        </p:txBody>
      </p:sp>
      <p:sp>
        <p:nvSpPr>
          <p:cNvPr id="346114" name="Rectangle 7"/>
          <p:cNvSpPr>
            <a:spLocks noChangeArrowheads="1"/>
          </p:cNvSpPr>
          <p:nvPr/>
        </p:nvSpPr>
        <p:spPr bwMode="auto">
          <a:xfrm>
            <a:off x="898525" y="1139825"/>
            <a:ext cx="7643813" cy="4964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209550" indent="-209550"/>
            <a:r>
              <a:rPr lang="ru-RU" sz="1600" b="1">
                <a:solidFill>
                  <a:srgbClr val="003399"/>
                </a:solidFill>
              </a:rPr>
              <a:t>Основные направления деятельности Правительства</a:t>
            </a:r>
          </a:p>
          <a:p>
            <a:pPr marL="209550" indent="-209550"/>
            <a:r>
              <a:rPr lang="ru-RU" sz="1600" b="1">
                <a:solidFill>
                  <a:srgbClr val="003399"/>
                </a:solidFill>
              </a:rPr>
              <a:t>Чукотского АО по реализации Стратегии:</a:t>
            </a:r>
          </a:p>
          <a:p>
            <a:pPr marL="209550" indent="-209550"/>
            <a:endParaRPr lang="ru-RU" b="1">
              <a:solidFill>
                <a:srgbClr val="003399"/>
              </a:solidFill>
            </a:endParaRPr>
          </a:p>
          <a:p>
            <a:pPr marL="209550" indent="-209550">
              <a:buFontTx/>
              <a:buAutoNum type="arabicPeriod"/>
            </a:pPr>
            <a:r>
              <a:rPr lang="ru-RU" sz="1600"/>
              <a:t>Создание специализированного регионального института развития –</a:t>
            </a:r>
          </a:p>
          <a:p>
            <a:pPr marL="209550" indent="-209550"/>
            <a:r>
              <a:rPr lang="ru-RU" sz="1600"/>
              <a:t>    Фонда развития экономики и прямых инвестиций Чукотского АО</a:t>
            </a:r>
          </a:p>
          <a:p>
            <a:pPr marL="209550" indent="-209550"/>
            <a:endParaRPr lang="ru-RU" sz="1200"/>
          </a:p>
          <a:p>
            <a:pPr marL="209550" indent="-209550">
              <a:buFontTx/>
              <a:buAutoNum type="arabicPeriod" startAt="2"/>
            </a:pPr>
            <a:r>
              <a:rPr lang="ru-RU" sz="1600"/>
              <a:t>Создание необходимой транспортной и энергетической инфраструктуры для комплексного промышленного развития Чукотского АО, в том числе включение проектов развития энергетической и транспортной инфраструктуры в федеральную целевую программу «Экономическое и социальное развитие Дальнего Востока и Байкальского региона на период до 2025 года», государственные программы РФ</a:t>
            </a:r>
          </a:p>
          <a:p>
            <a:pPr marL="209550" indent="-209550"/>
            <a:endParaRPr lang="ru-RU" sz="1200"/>
          </a:p>
          <a:p>
            <a:pPr marL="209550" indent="-209550"/>
            <a:r>
              <a:rPr lang="ru-RU" sz="1600"/>
              <a:t>3. Привлечение инвестиций в сферу добычи и переработки природных ископаемых до 2020 года, в том числе создание необходимой производственной инфраструктуры в местах освоения месторождений Баимской рудной зоны и Беринговского угольного бассейна, содействие инвестиционной деятельности </a:t>
            </a:r>
          </a:p>
          <a:p>
            <a:pPr marL="209550" indent="-209550"/>
            <a:endParaRPr lang="ru-RU" sz="1200"/>
          </a:p>
          <a:p>
            <a:pPr marL="209550" indent="-209550"/>
            <a:r>
              <a:rPr lang="ru-RU" sz="1600"/>
              <a:t>4. Повышение благосостояния и качества социального обслуживания населения Чукотского АО в период до 2030 года</a:t>
            </a:r>
          </a:p>
        </p:txBody>
      </p:sp>
      <p:sp>
        <p:nvSpPr>
          <p:cNvPr id="346115" name="Line 4"/>
          <p:cNvSpPr>
            <a:spLocks noChangeShapeType="1"/>
          </p:cNvSpPr>
          <p:nvPr/>
        </p:nvSpPr>
        <p:spPr bwMode="auto">
          <a:xfrm flipV="1">
            <a:off x="138113" y="947738"/>
            <a:ext cx="8899525" cy="7937"/>
          </a:xfrm>
          <a:prstGeom prst="line">
            <a:avLst/>
          </a:prstGeom>
          <a:noFill/>
          <a:ln w="9525">
            <a:solidFill>
              <a:srgbClr val="C0C0C0"/>
            </a:solidFill>
            <a:round/>
            <a:headEnd/>
            <a:tailEnd/>
          </a:ln>
          <a:effectLst>
            <a:prstShdw prst="shdw17" dist="17961" dir="2700000">
              <a:srgbClr val="737373"/>
            </a:prstShdw>
          </a:effectLst>
        </p:spPr>
        <p:txBody>
          <a:bodyPr/>
          <a:lstStyle/>
          <a:p>
            <a:endParaRPr lang="ru-RU"/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7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ru-RU" smtClean="0"/>
              <a:t>Социально-экономическое</a:t>
            </a:r>
            <a:r>
              <a:rPr lang="ru-RU" sz="1800" smtClean="0"/>
              <a:t> положение Чукотского автономного округа – результат реализации Стратегии развития до 2020 года</a:t>
            </a:r>
          </a:p>
        </p:txBody>
      </p:sp>
      <p:sp>
        <p:nvSpPr>
          <p:cNvPr id="3481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50825" y="1092200"/>
            <a:ext cx="8748713" cy="1009650"/>
          </a:xfrm>
        </p:spPr>
        <p:txBody>
          <a:bodyPr/>
          <a:lstStyle/>
          <a:p>
            <a:pPr indent="-74613" eaLnBrk="1" hangingPunct="1">
              <a:lnSpc>
                <a:spcPct val="95000"/>
              </a:lnSpc>
              <a:spcBef>
                <a:spcPct val="25000"/>
              </a:spcBef>
              <a:buClr>
                <a:schemeClr val="tx1"/>
              </a:buClr>
              <a:buFontTx/>
              <a:buNone/>
              <a:tabLst>
                <a:tab pos="536575" algn="l"/>
              </a:tabLst>
            </a:pPr>
            <a:r>
              <a:rPr lang="ru-RU" smtClean="0"/>
              <a:t> </a:t>
            </a:r>
            <a:r>
              <a:rPr lang="ru-RU" smtClean="0">
                <a:solidFill>
                  <a:srgbClr val="003399"/>
                </a:solidFill>
              </a:rPr>
              <a:t>Социально-экономическое развитие Чукотского АО осуществлялось в соответствии со Стратегией развития Чукотского АО до 2020 года, разработанной в 2006 году.</a:t>
            </a:r>
          </a:p>
          <a:p>
            <a:pPr indent="-74613" eaLnBrk="1" hangingPunct="1">
              <a:lnSpc>
                <a:spcPct val="95000"/>
              </a:lnSpc>
              <a:spcBef>
                <a:spcPct val="25000"/>
              </a:spcBef>
              <a:buClr>
                <a:schemeClr val="tx1"/>
              </a:buClr>
              <a:buFontTx/>
              <a:buNone/>
              <a:tabLst>
                <a:tab pos="536575" algn="l"/>
              </a:tabLst>
            </a:pPr>
            <a:r>
              <a:rPr lang="ru-RU" smtClean="0">
                <a:solidFill>
                  <a:srgbClr val="003399"/>
                </a:solidFill>
              </a:rPr>
              <a:t> В результате за период ее реализации в экономике и социальной сфере региона произошли значительные изменения:</a:t>
            </a:r>
          </a:p>
          <a:p>
            <a:pPr indent="-74613" eaLnBrk="1" hangingPunct="1">
              <a:lnSpc>
                <a:spcPct val="95000"/>
              </a:lnSpc>
              <a:spcBef>
                <a:spcPct val="25000"/>
              </a:spcBef>
              <a:buClr>
                <a:schemeClr val="tx1"/>
              </a:buClr>
              <a:buFontTx/>
              <a:buNone/>
              <a:tabLst>
                <a:tab pos="536575" algn="l"/>
              </a:tabLst>
            </a:pPr>
            <a:endParaRPr lang="ru-RU" sz="600" smtClean="0">
              <a:solidFill>
                <a:srgbClr val="003399"/>
              </a:solidFill>
            </a:endParaRPr>
          </a:p>
          <a:p>
            <a:pPr indent="-74613" eaLnBrk="1" hangingPunct="1">
              <a:lnSpc>
                <a:spcPct val="95000"/>
              </a:lnSpc>
              <a:spcBef>
                <a:spcPct val="25000"/>
              </a:spcBef>
              <a:buClr>
                <a:srgbClr val="003399"/>
              </a:buClr>
              <a:buFont typeface="Wingdings" pitchFamily="2" charset="2"/>
              <a:buChar char="§"/>
              <a:tabLst>
                <a:tab pos="536575" algn="l"/>
              </a:tabLst>
            </a:pPr>
            <a:r>
              <a:rPr lang="ru-RU" sz="1800" smtClean="0">
                <a:solidFill>
                  <a:schemeClr val="tx1"/>
                </a:solidFill>
              </a:rPr>
              <a:t> Возросла экономическая активность, увеличился приток инвестиций </a:t>
            </a:r>
            <a:endParaRPr lang="ru-RU" sz="1800" smtClean="0"/>
          </a:p>
        </p:txBody>
      </p:sp>
      <p:sp>
        <p:nvSpPr>
          <p:cNvPr id="34819" name="Rectangle 3"/>
          <p:cNvSpPr>
            <a:spLocks noChangeArrowheads="1"/>
          </p:cNvSpPr>
          <p:nvPr/>
        </p:nvSpPr>
        <p:spPr bwMode="auto">
          <a:xfrm>
            <a:off x="182563" y="2744788"/>
            <a:ext cx="3016250" cy="3419475"/>
          </a:xfrm>
          <a:prstGeom prst="rect">
            <a:avLst/>
          </a:prstGeom>
          <a:noFill/>
          <a:ln w="9525">
            <a:solidFill>
              <a:srgbClr val="0000FF"/>
            </a:solidFill>
            <a:prstDash val="dash"/>
            <a:miter lim="800000"/>
            <a:headEnd/>
            <a:tailEnd/>
          </a:ln>
        </p:spPr>
        <p:txBody>
          <a:bodyPr lIns="91417" tIns="45709" rIns="91417" bIns="45709"/>
          <a:lstStyle/>
          <a:p>
            <a:pPr algn="ctr">
              <a:spcBef>
                <a:spcPct val="20000"/>
              </a:spcBef>
              <a:buClr>
                <a:schemeClr val="hlink"/>
              </a:buClr>
              <a:buFont typeface="Arial" charset="0"/>
              <a:buNone/>
            </a:pPr>
            <a:r>
              <a:rPr lang="ru-RU" sz="1200" b="1">
                <a:solidFill>
                  <a:srgbClr val="000000"/>
                </a:solidFill>
              </a:rPr>
              <a:t>Предпринятые Правительством Чукотского АО меры по активизации экономической деятельности</a:t>
            </a:r>
          </a:p>
          <a:p>
            <a:pPr>
              <a:spcBef>
                <a:spcPct val="45000"/>
              </a:spcBef>
              <a:buClr>
                <a:srgbClr val="0000FF"/>
              </a:buClr>
              <a:buFont typeface="Wingdings" pitchFamily="2" charset="2"/>
              <a:buChar char="§"/>
            </a:pPr>
            <a:r>
              <a:rPr lang="ru-RU" sz="1000">
                <a:solidFill>
                  <a:srgbClr val="000000"/>
                </a:solidFill>
              </a:rPr>
              <a:t> Произошло становление золотодобывающей отрасли Чукотского АО. Для освоения двух крупных месторождений золота (Майское и Купол) привлечены крупные компании, за 5 лет частные инвестиции - более 30 млрд. рублей </a:t>
            </a:r>
          </a:p>
          <a:p>
            <a:pPr>
              <a:spcBef>
                <a:spcPct val="45000"/>
              </a:spcBef>
              <a:buClr>
                <a:srgbClr val="0000FF"/>
              </a:buClr>
              <a:buFont typeface="Wingdings" pitchFamily="2" charset="2"/>
              <a:buChar char="§"/>
            </a:pPr>
            <a:r>
              <a:rPr lang="ru-RU" sz="1000">
                <a:solidFill>
                  <a:srgbClr val="000000"/>
                </a:solidFill>
              </a:rPr>
              <a:t> Совершенствуется транспортная инфраструктура, общий объем инвестиций за           5 лет составил 7,5 млрд. рублей </a:t>
            </a:r>
          </a:p>
          <a:p>
            <a:pPr>
              <a:spcBef>
                <a:spcPct val="45000"/>
              </a:spcBef>
              <a:buClr>
                <a:srgbClr val="0000FF"/>
              </a:buClr>
              <a:buFont typeface="Wingdings" pitchFamily="2" charset="2"/>
              <a:buChar char="§"/>
            </a:pPr>
            <a:r>
              <a:rPr lang="ru-RU" sz="1000">
                <a:solidFill>
                  <a:srgbClr val="000000"/>
                </a:solidFill>
              </a:rPr>
              <a:t> Создана необходимая телекоммуникационная инфраструктура</a:t>
            </a:r>
          </a:p>
          <a:p>
            <a:pPr>
              <a:spcBef>
                <a:spcPct val="45000"/>
              </a:spcBef>
              <a:buClr>
                <a:srgbClr val="0000FF"/>
              </a:buClr>
              <a:buFont typeface="Wingdings" pitchFamily="2" charset="2"/>
              <a:buChar char="§"/>
            </a:pPr>
            <a:r>
              <a:rPr lang="ru-RU" sz="1000"/>
              <a:t> Разрабатывается долгосрочная программа развития Чаун-Билибинской промышленной зоны опережающего развития</a:t>
            </a:r>
          </a:p>
          <a:p>
            <a:pPr>
              <a:spcBef>
                <a:spcPct val="45000"/>
              </a:spcBef>
              <a:buClr>
                <a:srgbClr val="0000FF"/>
              </a:buClr>
              <a:buFont typeface="Wingdings" pitchFamily="2" charset="2"/>
              <a:buChar char="§"/>
            </a:pPr>
            <a:r>
              <a:rPr lang="ru-RU" sz="1000"/>
              <a:t> Стимулируется привлечение частного капитала в добывающую промышленность</a:t>
            </a:r>
            <a:endParaRPr lang="ru-RU" sz="1000">
              <a:solidFill>
                <a:srgbClr val="000000"/>
              </a:solidFill>
            </a:endParaRPr>
          </a:p>
        </p:txBody>
      </p:sp>
      <p:pic>
        <p:nvPicPr>
          <p:cNvPr id="34820" name="Рисунок 26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252788" y="2738438"/>
            <a:ext cx="5768975" cy="3440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4821" name="Line 6"/>
          <p:cNvSpPr>
            <a:spLocks noChangeShapeType="1"/>
          </p:cNvSpPr>
          <p:nvPr/>
        </p:nvSpPr>
        <p:spPr bwMode="auto">
          <a:xfrm flipV="1">
            <a:off x="138113" y="939800"/>
            <a:ext cx="8899525" cy="7938"/>
          </a:xfrm>
          <a:prstGeom prst="line">
            <a:avLst/>
          </a:prstGeom>
          <a:noFill/>
          <a:ln w="9525">
            <a:solidFill>
              <a:srgbClr val="C0C0C0"/>
            </a:solidFill>
            <a:round/>
            <a:headEnd/>
            <a:tailEnd/>
          </a:ln>
          <a:effectLst>
            <a:prstShdw prst="shdw17" dist="17961" dir="2700000">
              <a:srgbClr val="737373"/>
            </a:prstShdw>
          </a:effectLst>
        </p:spPr>
        <p:txBody>
          <a:bodyPr/>
          <a:lstStyle/>
          <a:p>
            <a:endParaRPr lang="ru-RU"/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7137" name="Rectangle 2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ru-RU" smtClean="0"/>
              <a:t>Видение Чукотского автономного округа к 2030 году</a:t>
            </a:r>
          </a:p>
        </p:txBody>
      </p:sp>
      <p:sp>
        <p:nvSpPr>
          <p:cNvPr id="347138" name="Rectangle 7"/>
          <p:cNvSpPr>
            <a:spLocks noChangeArrowheads="1"/>
          </p:cNvSpPr>
          <p:nvPr/>
        </p:nvSpPr>
        <p:spPr bwMode="auto">
          <a:xfrm>
            <a:off x="830263" y="2251075"/>
            <a:ext cx="7812087" cy="3179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45000"/>
              </a:spcBef>
              <a:buClr>
                <a:schemeClr val="accent1"/>
              </a:buClr>
            </a:pPr>
            <a:r>
              <a:rPr lang="ru-RU" sz="1800" b="1"/>
              <a:t>Чукотский автономный округ в 2030 году – регион,</a:t>
            </a:r>
            <a:r>
              <a:rPr lang="ru-RU" sz="1600" b="1"/>
              <a:t> </a:t>
            </a:r>
          </a:p>
          <a:p>
            <a:pPr>
              <a:spcBef>
                <a:spcPct val="450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ru-RU" sz="1600"/>
              <a:t>  специализирующийся на добыче и переработке природных ресурсов                        и использующий для этого самые современные технологии              </a:t>
            </a:r>
            <a:r>
              <a:rPr lang="ru-RU" sz="1500" b="1">
                <a:solidFill>
                  <a:srgbClr val="003399"/>
                </a:solidFill>
              </a:rPr>
              <a:t>(повышение ВРП на душу населения к 2030 году – в 3,3 раза)</a:t>
            </a:r>
            <a:endParaRPr lang="ru-RU" sz="1500">
              <a:solidFill>
                <a:srgbClr val="003399"/>
              </a:solidFill>
            </a:endParaRPr>
          </a:p>
          <a:p>
            <a:pPr>
              <a:spcBef>
                <a:spcPct val="450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ru-RU" sz="1600"/>
              <a:t>  гарантирующий своему населению уровень доходов и качество жизни, соответствующий успешным северным территориям Канады и США </a:t>
            </a:r>
            <a:r>
              <a:rPr lang="ru-RU" sz="1500" b="1">
                <a:solidFill>
                  <a:srgbClr val="003399"/>
                </a:solidFill>
              </a:rPr>
              <a:t>(повышение среднедушевых доходов населения к 2030 году – в 2 раза)</a:t>
            </a:r>
          </a:p>
          <a:p>
            <a:pPr>
              <a:spcBef>
                <a:spcPct val="45000"/>
              </a:spcBef>
              <a:buClr>
                <a:schemeClr val="accent1"/>
              </a:buClr>
              <a:buFont typeface="Wingdings" pitchFamily="2" charset="2"/>
              <a:buChar char="§"/>
            </a:pPr>
            <a:r>
              <a:rPr lang="ru-RU" sz="1600"/>
              <a:t>  характеризующийся динамичным и устойчивым ростом экономики и являющийся бездефицитным субъектом Российской Федерации</a:t>
            </a:r>
            <a:r>
              <a:rPr lang="ru-RU"/>
              <a:t> </a:t>
            </a:r>
          </a:p>
          <a:p>
            <a:r>
              <a:rPr lang="ru-RU" sz="1500" b="1">
                <a:solidFill>
                  <a:srgbClr val="003399"/>
                </a:solidFill>
              </a:rPr>
              <a:t>(обеспеченность бюджета округа собственными доходами к 2025 году – 100 %)</a:t>
            </a:r>
          </a:p>
          <a:p>
            <a:pPr>
              <a:spcBef>
                <a:spcPct val="45000"/>
              </a:spcBef>
              <a:buClr>
                <a:schemeClr val="accent1"/>
              </a:buClr>
              <a:buFont typeface="Wingdings" pitchFamily="2" charset="2"/>
              <a:buChar char="§"/>
            </a:pPr>
            <a:endParaRPr lang="ru-RU" sz="1500" b="1">
              <a:solidFill>
                <a:srgbClr val="003399"/>
              </a:solidFill>
            </a:endParaRPr>
          </a:p>
        </p:txBody>
      </p:sp>
      <p:sp>
        <p:nvSpPr>
          <p:cNvPr id="347139" name="Line 4"/>
          <p:cNvSpPr>
            <a:spLocks noChangeShapeType="1"/>
          </p:cNvSpPr>
          <p:nvPr/>
        </p:nvSpPr>
        <p:spPr bwMode="auto">
          <a:xfrm flipV="1">
            <a:off x="138113" y="947738"/>
            <a:ext cx="8899525" cy="7937"/>
          </a:xfrm>
          <a:prstGeom prst="line">
            <a:avLst/>
          </a:prstGeom>
          <a:noFill/>
          <a:ln w="9525">
            <a:solidFill>
              <a:srgbClr val="C0C0C0"/>
            </a:solidFill>
            <a:round/>
            <a:headEnd/>
            <a:tailEnd/>
          </a:ln>
          <a:effectLst>
            <a:prstShdw prst="shdw17" dist="17961" dir="2700000">
              <a:srgbClr val="737373"/>
            </a:prstShdw>
          </a:effectLst>
        </p:spPr>
        <p:txBody>
          <a:bodyPr/>
          <a:lstStyle/>
          <a:p>
            <a:endParaRPr lang="ru-RU"/>
          </a:p>
        </p:txBody>
      </p:sp>
      <p:sp>
        <p:nvSpPr>
          <p:cNvPr id="347142" name="Rectangle 6"/>
          <p:cNvSpPr>
            <a:spLocks noChangeArrowheads="1"/>
          </p:cNvSpPr>
          <p:nvPr/>
        </p:nvSpPr>
        <p:spPr bwMode="auto">
          <a:xfrm>
            <a:off x="833438" y="1279525"/>
            <a:ext cx="6919912" cy="581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pPr>
              <a:defRPr/>
            </a:pPr>
            <a:r>
              <a:rPr lang="ru-RU" sz="1600" b="1">
                <a:solidFill>
                  <a:srgbClr val="003399"/>
                </a:solidFill>
              </a:rPr>
              <a:t>В результате реализации Стратегии социально-экономического развития Чукотского автономного округа до 2030 года: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3630" name="AutoShape 1230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03630" name="think-cell Slide" r:id="rId74" imgW="0" imgH="0" progId="">
              <p:embed/>
            </p:oleObj>
          </a:graphicData>
        </a:graphic>
      </p:graphicFrame>
      <p:sp>
        <p:nvSpPr>
          <p:cNvPr id="103688" name="Rectangle 71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endParaRPr lang="en-US" sz="1000">
              <a:sym typeface="Arial" charset="0"/>
            </a:endParaRPr>
          </a:p>
        </p:txBody>
      </p:sp>
      <p:sp>
        <p:nvSpPr>
          <p:cNvPr id="103689" name="Rectangle 2"/>
          <p:cNvSpPr>
            <a:spLocks noGrp="1" noChangeArrowheads="1"/>
          </p:cNvSpPr>
          <p:nvPr>
            <p:ph type="title"/>
          </p:nvPr>
        </p:nvSpPr>
        <p:spPr>
          <a:xfrm>
            <a:off x="347663" y="55563"/>
            <a:ext cx="8572500" cy="398462"/>
          </a:xfrm>
        </p:spPr>
        <p:txBody>
          <a:bodyPr/>
          <a:lstStyle/>
          <a:p>
            <a:pPr eaLnBrk="1" hangingPunct="1">
              <a:buClr>
                <a:srgbClr val="003399"/>
              </a:buClr>
              <a:buFont typeface="Wingdings" pitchFamily="2" charset="2"/>
              <a:buChar char="§"/>
            </a:pPr>
            <a:r>
              <a:rPr lang="ru-RU" sz="1800" smtClean="0">
                <a:solidFill>
                  <a:schemeClr val="tx1"/>
                </a:solidFill>
              </a:rPr>
              <a:t> Значительно выросли доходы населения и улучшилось качество жизни</a:t>
            </a:r>
            <a:endParaRPr lang="ru-RU" sz="1800" smtClean="0"/>
          </a:p>
        </p:txBody>
      </p:sp>
      <p:graphicFrame>
        <p:nvGraphicFramePr>
          <p:cNvPr id="103631" name="Object 1231"/>
          <p:cNvGraphicFramePr>
            <a:graphicFrameLocks/>
          </p:cNvGraphicFramePr>
          <p:nvPr>
            <p:custDataLst>
              <p:tags r:id="rId4"/>
            </p:custDataLst>
          </p:nvPr>
        </p:nvGraphicFramePr>
        <p:xfrm>
          <a:off x="374650" y="2451100"/>
          <a:ext cx="4233863" cy="1028700"/>
        </p:xfrm>
        <a:graphic>
          <a:graphicData uri="http://schemas.openxmlformats.org/presentationml/2006/ole">
            <p:oleObj spid="_x0000_s103631" name="Chart" r:id="rId75" imgW="4400460" imgH="1028700" progId="MSGraph.Chart.8">
              <p:embed followColorScheme="full"/>
            </p:oleObj>
          </a:graphicData>
        </a:graphic>
      </p:graphicFrame>
      <p:cxnSp>
        <p:nvCxnSpPr>
          <p:cNvPr id="103690" name="Straight Connector 5"/>
          <p:cNvCxnSpPr>
            <a:cxnSpLocks noChangeShapeType="1"/>
          </p:cNvCxnSpPr>
          <p:nvPr>
            <p:custDataLst>
              <p:tags r:id="rId5"/>
            </p:custDataLst>
          </p:nvPr>
        </p:nvCxnSpPr>
        <p:spPr bwMode="auto">
          <a:xfrm flipV="1">
            <a:off x="815975" y="2357438"/>
            <a:ext cx="3421063" cy="561975"/>
          </a:xfrm>
          <a:prstGeom prst="line">
            <a:avLst/>
          </a:prstGeom>
          <a:noFill/>
          <a:ln w="25400" algn="ctr">
            <a:solidFill>
              <a:schemeClr val="tx1"/>
            </a:solidFill>
            <a:round/>
            <a:headEnd/>
            <a:tailEnd type="triangle" w="med" len="med"/>
          </a:ln>
        </p:spPr>
      </p:cxnSp>
      <p:sp>
        <p:nvSpPr>
          <p:cNvPr id="103691" name="Rectangle 4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614363" y="3170238"/>
            <a:ext cx="427037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/>
          <a:lstStyle/>
          <a:p>
            <a:pPr algn="ctr"/>
            <a:fld id="{FD2A72F7-2B85-4CB7-BFF0-8F190815DAFB}" type="datetime'''''''''''''''19.''''''''''0''''''''''''67'''''">
              <a:rPr lang="en-US" sz="1000"/>
              <a:pPr algn="ctr"/>
              <a:t>19.067</a:t>
            </a:fld>
            <a:endParaRPr lang="ru-RU" sz="1000"/>
          </a:p>
        </p:txBody>
      </p:sp>
      <p:sp>
        <p:nvSpPr>
          <p:cNvPr id="103692" name="Oval 14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905000" y="2511425"/>
            <a:ext cx="1147763" cy="238125"/>
          </a:xfrm>
          <a:prstGeom prst="ellipse">
            <a:avLst/>
          </a:prstGeom>
          <a:solidFill>
            <a:srgbClr val="FFFFFF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b="1"/>
              <a:t>CAGR </a:t>
            </a:r>
            <a:fld id="{44DD2A5B-AAAA-4E0B-B676-47FE0CF6B09E}" type="datetime'''''''''+''''''''''1''''''6''''''''''''''''''%'''''''''''">
              <a:rPr lang="en-US" b="1"/>
              <a:pPr algn="ctr"/>
              <a:t>+16%</a:t>
            </a:fld>
            <a:endParaRPr lang="ru-RU" b="1"/>
          </a:p>
        </p:txBody>
      </p:sp>
      <p:sp>
        <p:nvSpPr>
          <p:cNvPr id="103693" name="Rectangle 76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auto">
          <a:xfrm>
            <a:off x="4038600" y="3400425"/>
            <a:ext cx="266700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 eaLnBrk="0" hangingPunct="0"/>
            <a:fld id="{C631F096-C11A-4D63-AA9E-352F4AB7E86F}" type="datetime'''20''''''''''''''''''''''''''''''''1''''''''''2'">
              <a:rPr lang="en-US" sz="900"/>
              <a:pPr algn="ctr" eaLnBrk="0" hangingPunct="0"/>
              <a:t>2012</a:t>
            </a:fld>
            <a:endParaRPr lang="en-US" sz="900">
              <a:sym typeface="Arial" charset="0"/>
            </a:endParaRPr>
          </a:p>
        </p:txBody>
      </p:sp>
      <p:sp>
        <p:nvSpPr>
          <p:cNvPr id="103694" name="Rectangle 78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gray">
          <a:xfrm>
            <a:off x="3971925" y="2622550"/>
            <a:ext cx="427038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/>
          <a:lstStyle/>
          <a:p>
            <a:pPr algn="ctr" eaLnBrk="0" hangingPunct="0"/>
            <a:fld id="{CE0D6C18-C21E-4ECD-9DF9-76A441CBF343}" type="datetime'''''''6''''''''''2''''''''''.''''''''8''''5''''''''''''6'''''">
              <a:rPr lang="en-US" sz="1000"/>
              <a:pPr algn="ctr" eaLnBrk="0" hangingPunct="0"/>
              <a:t>62.856</a:t>
            </a:fld>
            <a:endParaRPr lang="en-US" sz="1000">
              <a:sym typeface="Arial" charset="0"/>
            </a:endParaRPr>
          </a:p>
        </p:txBody>
      </p:sp>
      <p:sp>
        <p:nvSpPr>
          <p:cNvPr id="103695" name="Rectangle 13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3371850" y="3398838"/>
            <a:ext cx="266700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/>
            <a:fld id="{2CE307D7-1DAE-456A-A469-8843C99AE771}" type="datetime'''''''''''2''''''''''''''''''''''''''0''1''''''''''''''''1'''">
              <a:rPr lang="en-US" sz="900"/>
              <a:pPr algn="ctr"/>
              <a:t>2011</a:t>
            </a:fld>
            <a:endParaRPr lang="ru-RU" sz="900"/>
          </a:p>
        </p:txBody>
      </p:sp>
      <p:sp>
        <p:nvSpPr>
          <p:cNvPr id="103696" name="Rectangle 12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3298825" y="2740025"/>
            <a:ext cx="427038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/>
          <a:lstStyle/>
          <a:p>
            <a:pPr algn="ctr"/>
            <a:fld id="{A1D67F40-F3CE-453D-8F18-CA3401DEE297}" type="datetime'''''''''53''''''''.''''''3''''''''''''''6''9'''''''''''''''''">
              <a:rPr lang="en-US" sz="1000"/>
              <a:pPr algn="ctr"/>
              <a:t>53.369</a:t>
            </a:fld>
            <a:endParaRPr lang="ru-RU" sz="1000"/>
          </a:p>
        </p:txBody>
      </p:sp>
      <p:sp>
        <p:nvSpPr>
          <p:cNvPr id="103697" name="Rectangle 11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2706688" y="3402013"/>
            <a:ext cx="266700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/>
            <a:fld id="{DD7491C3-C87B-49C7-B84F-3D7A1BF70251}" type="datetime'''''2''''''''''''''''0''''''''''''''''''''''1''0'">
              <a:rPr lang="en-US" sz="900"/>
              <a:pPr algn="ctr"/>
              <a:t>2010</a:t>
            </a:fld>
            <a:endParaRPr lang="ru-RU" sz="900"/>
          </a:p>
        </p:txBody>
      </p:sp>
      <p:sp>
        <p:nvSpPr>
          <p:cNvPr id="103698" name="Rectangle 10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2625725" y="2828925"/>
            <a:ext cx="427038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/>
          <a:lstStyle/>
          <a:p>
            <a:pPr algn="ctr"/>
            <a:fld id="{93C90280-24C8-4883-84D9-8042799E73D7}" type="datetime'''''''''''''''''''''4''''6''.''''8''''6''''''''''''6'">
              <a:rPr lang="en-US" sz="1000"/>
              <a:pPr algn="ctr"/>
              <a:t>46.866</a:t>
            </a:fld>
            <a:endParaRPr lang="ru-RU" sz="1000"/>
          </a:p>
        </p:txBody>
      </p:sp>
      <p:sp>
        <p:nvSpPr>
          <p:cNvPr id="103699" name="Rectangle 9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2033588" y="3402013"/>
            <a:ext cx="266700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/>
            <a:fld id="{6259053F-D664-481E-9D55-CA061B247FFF}" type="datetime'''2''''''''''''''''''0''''''''''0''''''''''9'''''">
              <a:rPr lang="en-US" sz="900"/>
              <a:pPr algn="ctr"/>
              <a:t>2009</a:t>
            </a:fld>
            <a:endParaRPr lang="ru-RU" sz="900"/>
          </a:p>
        </p:txBody>
      </p:sp>
      <p:sp>
        <p:nvSpPr>
          <p:cNvPr id="103700" name="Rectangle 8"/>
          <p:cNvSpPr>
            <a:spLocks noChangeArrowheads="1"/>
          </p:cNvSpPr>
          <p:nvPr>
            <p:custDataLst>
              <p:tags r:id="rId15"/>
            </p:custDataLst>
          </p:nvPr>
        </p:nvSpPr>
        <p:spPr bwMode="gray">
          <a:xfrm>
            <a:off x="1952625" y="2874963"/>
            <a:ext cx="427038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/>
          <a:lstStyle/>
          <a:p>
            <a:pPr algn="ctr"/>
            <a:fld id="{F5B49610-51F6-487C-B87F-F72F0DA867B4}" type="datetime'''''''4''''''''''''2''''.''''''''''''''53''''''''''''4'''''''">
              <a:rPr lang="en-US" sz="1000"/>
              <a:pPr algn="ctr"/>
              <a:t>42.534</a:t>
            </a:fld>
            <a:endParaRPr lang="ru-RU" sz="1000"/>
          </a:p>
        </p:txBody>
      </p:sp>
      <p:sp>
        <p:nvSpPr>
          <p:cNvPr id="103701" name="Rectangle 7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1363663" y="3397250"/>
            <a:ext cx="266700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/>
            <a:fld id="{BEF71E20-BEC1-4B0A-9974-39269C3CC3AA}" type="datetime'''''2''''0''''''''''''''''''''''0''''''''8'''''''''''''''">
              <a:rPr lang="en-US" sz="900"/>
              <a:pPr algn="ctr"/>
              <a:t>2008</a:t>
            </a:fld>
            <a:endParaRPr lang="ru-RU" sz="900"/>
          </a:p>
        </p:txBody>
      </p:sp>
      <p:sp>
        <p:nvSpPr>
          <p:cNvPr id="103702" name="Rectangle 6"/>
          <p:cNvSpPr>
            <a:spLocks noChangeArrowheads="1"/>
          </p:cNvSpPr>
          <p:nvPr>
            <p:custDataLst>
              <p:tags r:id="rId17"/>
            </p:custDataLst>
          </p:nvPr>
        </p:nvSpPr>
        <p:spPr bwMode="gray">
          <a:xfrm>
            <a:off x="1289050" y="2932113"/>
            <a:ext cx="427038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/>
          <a:lstStyle/>
          <a:p>
            <a:pPr algn="ctr"/>
            <a:fld id="{870A1ED7-9BFB-4098-900A-2D42E23CEAAD}" type="datetime'''''3''8''''.''''''''''''''''''''''''''''''''''3''''''17'''">
              <a:rPr lang="en-US" sz="1000"/>
              <a:pPr algn="ctr"/>
              <a:t>38.317</a:t>
            </a:fld>
            <a:endParaRPr lang="ru-RU" sz="1000"/>
          </a:p>
        </p:txBody>
      </p:sp>
      <p:sp>
        <p:nvSpPr>
          <p:cNvPr id="103703" name="Rectangle 5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96913" y="3398838"/>
            <a:ext cx="266700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/>
            <a:fld id="{6F217D1E-EDEB-4EEE-8CEE-AC830320335D}" type="datetime'''''2''''0''''''''''''''''0''''''''4'">
              <a:rPr lang="en-US" sz="900"/>
              <a:pPr algn="ctr"/>
              <a:t>2004</a:t>
            </a:fld>
            <a:endParaRPr lang="ru-RU" sz="900"/>
          </a:p>
        </p:txBody>
      </p:sp>
      <p:sp>
        <p:nvSpPr>
          <p:cNvPr id="103704" name="Text Box 15"/>
          <p:cNvSpPr txBox="1">
            <a:spLocks noChangeArrowheads="1"/>
          </p:cNvSpPr>
          <p:nvPr/>
        </p:nvSpPr>
        <p:spPr bwMode="auto">
          <a:xfrm>
            <a:off x="322263" y="2047875"/>
            <a:ext cx="4321175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200">
                <a:solidFill>
                  <a:srgbClr val="000000"/>
                </a:solidFill>
              </a:rPr>
              <a:t>Динамика средней заработной платы в Чукотском АО,  руб. в месяц</a:t>
            </a:r>
          </a:p>
        </p:txBody>
      </p:sp>
      <p:sp>
        <p:nvSpPr>
          <p:cNvPr id="103705" name="Rectangle 16"/>
          <p:cNvSpPr>
            <a:spLocks noChangeArrowheads="1"/>
          </p:cNvSpPr>
          <p:nvPr/>
        </p:nvSpPr>
        <p:spPr bwMode="auto">
          <a:xfrm>
            <a:off x="222250" y="2057400"/>
            <a:ext cx="4551363" cy="1508125"/>
          </a:xfrm>
          <a:prstGeom prst="rect">
            <a:avLst/>
          </a:prstGeom>
          <a:noFill/>
          <a:ln w="9525" algn="ctr">
            <a:solidFill>
              <a:srgbClr val="0000CC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graphicFrame>
        <p:nvGraphicFramePr>
          <p:cNvPr id="103632" name="Object 1232"/>
          <p:cNvGraphicFramePr>
            <a:graphicFrameLocks/>
          </p:cNvGraphicFramePr>
          <p:nvPr>
            <p:custDataLst>
              <p:tags r:id="rId19"/>
            </p:custDataLst>
          </p:nvPr>
        </p:nvGraphicFramePr>
        <p:xfrm>
          <a:off x="342900" y="965200"/>
          <a:ext cx="4248150" cy="938213"/>
        </p:xfrm>
        <a:graphic>
          <a:graphicData uri="http://schemas.openxmlformats.org/presentationml/2006/ole">
            <p:oleObj spid="_x0000_s103632" name="Chart" r:id="rId76" imgW="4400460" imgH="1162140" progId="MSGraph.Chart.8">
              <p:embed followColorScheme="full"/>
            </p:oleObj>
          </a:graphicData>
        </a:graphic>
      </p:graphicFrame>
      <p:cxnSp>
        <p:nvCxnSpPr>
          <p:cNvPr id="103706" name="Straight Connector 2"/>
          <p:cNvCxnSpPr>
            <a:cxnSpLocks noChangeShapeType="1"/>
          </p:cNvCxnSpPr>
          <p:nvPr>
            <p:custDataLst>
              <p:tags r:id="rId20"/>
            </p:custDataLst>
          </p:nvPr>
        </p:nvCxnSpPr>
        <p:spPr bwMode="auto">
          <a:xfrm flipV="1">
            <a:off x="784225" y="746125"/>
            <a:ext cx="3421063" cy="622300"/>
          </a:xfrm>
          <a:prstGeom prst="line">
            <a:avLst/>
          </a:prstGeom>
          <a:noFill/>
          <a:ln w="25400" algn="ctr">
            <a:solidFill>
              <a:schemeClr val="tx1"/>
            </a:solidFill>
            <a:round/>
            <a:headEnd/>
            <a:tailEnd type="triangle" w="med" len="med"/>
          </a:ln>
        </p:spPr>
      </p:cxnSp>
      <p:sp>
        <p:nvSpPr>
          <p:cNvPr id="103707" name="Oval 28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1827213" y="917575"/>
            <a:ext cx="1223962" cy="238125"/>
          </a:xfrm>
          <a:prstGeom prst="ellipse">
            <a:avLst/>
          </a:prstGeom>
          <a:solidFill>
            <a:srgbClr val="FFFFFF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b="1"/>
              <a:t>CAGR</a:t>
            </a:r>
            <a:r>
              <a:rPr lang="ru-RU" b="1"/>
              <a:t>*</a:t>
            </a:r>
            <a:r>
              <a:rPr lang="en-US" b="1"/>
              <a:t> </a:t>
            </a:r>
            <a:fld id="{D7D3875B-99F3-4DE8-9AED-D3B5B43E795B}" type="datetime'''''''''''''''''''''''''''''''+''15''''''''''''''%'''''''">
              <a:rPr lang="en-US" b="1"/>
              <a:pPr algn="ctr"/>
              <a:t>+15%</a:t>
            </a:fld>
            <a:endParaRPr lang="ru-RU" b="1"/>
          </a:p>
        </p:txBody>
      </p:sp>
      <p:sp>
        <p:nvSpPr>
          <p:cNvPr id="103708" name="Rectangle 69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auto">
          <a:xfrm>
            <a:off x="4024313" y="1854200"/>
            <a:ext cx="266700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 eaLnBrk="0" hangingPunct="0"/>
            <a:fld id="{65F3A452-7702-4452-A914-05B36C48019F}" type="datetime'''''''20''''''''''''''''''''''''''''''''''''''1''''''''2'">
              <a:rPr lang="en-US" sz="900"/>
              <a:pPr algn="ctr" eaLnBrk="0" hangingPunct="0"/>
              <a:t>2012</a:t>
            </a:fld>
            <a:endParaRPr lang="en-US" sz="900">
              <a:sym typeface="Arial" charset="0"/>
            </a:endParaRPr>
          </a:p>
        </p:txBody>
      </p:sp>
      <p:sp>
        <p:nvSpPr>
          <p:cNvPr id="103709" name="Rectangle 73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gray">
          <a:xfrm>
            <a:off x="3948113" y="1106488"/>
            <a:ext cx="427037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/>
          <a:lstStyle/>
          <a:p>
            <a:pPr algn="ctr" eaLnBrk="0" hangingPunct="0"/>
            <a:fld id="{465836CB-9ED1-4E9C-8A11-555F2AE49EC3}" type="datetime'''4''''''''''''5''''''.''''''''1''1''''''''''''''6'''''">
              <a:rPr lang="en-US" sz="1000"/>
              <a:pPr algn="ctr" eaLnBrk="0" hangingPunct="0"/>
              <a:t>45.116</a:t>
            </a:fld>
            <a:endParaRPr lang="en-US" sz="1000">
              <a:sym typeface="Arial" charset="0"/>
            </a:endParaRPr>
          </a:p>
        </p:txBody>
      </p:sp>
      <p:sp>
        <p:nvSpPr>
          <p:cNvPr id="103710" name="Rectangle 71"/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auto">
          <a:xfrm>
            <a:off x="3351213" y="1855788"/>
            <a:ext cx="266700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 eaLnBrk="0" hangingPunct="0"/>
            <a:fld id="{F506BFC5-C2DB-470B-96EE-7922B65FF529}" type="datetime'''''''''''''''''''''''''2''''0''1''''''''''''1'''''''''">
              <a:rPr lang="en-US" sz="900"/>
              <a:pPr algn="ctr" eaLnBrk="0" hangingPunct="0"/>
              <a:t>2011</a:t>
            </a:fld>
            <a:endParaRPr lang="en-US" sz="900">
              <a:sym typeface="Arial" charset="0"/>
            </a:endParaRPr>
          </a:p>
        </p:txBody>
      </p:sp>
      <p:sp>
        <p:nvSpPr>
          <p:cNvPr id="103711" name="Rectangle 72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gray">
          <a:xfrm>
            <a:off x="3281363" y="1146175"/>
            <a:ext cx="427037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/>
          <a:lstStyle/>
          <a:p>
            <a:pPr algn="ctr" eaLnBrk="0" hangingPunct="0"/>
            <a:fld id="{384B2922-3181-4AAD-A66E-1F96046319D0}" type="datetime'4''''''''''''''''''''''''3''.''''''''''0''4''''9'">
              <a:rPr lang="en-US" sz="1000"/>
              <a:pPr algn="ctr" eaLnBrk="0" hangingPunct="0"/>
              <a:t>43.049</a:t>
            </a:fld>
            <a:endParaRPr lang="en-US" sz="1000">
              <a:sym typeface="Arial" charset="0"/>
            </a:endParaRPr>
          </a:p>
        </p:txBody>
      </p:sp>
      <p:sp>
        <p:nvSpPr>
          <p:cNvPr id="103712" name="Rectangle 68"/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auto">
          <a:xfrm>
            <a:off x="2682875" y="1855788"/>
            <a:ext cx="266700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 eaLnBrk="0" hangingPunct="0"/>
            <a:fld id="{C037552A-A32D-4485-93E7-60FBBAC0AB89}" type="datetime'2''''''0''''''''''1''''''''''''''''''''''0'''''''''">
              <a:rPr lang="en-US" sz="900"/>
              <a:pPr algn="ctr" eaLnBrk="0" hangingPunct="0"/>
              <a:t>2010</a:t>
            </a:fld>
            <a:endParaRPr lang="en-US" sz="900">
              <a:sym typeface="Arial" charset="0"/>
            </a:endParaRPr>
          </a:p>
        </p:txBody>
      </p:sp>
      <p:sp>
        <p:nvSpPr>
          <p:cNvPr id="103713" name="Rectangle 24"/>
          <p:cNvSpPr>
            <a:spLocks noChangeArrowheads="1"/>
          </p:cNvSpPr>
          <p:nvPr>
            <p:custDataLst>
              <p:tags r:id="rId27"/>
            </p:custDataLst>
          </p:nvPr>
        </p:nvSpPr>
        <p:spPr bwMode="gray">
          <a:xfrm>
            <a:off x="2595563" y="1225550"/>
            <a:ext cx="427037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/>
          <a:lstStyle/>
          <a:p>
            <a:pPr algn="ctr"/>
            <a:fld id="{DE2CBC06-91B8-468A-A863-2A1BBFBD1CC7}" type="datetime'''3''8''''''''''''''''.''14''''''''''''''''''''''7'''''''''">
              <a:rPr lang="en-US" sz="1000"/>
              <a:pPr algn="ctr"/>
              <a:t>38.147</a:t>
            </a:fld>
            <a:endParaRPr lang="ru-RU" sz="1000"/>
          </a:p>
        </p:txBody>
      </p:sp>
      <p:sp>
        <p:nvSpPr>
          <p:cNvPr id="103714" name="Rectangle 67"/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auto">
          <a:xfrm>
            <a:off x="2009775" y="1855788"/>
            <a:ext cx="266700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 eaLnBrk="0" hangingPunct="0"/>
            <a:fld id="{5985EB83-8576-45CB-9DFA-8E4C7D637E4E}" type="datetime'2''''''''''''0''''''''''''''''0''''9'''''">
              <a:rPr lang="en-US" sz="900"/>
              <a:pPr algn="ctr" eaLnBrk="0" hangingPunct="0"/>
              <a:t>2009</a:t>
            </a:fld>
            <a:endParaRPr lang="en-US" sz="900">
              <a:sym typeface="Arial" charset="0"/>
            </a:endParaRPr>
          </a:p>
        </p:txBody>
      </p:sp>
      <p:sp>
        <p:nvSpPr>
          <p:cNvPr id="103715" name="Rectangle 22"/>
          <p:cNvSpPr>
            <a:spLocks noChangeArrowheads="1"/>
          </p:cNvSpPr>
          <p:nvPr>
            <p:custDataLst>
              <p:tags r:id="rId29"/>
            </p:custDataLst>
          </p:nvPr>
        </p:nvSpPr>
        <p:spPr bwMode="gray">
          <a:xfrm>
            <a:off x="1941513" y="1296988"/>
            <a:ext cx="427037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/>
          <a:lstStyle/>
          <a:p>
            <a:pPr algn="ctr"/>
            <a:fld id="{29134DF1-FF38-4012-964D-99BCECBCA1B6}" type="datetime'''''''''''''''''3''''3''''''''''''.''''''''''''60''''7'''">
              <a:rPr lang="en-US" sz="1000"/>
              <a:pPr algn="ctr"/>
              <a:t>33.607</a:t>
            </a:fld>
            <a:endParaRPr lang="ru-RU" sz="1000"/>
          </a:p>
        </p:txBody>
      </p:sp>
      <p:sp>
        <p:nvSpPr>
          <p:cNvPr id="103716" name="Rectangle 66"/>
          <p:cNvSpPr>
            <a:spLocks noGrp="1" noChangeArrowheads="1"/>
          </p:cNvSpPr>
          <p:nvPr>
            <p:custDataLst>
              <p:tags r:id="rId30"/>
            </p:custDataLst>
          </p:nvPr>
        </p:nvSpPr>
        <p:spPr bwMode="auto">
          <a:xfrm>
            <a:off x="1319213" y="1857375"/>
            <a:ext cx="266700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 eaLnBrk="0" hangingPunct="0"/>
            <a:fld id="{9F505B2A-A52C-4690-8524-2DB6713EBC79}" type="datetime'''''''''''20''''''''''08'''''''''''''''">
              <a:rPr lang="en-US" sz="900"/>
              <a:pPr algn="ctr" eaLnBrk="0" hangingPunct="0"/>
              <a:t>2008</a:t>
            </a:fld>
            <a:endParaRPr lang="en-US" sz="900">
              <a:sym typeface="Arial" charset="0"/>
            </a:endParaRPr>
          </a:p>
        </p:txBody>
      </p:sp>
      <p:sp>
        <p:nvSpPr>
          <p:cNvPr id="103717" name="Rectangle 20"/>
          <p:cNvSpPr>
            <a:spLocks noChangeArrowheads="1"/>
          </p:cNvSpPr>
          <p:nvPr>
            <p:custDataLst>
              <p:tags r:id="rId31"/>
            </p:custDataLst>
          </p:nvPr>
        </p:nvSpPr>
        <p:spPr bwMode="gray">
          <a:xfrm>
            <a:off x="1257300" y="1355725"/>
            <a:ext cx="427038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/>
          <a:lstStyle/>
          <a:p>
            <a:pPr algn="ctr"/>
            <a:fld id="{5E0F0A47-1AF4-440D-B36E-6445F7AFE589}" type="datetime'''''3''''''''''''''''''0''''''''''''.55''''''4'">
              <a:rPr lang="en-US" sz="1000"/>
              <a:pPr algn="ctr"/>
              <a:t>30.554</a:t>
            </a:fld>
            <a:endParaRPr lang="ru-RU" sz="1000"/>
          </a:p>
        </p:txBody>
      </p:sp>
      <p:sp>
        <p:nvSpPr>
          <p:cNvPr id="103718" name="Rectangle 65"/>
          <p:cNvSpPr>
            <a:spLocks noGrp="1" noChangeArrowheads="1"/>
          </p:cNvSpPr>
          <p:nvPr>
            <p:custDataLst>
              <p:tags r:id="rId32"/>
            </p:custDataLst>
          </p:nvPr>
        </p:nvSpPr>
        <p:spPr bwMode="auto">
          <a:xfrm>
            <a:off x="652463" y="1855788"/>
            <a:ext cx="266700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 eaLnBrk="0" hangingPunct="0"/>
            <a:fld id="{0E87A4D2-3C81-44D7-B15B-3761D5EA1CAB}" type="datetime'''''''''''''''''2''''0''''''''''''''0''''''''''4'''''''">
              <a:rPr lang="en-US" sz="900"/>
              <a:pPr algn="ctr" eaLnBrk="0" hangingPunct="0"/>
              <a:t>2004</a:t>
            </a:fld>
            <a:endParaRPr lang="en-US" sz="900">
              <a:sym typeface="Arial" charset="0"/>
            </a:endParaRPr>
          </a:p>
        </p:txBody>
      </p:sp>
      <p:sp>
        <p:nvSpPr>
          <p:cNvPr id="103719" name="Rectangle 18"/>
          <p:cNvSpPr>
            <a:spLocks noChangeArrowheads="1"/>
          </p:cNvSpPr>
          <p:nvPr>
            <p:custDataLst>
              <p:tags r:id="rId33"/>
            </p:custDataLst>
          </p:nvPr>
        </p:nvSpPr>
        <p:spPr bwMode="gray">
          <a:xfrm>
            <a:off x="571500" y="1601788"/>
            <a:ext cx="427038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/>
          <a:lstStyle/>
          <a:p>
            <a:pPr algn="ctr"/>
            <a:fld id="{58EC8651-037C-4A85-A79B-DA1C5538D45E}" type="datetime'''''''''''1''''''''''''''5''''''.0''''''''''4''2'''''">
              <a:rPr lang="en-US" sz="1000"/>
              <a:pPr algn="ctr"/>
              <a:t>15.042</a:t>
            </a:fld>
            <a:endParaRPr lang="ru-RU" sz="1000"/>
          </a:p>
        </p:txBody>
      </p:sp>
      <p:sp>
        <p:nvSpPr>
          <p:cNvPr id="103720" name="Text Box 29"/>
          <p:cNvSpPr txBox="1">
            <a:spLocks noChangeArrowheads="1"/>
          </p:cNvSpPr>
          <p:nvPr/>
        </p:nvSpPr>
        <p:spPr bwMode="auto">
          <a:xfrm>
            <a:off x="322263" y="434975"/>
            <a:ext cx="4321175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200">
                <a:solidFill>
                  <a:srgbClr val="000000"/>
                </a:solidFill>
              </a:rPr>
              <a:t>Динамика среднедушевых доходов населения в Чукотском АО, руб. в месяц</a:t>
            </a:r>
          </a:p>
        </p:txBody>
      </p:sp>
      <p:sp>
        <p:nvSpPr>
          <p:cNvPr id="103721" name="Rectangle 30"/>
          <p:cNvSpPr>
            <a:spLocks noChangeArrowheads="1"/>
          </p:cNvSpPr>
          <p:nvPr/>
        </p:nvSpPr>
        <p:spPr bwMode="auto">
          <a:xfrm>
            <a:off x="222250" y="442913"/>
            <a:ext cx="4551363" cy="1566862"/>
          </a:xfrm>
          <a:prstGeom prst="rect">
            <a:avLst/>
          </a:prstGeom>
          <a:noFill/>
          <a:ln w="9525" algn="ctr">
            <a:solidFill>
              <a:srgbClr val="0000CC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103722" name="Text Box 31"/>
          <p:cNvSpPr txBox="1">
            <a:spLocks noChangeArrowheads="1"/>
          </p:cNvSpPr>
          <p:nvPr/>
        </p:nvSpPr>
        <p:spPr bwMode="auto">
          <a:xfrm>
            <a:off x="4865688" y="427038"/>
            <a:ext cx="410686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ru-RU" sz="1200"/>
              <a:t>Соотношение средней заработной платы к прожиточному минимуму в регионах России, 2012г., %</a:t>
            </a:r>
          </a:p>
        </p:txBody>
      </p:sp>
      <p:graphicFrame>
        <p:nvGraphicFramePr>
          <p:cNvPr id="103633" name="Object 1233"/>
          <p:cNvGraphicFramePr>
            <a:graphicFrameLocks/>
          </p:cNvGraphicFramePr>
          <p:nvPr>
            <p:custDataLst>
              <p:tags r:id="rId34"/>
            </p:custDataLst>
          </p:nvPr>
        </p:nvGraphicFramePr>
        <p:xfrm>
          <a:off x="6210300" y="803275"/>
          <a:ext cx="1812925" cy="2663825"/>
        </p:xfrm>
        <a:graphic>
          <a:graphicData uri="http://schemas.openxmlformats.org/presentationml/2006/ole">
            <p:oleObj spid="_x0000_s103633" name="Диаграмма" r:id="rId77" imgW="2314473" imgH="3752887" progId="MSGraph.Chart.8">
              <p:embed followColorScheme="full"/>
            </p:oleObj>
          </a:graphicData>
        </a:graphic>
      </p:graphicFrame>
      <p:sp>
        <p:nvSpPr>
          <p:cNvPr id="103723" name="Rectangle 42"/>
          <p:cNvSpPr>
            <a:spLocks noChangeArrowheads="1"/>
          </p:cNvSpPr>
          <p:nvPr>
            <p:custDataLst>
              <p:tags r:id="rId35"/>
            </p:custDataLst>
          </p:nvPr>
        </p:nvSpPr>
        <p:spPr bwMode="auto">
          <a:xfrm>
            <a:off x="5292725" y="3130550"/>
            <a:ext cx="955675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r"/>
            <a:r>
              <a:rPr lang="ru-RU"/>
              <a:t>ДФО (средн.)</a:t>
            </a:r>
          </a:p>
        </p:txBody>
      </p:sp>
      <p:sp>
        <p:nvSpPr>
          <p:cNvPr id="103724" name="Text Placeholder 9"/>
          <p:cNvSpPr txBox="1">
            <a:spLocks/>
          </p:cNvSpPr>
          <p:nvPr>
            <p:custDataLst>
              <p:tags r:id="rId36"/>
            </p:custDataLst>
          </p:nvPr>
        </p:nvSpPr>
        <p:spPr bwMode="auto">
          <a:xfrm>
            <a:off x="7165975" y="3148013"/>
            <a:ext cx="35718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7463" tIns="0" rIns="17463" bIns="0" anchor="ctr"/>
          <a:lstStyle/>
          <a:p>
            <a:pPr eaLnBrk="0" hangingPunct="0">
              <a:buClr>
                <a:schemeClr val="hlink"/>
              </a:buClr>
              <a:buFont typeface="Arial" charset="0"/>
              <a:buNone/>
            </a:pPr>
            <a:fld id="{CD3448C5-E23F-46B7-B3BC-5F269EE60480}" type="datetime'''''''2''''''''''''7''1%'''''''''''''''''''''''''">
              <a:rPr lang="en-US" sz="1000"/>
              <a:pPr eaLnBrk="0" hangingPunct="0">
                <a:buClr>
                  <a:schemeClr val="hlink"/>
                </a:buClr>
                <a:buFont typeface="Arial" charset="0"/>
                <a:buNone/>
              </a:pPr>
              <a:t>271%</a:t>
            </a:fld>
            <a:endParaRPr lang="en-US" sz="1000">
              <a:sym typeface="Arial" charset="0"/>
            </a:endParaRPr>
          </a:p>
        </p:txBody>
      </p:sp>
      <p:sp>
        <p:nvSpPr>
          <p:cNvPr id="103725" name="Rectangle 40"/>
          <p:cNvSpPr>
            <a:spLocks noChangeArrowheads="1"/>
          </p:cNvSpPr>
          <p:nvPr>
            <p:custDataLst>
              <p:tags r:id="rId37"/>
            </p:custDataLst>
          </p:nvPr>
        </p:nvSpPr>
        <p:spPr bwMode="auto">
          <a:xfrm>
            <a:off x="5340350" y="2784475"/>
            <a:ext cx="908050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r"/>
            <a:fld id="{C9C6E7FB-D79E-4D40-8FA7-1144396BF3C0}" type="datetime'''''''''''''С''''''а''ха ''''''(''''''''''''Якутия'')'''''">
              <a:rPr lang="en-US"/>
              <a:pPr algn="r"/>
              <a:t>Саха (Якутия)</a:t>
            </a:fld>
            <a:endParaRPr lang="ru-RU"/>
          </a:p>
        </p:txBody>
      </p:sp>
      <p:sp>
        <p:nvSpPr>
          <p:cNvPr id="103726" name="Text Placeholder 8"/>
          <p:cNvSpPr txBox="1">
            <a:spLocks/>
          </p:cNvSpPr>
          <p:nvPr>
            <p:custDataLst>
              <p:tags r:id="rId38"/>
            </p:custDataLst>
          </p:nvPr>
        </p:nvSpPr>
        <p:spPr bwMode="auto">
          <a:xfrm>
            <a:off x="7231063" y="2781300"/>
            <a:ext cx="357187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7463" tIns="0" rIns="17463" bIns="0" anchor="ctr"/>
          <a:lstStyle/>
          <a:p>
            <a:pPr eaLnBrk="0" hangingPunct="0">
              <a:buClr>
                <a:schemeClr val="hlink"/>
              </a:buClr>
              <a:buFont typeface="Arial" charset="0"/>
              <a:buNone/>
            </a:pPr>
            <a:fld id="{8E25A7B0-5673-4CF2-A5A2-FB55B2BEFD26}" type="datetime'''''''''''''''293''''''%'''''''''''">
              <a:rPr lang="en-US" sz="1000"/>
              <a:pPr eaLnBrk="0" hangingPunct="0">
                <a:buClr>
                  <a:schemeClr val="hlink"/>
                </a:buClr>
                <a:buFont typeface="Arial" charset="0"/>
                <a:buNone/>
              </a:pPr>
              <a:t>293%</a:t>
            </a:fld>
            <a:endParaRPr lang="en-US" sz="1000">
              <a:sym typeface="Arial" charset="0"/>
            </a:endParaRPr>
          </a:p>
        </p:txBody>
      </p:sp>
      <p:sp>
        <p:nvSpPr>
          <p:cNvPr id="103727" name="Rectangle 77"/>
          <p:cNvSpPr>
            <a:spLocks noGrp="1" noChangeArrowheads="1"/>
          </p:cNvSpPr>
          <p:nvPr>
            <p:custDataLst>
              <p:tags r:id="rId39"/>
            </p:custDataLst>
          </p:nvPr>
        </p:nvSpPr>
        <p:spPr bwMode="auto">
          <a:xfrm>
            <a:off x="5230813" y="2422525"/>
            <a:ext cx="1017587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r" eaLnBrk="0" hangingPunct="0"/>
            <a:fld id="{728CFC86-7CA2-422E-96FD-1ABF767CDF30}" type="datetime'Ро''''сс''''''и''''я (с''ре''''''''''д''н''''''.'')'''''">
              <a:rPr lang="en-US"/>
              <a:pPr algn="r" eaLnBrk="0" hangingPunct="0"/>
              <a:t>Россия (средн.)</a:t>
            </a:fld>
            <a:endParaRPr lang="en-US">
              <a:sym typeface="Arial" charset="0"/>
            </a:endParaRPr>
          </a:p>
        </p:txBody>
      </p:sp>
      <p:sp>
        <p:nvSpPr>
          <p:cNvPr id="103728" name="Text Placeholder 7"/>
          <p:cNvSpPr txBox="1">
            <a:spLocks/>
          </p:cNvSpPr>
          <p:nvPr>
            <p:custDataLst>
              <p:tags r:id="rId40"/>
            </p:custDataLst>
          </p:nvPr>
        </p:nvSpPr>
        <p:spPr bwMode="auto">
          <a:xfrm>
            <a:off x="7378700" y="2419350"/>
            <a:ext cx="35718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7463" tIns="0" rIns="17463" bIns="0" anchor="ctr"/>
          <a:lstStyle/>
          <a:p>
            <a:pPr eaLnBrk="0" hangingPunct="0">
              <a:buClr>
                <a:schemeClr val="hlink"/>
              </a:buClr>
              <a:buFont typeface="Arial" charset="0"/>
              <a:buNone/>
            </a:pPr>
            <a:fld id="{95D05C76-7DBC-4818-9210-9E8F9A6FE804}" type="datetime'''''3''''''4''''''''''''''''''''''''5''%'''''''''''''''">
              <a:rPr lang="en-US" sz="1000"/>
              <a:pPr eaLnBrk="0" hangingPunct="0">
                <a:buClr>
                  <a:schemeClr val="hlink"/>
                </a:buClr>
                <a:buFont typeface="Arial" charset="0"/>
                <a:buNone/>
              </a:pPr>
              <a:t>345%</a:t>
            </a:fld>
            <a:endParaRPr lang="en-US" sz="1000">
              <a:sym typeface="Arial" charset="0"/>
            </a:endParaRPr>
          </a:p>
        </p:txBody>
      </p:sp>
      <p:sp>
        <p:nvSpPr>
          <p:cNvPr id="103729" name="Rectangle 38"/>
          <p:cNvSpPr>
            <a:spLocks noChangeArrowheads="1"/>
          </p:cNvSpPr>
          <p:nvPr>
            <p:custDataLst>
              <p:tags r:id="rId41"/>
            </p:custDataLst>
          </p:nvPr>
        </p:nvSpPr>
        <p:spPr bwMode="auto">
          <a:xfrm>
            <a:off x="5089525" y="2060575"/>
            <a:ext cx="1158875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r"/>
            <a:fld id="{0FFFA2DB-BBE2-48F8-B6B4-5C3EAC84DC37}" type="datetime'''''Ма''''га''''д''а''н''ск''а''я ''''''о''''б''''л.'''''">
              <a:rPr lang="en-US"/>
              <a:pPr algn="r"/>
              <a:t>Магаданская обл.</a:t>
            </a:fld>
            <a:endParaRPr lang="ru-RU"/>
          </a:p>
        </p:txBody>
      </p:sp>
      <p:sp>
        <p:nvSpPr>
          <p:cNvPr id="103730" name="Text Placeholder 6"/>
          <p:cNvSpPr txBox="1">
            <a:spLocks/>
          </p:cNvSpPr>
          <p:nvPr>
            <p:custDataLst>
              <p:tags r:id="rId42"/>
            </p:custDataLst>
          </p:nvPr>
        </p:nvSpPr>
        <p:spPr bwMode="auto">
          <a:xfrm>
            <a:off x="7439025" y="2073275"/>
            <a:ext cx="35718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7463" tIns="0" rIns="17463" bIns="0" anchor="ctr"/>
          <a:lstStyle/>
          <a:p>
            <a:pPr eaLnBrk="0" hangingPunct="0">
              <a:buClr>
                <a:schemeClr val="hlink"/>
              </a:buClr>
              <a:buFont typeface="Arial" charset="0"/>
              <a:buNone/>
            </a:pPr>
            <a:fld id="{0660218B-71C4-4F99-ABB5-26C863CC42EB}" type="datetime'''''''''''3''''6''''''''''''5%'''''''''''''''''''''''''''''''">
              <a:rPr lang="en-US" sz="1000"/>
              <a:pPr eaLnBrk="0" hangingPunct="0">
                <a:buClr>
                  <a:schemeClr val="hlink"/>
                </a:buClr>
                <a:buFont typeface="Arial" charset="0"/>
                <a:buNone/>
              </a:pPr>
              <a:t>365%</a:t>
            </a:fld>
            <a:endParaRPr lang="en-US" sz="1000">
              <a:sym typeface="Arial" charset="0"/>
            </a:endParaRPr>
          </a:p>
        </p:txBody>
      </p:sp>
      <p:sp>
        <p:nvSpPr>
          <p:cNvPr id="103731" name="Rectangle 36"/>
          <p:cNvSpPr>
            <a:spLocks noChangeArrowheads="1"/>
          </p:cNvSpPr>
          <p:nvPr>
            <p:custDataLst>
              <p:tags r:id="rId43"/>
            </p:custDataLst>
          </p:nvPr>
        </p:nvSpPr>
        <p:spPr bwMode="auto">
          <a:xfrm>
            <a:off x="5354638" y="1714500"/>
            <a:ext cx="893762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r"/>
            <a:fld id="{19244CD0-DDB2-4904-9687-8C06DA07B0DA}" type="datetime'''''''''Чук''''''от''с''к''''''''''''''ий ''А''О'''''''''''''">
              <a:rPr lang="en-US"/>
              <a:pPr algn="r"/>
              <a:t>Чукотский АО</a:t>
            </a:fld>
            <a:endParaRPr lang="ru-RU"/>
          </a:p>
        </p:txBody>
      </p:sp>
      <p:sp>
        <p:nvSpPr>
          <p:cNvPr id="103732" name="Text Placeholder 5"/>
          <p:cNvSpPr txBox="1">
            <a:spLocks/>
          </p:cNvSpPr>
          <p:nvPr>
            <p:custDataLst>
              <p:tags r:id="rId44"/>
            </p:custDataLst>
          </p:nvPr>
        </p:nvSpPr>
        <p:spPr bwMode="auto">
          <a:xfrm>
            <a:off x="7531100" y="1717675"/>
            <a:ext cx="35718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7463" tIns="0" rIns="17463" bIns="0" anchor="ctr"/>
          <a:lstStyle/>
          <a:p>
            <a:pPr eaLnBrk="0" hangingPunct="0">
              <a:buClr>
                <a:schemeClr val="hlink"/>
              </a:buClr>
              <a:buFont typeface="Arial" charset="0"/>
              <a:buNone/>
            </a:pPr>
            <a:fld id="{4E12ECB6-E4A5-47A8-B52B-49AA398395F3}" type="datetime'''''39''''''7''''''''''''''''''''''''''''''''%'''''''''''''">
              <a:rPr lang="en-US" sz="1000"/>
              <a:pPr eaLnBrk="0" hangingPunct="0">
                <a:buClr>
                  <a:schemeClr val="hlink"/>
                </a:buClr>
                <a:buFont typeface="Arial" charset="0"/>
                <a:buNone/>
              </a:pPr>
              <a:t>397%</a:t>
            </a:fld>
            <a:endParaRPr lang="en-US" sz="1000">
              <a:sym typeface="Arial" charset="0"/>
            </a:endParaRPr>
          </a:p>
        </p:txBody>
      </p:sp>
      <p:sp>
        <p:nvSpPr>
          <p:cNvPr id="103733" name="Rectangle 79"/>
          <p:cNvSpPr>
            <a:spLocks noGrp="1" noChangeArrowheads="1"/>
          </p:cNvSpPr>
          <p:nvPr>
            <p:custDataLst>
              <p:tags r:id="rId45"/>
            </p:custDataLst>
          </p:nvPr>
        </p:nvSpPr>
        <p:spPr bwMode="auto">
          <a:xfrm>
            <a:off x="5762625" y="1360488"/>
            <a:ext cx="477838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r" eaLnBrk="0" hangingPunct="0"/>
            <a:fld id="{F033ECBF-BF61-4A20-AA00-72DD4C13B115}" type="datetime'''''''''Мо''''''''''''''''с''''''к''''в''''''''а'''''''''''''">
              <a:rPr lang="en-US"/>
              <a:pPr algn="r" eaLnBrk="0" hangingPunct="0"/>
              <a:t>Москва</a:t>
            </a:fld>
            <a:endParaRPr lang="en-US">
              <a:sym typeface="Arial" charset="0"/>
            </a:endParaRPr>
          </a:p>
        </p:txBody>
      </p:sp>
      <p:sp>
        <p:nvSpPr>
          <p:cNvPr id="103734" name="Text Placeholder 4"/>
          <p:cNvSpPr txBox="1">
            <a:spLocks/>
          </p:cNvSpPr>
          <p:nvPr>
            <p:custDataLst>
              <p:tags r:id="rId46"/>
            </p:custDataLst>
          </p:nvPr>
        </p:nvSpPr>
        <p:spPr bwMode="auto">
          <a:xfrm>
            <a:off x="7712075" y="1365250"/>
            <a:ext cx="35718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7463" tIns="0" rIns="17463" bIns="0" anchor="ctr"/>
          <a:lstStyle/>
          <a:p>
            <a:pPr eaLnBrk="0" hangingPunct="0">
              <a:buClr>
                <a:schemeClr val="hlink"/>
              </a:buClr>
              <a:buFont typeface="Arial" charset="0"/>
              <a:buNone/>
            </a:pPr>
            <a:fld id="{C21D5B9D-B70F-4B97-B8C5-C14B17A500B2}" type="datetime'''''''4''''''''''''''''''''''''''56''%'''''''''''">
              <a:rPr lang="en-US" sz="1000"/>
              <a:pPr eaLnBrk="0" hangingPunct="0">
                <a:buClr>
                  <a:schemeClr val="hlink"/>
                </a:buClr>
                <a:buFont typeface="Arial" charset="0"/>
                <a:buNone/>
              </a:pPr>
              <a:t>456%</a:t>
            </a:fld>
            <a:endParaRPr lang="en-US" sz="1000">
              <a:sym typeface="Arial" charset="0"/>
            </a:endParaRPr>
          </a:p>
        </p:txBody>
      </p:sp>
      <p:sp>
        <p:nvSpPr>
          <p:cNvPr id="103735" name="Rectangle 33"/>
          <p:cNvSpPr>
            <a:spLocks noChangeArrowheads="1"/>
          </p:cNvSpPr>
          <p:nvPr>
            <p:custDataLst>
              <p:tags r:id="rId47"/>
            </p:custDataLst>
          </p:nvPr>
        </p:nvSpPr>
        <p:spPr bwMode="auto">
          <a:xfrm>
            <a:off x="5843588" y="998538"/>
            <a:ext cx="404812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r"/>
            <a:fld id="{139ACDE1-80C6-40D9-91BB-CBBDD347EA80}" type="datetime'''''''ЯН''А''''''''''''''''''''''''''''''''О'">
              <a:rPr lang="en-US"/>
              <a:pPr algn="r"/>
              <a:t>ЯНАО</a:t>
            </a:fld>
            <a:endParaRPr lang="ru-RU"/>
          </a:p>
        </p:txBody>
      </p:sp>
      <p:sp>
        <p:nvSpPr>
          <p:cNvPr id="103736" name="Text Placeholder 3"/>
          <p:cNvSpPr txBox="1">
            <a:spLocks/>
          </p:cNvSpPr>
          <p:nvPr>
            <p:custDataLst>
              <p:tags r:id="rId48"/>
            </p:custDataLst>
          </p:nvPr>
        </p:nvSpPr>
        <p:spPr bwMode="auto">
          <a:xfrm>
            <a:off x="7985125" y="1006475"/>
            <a:ext cx="35718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7463" tIns="0" rIns="17463" bIns="0" anchor="ctr"/>
          <a:lstStyle/>
          <a:p>
            <a:pPr eaLnBrk="0" hangingPunct="0">
              <a:buClr>
                <a:schemeClr val="hlink"/>
              </a:buClr>
              <a:buFont typeface="Arial" charset="0"/>
              <a:buNone/>
            </a:pPr>
            <a:fld id="{87CBB2BF-D9B0-46E7-B92C-295DF75B4EC8}" type="datetime'''''5''''''4''''''''''''''''''''''''''''''''''6''''%'''''''">
              <a:rPr lang="en-US" sz="1000"/>
              <a:pPr eaLnBrk="0" hangingPunct="0">
                <a:buClr>
                  <a:schemeClr val="hlink"/>
                </a:buClr>
                <a:buFont typeface="Arial" charset="0"/>
                <a:buNone/>
              </a:pPr>
              <a:t>546%</a:t>
            </a:fld>
            <a:endParaRPr lang="en-US" sz="1000">
              <a:sym typeface="Arial" charset="0"/>
            </a:endParaRPr>
          </a:p>
        </p:txBody>
      </p:sp>
      <p:sp>
        <p:nvSpPr>
          <p:cNvPr id="103737" name="Rectangle 47"/>
          <p:cNvSpPr>
            <a:spLocks noChangeArrowheads="1"/>
          </p:cNvSpPr>
          <p:nvPr/>
        </p:nvSpPr>
        <p:spPr bwMode="auto">
          <a:xfrm>
            <a:off x="4900613" y="441325"/>
            <a:ext cx="4011612" cy="3022600"/>
          </a:xfrm>
          <a:prstGeom prst="rect">
            <a:avLst/>
          </a:prstGeom>
          <a:noFill/>
          <a:ln w="9525" algn="ctr">
            <a:solidFill>
              <a:srgbClr val="0000CC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graphicFrame>
        <p:nvGraphicFramePr>
          <p:cNvPr id="103686" name="Object 1286"/>
          <p:cNvGraphicFramePr>
            <a:graphicFrameLocks/>
          </p:cNvGraphicFramePr>
          <p:nvPr>
            <p:custDataLst>
              <p:tags r:id="rId49"/>
            </p:custDataLst>
          </p:nvPr>
        </p:nvGraphicFramePr>
        <p:xfrm>
          <a:off x="5068888" y="3822700"/>
          <a:ext cx="3702050" cy="1238250"/>
        </p:xfrm>
        <a:graphic>
          <a:graphicData uri="http://schemas.openxmlformats.org/presentationml/2006/ole">
            <p:oleObj spid="_x0000_s103686" name="Chart" r:id="rId78" imgW="3838590" imgH="1514475" progId="MSGraph.Chart.8">
              <p:embed followColorScheme="full"/>
            </p:oleObj>
          </a:graphicData>
        </a:graphic>
      </p:graphicFrame>
      <p:graphicFrame>
        <p:nvGraphicFramePr>
          <p:cNvPr id="103687" name="Object 1287"/>
          <p:cNvGraphicFramePr>
            <a:graphicFrameLocks/>
          </p:cNvGraphicFramePr>
          <p:nvPr>
            <p:custDataLst>
              <p:tags r:id="rId50"/>
            </p:custDataLst>
          </p:nvPr>
        </p:nvGraphicFramePr>
        <p:xfrm>
          <a:off x="5070475" y="5732463"/>
          <a:ext cx="3722688" cy="885825"/>
        </p:xfrm>
        <a:graphic>
          <a:graphicData uri="http://schemas.openxmlformats.org/presentationml/2006/ole">
            <p:oleObj spid="_x0000_s103687" name="Chart" r:id="rId79" imgW="3829140" imgH="1285875" progId="MSGraph.Chart.8">
              <p:embed followColorScheme="full"/>
            </p:oleObj>
          </a:graphicData>
        </a:graphic>
      </p:graphicFrame>
      <p:sp>
        <p:nvSpPr>
          <p:cNvPr id="103738" name="Text Box 14"/>
          <p:cNvSpPr txBox="1">
            <a:spLocks noChangeArrowheads="1"/>
          </p:cNvSpPr>
          <p:nvPr/>
        </p:nvSpPr>
        <p:spPr bwMode="auto">
          <a:xfrm>
            <a:off x="5129213" y="5184775"/>
            <a:ext cx="3671887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200">
                <a:solidFill>
                  <a:srgbClr val="000000"/>
                </a:solidFill>
              </a:rPr>
              <a:t>Динамика среднемесячной заработной платы в сельском хозяйстве, руб.</a:t>
            </a:r>
          </a:p>
        </p:txBody>
      </p:sp>
      <p:sp>
        <p:nvSpPr>
          <p:cNvPr id="103739" name="Text Box 5"/>
          <p:cNvSpPr txBox="1">
            <a:spLocks noChangeArrowheads="1"/>
          </p:cNvSpPr>
          <p:nvPr/>
        </p:nvSpPr>
        <p:spPr bwMode="auto">
          <a:xfrm>
            <a:off x="4962525" y="3498850"/>
            <a:ext cx="389255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200">
                <a:solidFill>
                  <a:srgbClr val="000000"/>
                </a:solidFill>
              </a:rPr>
              <a:t>Динамика выделения средств окружного бюджета на развитие традиционных отраслей, млн. руб.</a:t>
            </a:r>
          </a:p>
        </p:txBody>
      </p:sp>
      <p:sp>
        <p:nvSpPr>
          <p:cNvPr id="103740" name="Rectangle 75"/>
          <p:cNvSpPr>
            <a:spLocks noGrp="1" noChangeArrowheads="1"/>
          </p:cNvSpPr>
          <p:nvPr>
            <p:custDataLst>
              <p:tags r:id="rId51"/>
            </p:custDataLst>
          </p:nvPr>
        </p:nvSpPr>
        <p:spPr bwMode="gray">
          <a:xfrm>
            <a:off x="5307013" y="6350000"/>
            <a:ext cx="349250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/>
          <a:lstStyle/>
          <a:p>
            <a:pPr algn="ctr" eaLnBrk="0" hangingPunct="0"/>
            <a:fld id="{F678E3D7-784A-40C8-9893-99C76751AB1A}" type="datetime'''''''''''''5''''''''''''''''''.''694'''''''''''">
              <a:rPr lang="en-US" sz="900"/>
              <a:pPr algn="ctr" eaLnBrk="0" hangingPunct="0"/>
              <a:t>5.694</a:t>
            </a:fld>
            <a:endParaRPr lang="en-US" sz="900">
              <a:sym typeface="Arial" charset="0"/>
            </a:endParaRPr>
          </a:p>
        </p:txBody>
      </p:sp>
      <p:sp>
        <p:nvSpPr>
          <p:cNvPr id="103741" name="Rectangle 76"/>
          <p:cNvSpPr>
            <a:spLocks noGrp="1" noChangeArrowheads="1"/>
          </p:cNvSpPr>
          <p:nvPr>
            <p:custDataLst>
              <p:tags r:id="rId52"/>
            </p:custDataLst>
          </p:nvPr>
        </p:nvSpPr>
        <p:spPr bwMode="gray">
          <a:xfrm>
            <a:off x="5848350" y="6169025"/>
            <a:ext cx="427038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/>
          <a:lstStyle/>
          <a:p>
            <a:pPr algn="ctr" eaLnBrk="0" hangingPunct="0"/>
            <a:fld id="{9D1A8706-D349-4F32-86F3-FE855977EF04}" type="datetime'''''1''''2.''''''''''''48''''''''''''1'''''''''''''''''''''''">
              <a:rPr lang="en-US" sz="900"/>
              <a:pPr algn="ctr" eaLnBrk="0" hangingPunct="0"/>
              <a:t>12.481</a:t>
            </a:fld>
            <a:endParaRPr lang="en-US" sz="900">
              <a:sym typeface="Arial" charset="0"/>
            </a:endParaRPr>
          </a:p>
        </p:txBody>
      </p:sp>
      <p:sp>
        <p:nvSpPr>
          <p:cNvPr id="103742" name="Rectangle 77"/>
          <p:cNvSpPr>
            <a:spLocks noGrp="1" noChangeArrowheads="1"/>
          </p:cNvSpPr>
          <p:nvPr>
            <p:custDataLst>
              <p:tags r:id="rId53"/>
            </p:custDataLst>
          </p:nvPr>
        </p:nvSpPr>
        <p:spPr bwMode="gray">
          <a:xfrm>
            <a:off x="6432550" y="6099175"/>
            <a:ext cx="427038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/>
          <a:lstStyle/>
          <a:p>
            <a:pPr algn="ctr" eaLnBrk="0" hangingPunct="0"/>
            <a:fld id="{47EEA093-C4B8-43C1-B1CE-79EA1A290C3C}" type="datetime'''''''''''''''''''''''''''''''''''''''14''.''6''''''''04'">
              <a:rPr lang="en-US" sz="900"/>
              <a:pPr algn="ctr" eaLnBrk="0" hangingPunct="0"/>
              <a:t>14.604</a:t>
            </a:fld>
            <a:endParaRPr lang="en-US" sz="900">
              <a:sym typeface="Arial" charset="0"/>
            </a:endParaRPr>
          </a:p>
        </p:txBody>
      </p:sp>
      <p:sp>
        <p:nvSpPr>
          <p:cNvPr id="103743" name="Rectangle 78"/>
          <p:cNvSpPr>
            <a:spLocks noGrp="1" noChangeArrowheads="1"/>
          </p:cNvSpPr>
          <p:nvPr>
            <p:custDataLst>
              <p:tags r:id="rId54"/>
            </p:custDataLst>
          </p:nvPr>
        </p:nvSpPr>
        <p:spPr bwMode="gray">
          <a:xfrm>
            <a:off x="7026275" y="5942013"/>
            <a:ext cx="427038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/>
          <a:lstStyle/>
          <a:p>
            <a:pPr algn="ctr" eaLnBrk="0" hangingPunct="0"/>
            <a:fld id="{1EF45DBB-E116-43C9-904D-455A0EBA7853}" type="datetime'1''''9''''''''.''''''''''''5''''''2''''''''''''''''1'">
              <a:rPr lang="en-US" sz="900"/>
              <a:pPr algn="ctr" eaLnBrk="0" hangingPunct="0"/>
              <a:t>19.521</a:t>
            </a:fld>
            <a:endParaRPr lang="en-US" sz="900">
              <a:sym typeface="Arial" charset="0"/>
            </a:endParaRPr>
          </a:p>
        </p:txBody>
      </p:sp>
      <p:sp>
        <p:nvSpPr>
          <p:cNvPr id="103744" name="Rectangle 79"/>
          <p:cNvSpPr>
            <a:spLocks noGrp="1" noChangeArrowheads="1"/>
          </p:cNvSpPr>
          <p:nvPr>
            <p:custDataLst>
              <p:tags r:id="rId55"/>
            </p:custDataLst>
          </p:nvPr>
        </p:nvSpPr>
        <p:spPr bwMode="gray">
          <a:xfrm>
            <a:off x="7602538" y="5932488"/>
            <a:ext cx="427037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/>
          <a:lstStyle/>
          <a:p>
            <a:pPr algn="ctr" eaLnBrk="0" hangingPunct="0"/>
            <a:fld id="{1DD1C381-D372-4FF7-AC19-ED5764BB2046}" type="datetime'''''''''1''''9''''''''''''''''.''''''''''''''''''''''''807'">
              <a:rPr lang="en-US" sz="900"/>
              <a:pPr algn="ctr" eaLnBrk="0" hangingPunct="0"/>
              <a:t>19.807</a:t>
            </a:fld>
            <a:endParaRPr lang="en-US" sz="900">
              <a:sym typeface="Arial" charset="0"/>
            </a:endParaRPr>
          </a:p>
        </p:txBody>
      </p:sp>
      <p:sp>
        <p:nvSpPr>
          <p:cNvPr id="103745" name="Rectangle 80"/>
          <p:cNvSpPr>
            <a:spLocks noGrp="1" noChangeArrowheads="1"/>
          </p:cNvSpPr>
          <p:nvPr>
            <p:custDataLst>
              <p:tags r:id="rId56"/>
            </p:custDataLst>
          </p:nvPr>
        </p:nvSpPr>
        <p:spPr bwMode="gray">
          <a:xfrm>
            <a:off x="8201025" y="5834063"/>
            <a:ext cx="427038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/>
          <a:lstStyle/>
          <a:p>
            <a:pPr algn="ctr" eaLnBrk="0" hangingPunct="0"/>
            <a:fld id="{B58D58EF-CEA7-49AD-B413-FA2D85C5631E}" type="datetime'''''''''''''''''23''''''''''''''''''.''''''''''''187'''''''">
              <a:rPr lang="en-US" sz="900"/>
              <a:pPr algn="ctr" eaLnBrk="0" hangingPunct="0"/>
              <a:t>23.187</a:t>
            </a:fld>
            <a:endParaRPr lang="en-US" sz="900">
              <a:sym typeface="Arial" charset="0"/>
            </a:endParaRPr>
          </a:p>
        </p:txBody>
      </p:sp>
      <p:sp>
        <p:nvSpPr>
          <p:cNvPr id="103746" name="Text Box 22"/>
          <p:cNvSpPr txBox="1">
            <a:spLocks noChangeArrowheads="1"/>
          </p:cNvSpPr>
          <p:nvPr/>
        </p:nvSpPr>
        <p:spPr bwMode="auto">
          <a:xfrm>
            <a:off x="4895850" y="5226050"/>
            <a:ext cx="4017963" cy="1500188"/>
          </a:xfrm>
          <a:prstGeom prst="rect">
            <a:avLst/>
          </a:prstGeom>
          <a:noFill/>
          <a:ln w="9525" algn="ctr">
            <a:solidFill>
              <a:srgbClr val="0000FF"/>
            </a:solidFill>
            <a:miter lim="800000"/>
            <a:headEnd/>
            <a:tailEnd/>
          </a:ln>
        </p:spPr>
        <p:txBody>
          <a:bodyPr/>
          <a:lstStyle/>
          <a:p>
            <a:pPr marL="180975" indent="-180975">
              <a:spcBef>
                <a:spcPct val="50000"/>
              </a:spcBef>
            </a:pPr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103747" name="Text Box 22"/>
          <p:cNvSpPr txBox="1">
            <a:spLocks noChangeArrowheads="1"/>
          </p:cNvSpPr>
          <p:nvPr/>
        </p:nvSpPr>
        <p:spPr bwMode="auto">
          <a:xfrm>
            <a:off x="4897438" y="3517900"/>
            <a:ext cx="4016375" cy="1652588"/>
          </a:xfrm>
          <a:prstGeom prst="rect">
            <a:avLst/>
          </a:prstGeom>
          <a:noFill/>
          <a:ln w="9525" algn="ctr">
            <a:solidFill>
              <a:srgbClr val="0000FF"/>
            </a:solidFill>
            <a:miter lim="800000"/>
            <a:headEnd/>
            <a:tailEnd/>
          </a:ln>
        </p:spPr>
        <p:txBody>
          <a:bodyPr/>
          <a:lstStyle/>
          <a:p>
            <a:pPr marL="180975" indent="-180975">
              <a:spcBef>
                <a:spcPct val="50000"/>
              </a:spcBef>
            </a:pPr>
            <a:endParaRPr lang="en-US" sz="1000">
              <a:solidFill>
                <a:srgbClr val="000000"/>
              </a:solidFill>
            </a:endParaRPr>
          </a:p>
        </p:txBody>
      </p:sp>
      <p:cxnSp>
        <p:nvCxnSpPr>
          <p:cNvPr id="103748" name="Straight Connector 67"/>
          <p:cNvCxnSpPr>
            <a:cxnSpLocks noChangeShapeType="1"/>
          </p:cNvCxnSpPr>
          <p:nvPr>
            <p:custDataLst>
              <p:tags r:id="rId57"/>
            </p:custDataLst>
          </p:nvPr>
        </p:nvCxnSpPr>
        <p:spPr bwMode="auto">
          <a:xfrm flipV="1">
            <a:off x="5492750" y="5554663"/>
            <a:ext cx="2930525" cy="531812"/>
          </a:xfrm>
          <a:prstGeom prst="line">
            <a:avLst/>
          </a:prstGeom>
          <a:noFill/>
          <a:ln w="25400" algn="ctr">
            <a:solidFill>
              <a:schemeClr val="tx1"/>
            </a:solidFill>
            <a:round/>
            <a:headEnd/>
            <a:tailEnd type="triangle" w="med" len="med"/>
          </a:ln>
        </p:spPr>
      </p:cxnSp>
      <p:sp>
        <p:nvSpPr>
          <p:cNvPr id="103749" name="Oval 28"/>
          <p:cNvSpPr>
            <a:spLocks noChangeArrowheads="1"/>
          </p:cNvSpPr>
          <p:nvPr>
            <p:custDataLst>
              <p:tags r:id="rId58"/>
            </p:custDataLst>
          </p:nvPr>
        </p:nvSpPr>
        <p:spPr bwMode="auto">
          <a:xfrm>
            <a:off x="6372225" y="5667375"/>
            <a:ext cx="1169988" cy="238125"/>
          </a:xfrm>
          <a:prstGeom prst="ellipse">
            <a:avLst/>
          </a:prstGeom>
          <a:solidFill>
            <a:srgbClr val="FFFFFF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b="1"/>
              <a:t>CAGR</a:t>
            </a:r>
            <a:r>
              <a:rPr lang="ru-RU" b="1"/>
              <a:t>*</a:t>
            </a:r>
            <a:r>
              <a:rPr lang="en-US" b="1"/>
              <a:t> </a:t>
            </a:r>
            <a:fld id="{E456A738-CF72-4A2A-9A65-7ECB058405FF}" type="datetime'''+''''''''1''''''''''9''''''''''''''''''%'''''''''''''''''">
              <a:rPr lang="en-US" b="1"/>
              <a:pPr algn="ctr"/>
              <a:t>+19%</a:t>
            </a:fld>
            <a:endParaRPr lang="ru-RU" b="1"/>
          </a:p>
        </p:txBody>
      </p:sp>
      <p:cxnSp>
        <p:nvCxnSpPr>
          <p:cNvPr id="103750" name="Straight Connector 67"/>
          <p:cNvCxnSpPr>
            <a:cxnSpLocks noChangeShapeType="1"/>
          </p:cNvCxnSpPr>
          <p:nvPr>
            <p:custDataLst>
              <p:tags r:id="rId59"/>
            </p:custDataLst>
          </p:nvPr>
        </p:nvCxnSpPr>
        <p:spPr bwMode="auto">
          <a:xfrm flipV="1">
            <a:off x="5473700" y="4281488"/>
            <a:ext cx="2916238" cy="481012"/>
          </a:xfrm>
          <a:prstGeom prst="line">
            <a:avLst/>
          </a:prstGeom>
          <a:noFill/>
          <a:ln w="25400" algn="ctr">
            <a:solidFill>
              <a:schemeClr val="tx1"/>
            </a:solidFill>
            <a:round/>
            <a:headEnd/>
            <a:tailEnd type="triangle" w="med" len="med"/>
          </a:ln>
        </p:spPr>
      </p:cxnSp>
      <p:sp>
        <p:nvSpPr>
          <p:cNvPr id="103751" name="Oval 28"/>
          <p:cNvSpPr>
            <a:spLocks noChangeArrowheads="1"/>
          </p:cNvSpPr>
          <p:nvPr>
            <p:custDataLst>
              <p:tags r:id="rId60"/>
            </p:custDataLst>
          </p:nvPr>
        </p:nvSpPr>
        <p:spPr bwMode="auto">
          <a:xfrm>
            <a:off x="6340475" y="4395788"/>
            <a:ext cx="1193800" cy="238125"/>
          </a:xfrm>
          <a:prstGeom prst="ellipse">
            <a:avLst/>
          </a:prstGeom>
          <a:solidFill>
            <a:srgbClr val="FFFFFF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b="1"/>
              <a:t>CAGR</a:t>
            </a:r>
            <a:r>
              <a:rPr lang="ru-RU" b="1"/>
              <a:t>*</a:t>
            </a:r>
            <a:r>
              <a:rPr lang="en-US" b="1"/>
              <a:t> </a:t>
            </a:r>
            <a:fld id="{324C033F-0691-4393-8D96-0F02D48CCD13}" type="datetime'''''''''''''''+''1''''''''''''0''''''''''''''''''''''''''''%'">
              <a:rPr lang="en-US" b="1"/>
              <a:pPr algn="ctr"/>
              <a:t>+10%</a:t>
            </a:fld>
            <a:endParaRPr lang="ru-RU" b="1"/>
          </a:p>
        </p:txBody>
      </p:sp>
      <p:sp>
        <p:nvSpPr>
          <p:cNvPr id="103752" name="Text Box 48"/>
          <p:cNvSpPr txBox="1">
            <a:spLocks noChangeArrowheads="1"/>
          </p:cNvSpPr>
          <p:nvPr/>
        </p:nvSpPr>
        <p:spPr bwMode="auto">
          <a:xfrm>
            <a:off x="133350" y="6530975"/>
            <a:ext cx="4725988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342900" indent="-342900">
              <a:spcBef>
                <a:spcPct val="50000"/>
              </a:spcBef>
            </a:pPr>
            <a:r>
              <a:rPr lang="en-US" sz="800">
                <a:solidFill>
                  <a:srgbClr val="000000"/>
                </a:solidFill>
              </a:rPr>
              <a:t>*</a:t>
            </a:r>
            <a:r>
              <a:rPr lang="ru-RU" sz="800">
                <a:solidFill>
                  <a:srgbClr val="000000"/>
                </a:solidFill>
              </a:rPr>
              <a:t> </a:t>
            </a:r>
            <a:r>
              <a:rPr lang="en-US" sz="900">
                <a:solidFill>
                  <a:srgbClr val="000000"/>
                </a:solidFill>
              </a:rPr>
              <a:t>CAGR </a:t>
            </a:r>
            <a:r>
              <a:rPr lang="ru-RU" sz="900">
                <a:solidFill>
                  <a:srgbClr val="000000"/>
                </a:solidFill>
              </a:rPr>
              <a:t>(</a:t>
            </a:r>
            <a:r>
              <a:rPr lang="en-US" sz="900">
                <a:solidFill>
                  <a:srgbClr val="000000"/>
                </a:solidFill>
              </a:rPr>
              <a:t>Cumulative Average Growth Rate) - </a:t>
            </a:r>
            <a:r>
              <a:rPr lang="ru-RU" sz="900">
                <a:solidFill>
                  <a:srgbClr val="000000"/>
                </a:solidFill>
              </a:rPr>
              <a:t>среднегодовой кумулятивный темп роста</a:t>
            </a:r>
            <a:endParaRPr lang="ru-RU" sz="800">
              <a:solidFill>
                <a:srgbClr val="000000"/>
              </a:solidFill>
            </a:endParaRPr>
          </a:p>
        </p:txBody>
      </p:sp>
      <p:sp>
        <p:nvSpPr>
          <p:cNvPr id="103753" name="Text Box 3"/>
          <p:cNvSpPr txBox="1">
            <a:spLocks noChangeArrowheads="1"/>
          </p:cNvSpPr>
          <p:nvPr/>
        </p:nvSpPr>
        <p:spPr bwMode="auto">
          <a:xfrm>
            <a:off x="239713" y="3949700"/>
            <a:ext cx="4535487" cy="2535238"/>
          </a:xfrm>
          <a:prstGeom prst="rect">
            <a:avLst/>
          </a:prstGeom>
          <a:noFill/>
          <a:ln w="9525" algn="ctr">
            <a:solidFill>
              <a:srgbClr val="0000FF"/>
            </a:solidFill>
            <a:miter lim="800000"/>
            <a:headEnd/>
            <a:tailEnd/>
          </a:ln>
        </p:spPr>
        <p:txBody>
          <a:bodyPr anchor="ctr"/>
          <a:lstStyle/>
          <a:p>
            <a:pPr marL="180975" indent="-180975">
              <a:spcBef>
                <a:spcPct val="50000"/>
              </a:spcBef>
            </a:pPr>
            <a:r>
              <a:rPr lang="ru-RU" sz="1000" b="1">
                <a:solidFill>
                  <a:srgbClr val="000000"/>
                </a:solidFill>
              </a:rPr>
              <a:t>Государственно–правовая сфера</a:t>
            </a:r>
          </a:p>
          <a:p>
            <a:pPr marL="180975" indent="-180975">
              <a:spcBef>
                <a:spcPct val="50000"/>
              </a:spcBef>
              <a:buClr>
                <a:srgbClr val="0000FF"/>
              </a:buClr>
              <a:buFont typeface="Wingdings" pitchFamily="2" charset="2"/>
              <a:buChar char="§"/>
            </a:pPr>
            <a:r>
              <a:rPr lang="ru-RU" sz="1000">
                <a:solidFill>
                  <a:srgbClr val="000000"/>
                </a:solidFill>
              </a:rPr>
              <a:t>Организовано представительство коренных малочисленных народов в органах власти и местного самоуправления </a:t>
            </a:r>
          </a:p>
          <a:p>
            <a:pPr marL="180975" indent="-180975">
              <a:spcBef>
                <a:spcPct val="50000"/>
              </a:spcBef>
              <a:buClr>
                <a:srgbClr val="0000FF"/>
              </a:buClr>
              <a:buFont typeface="Wingdings" pitchFamily="2" charset="2"/>
              <a:buChar char="§"/>
            </a:pPr>
            <a:r>
              <a:rPr lang="ru-RU" sz="1000">
                <a:solidFill>
                  <a:srgbClr val="000000"/>
                </a:solidFill>
              </a:rPr>
              <a:t>Обеспечивается поддержка социально ориентированных некоммерческих организаций с целью защиты исконной среды обитания, традиционного образа жизни коренных народов</a:t>
            </a:r>
          </a:p>
          <a:p>
            <a:pPr marL="180975" indent="-180975">
              <a:spcBef>
                <a:spcPct val="50000"/>
              </a:spcBef>
              <a:buClr>
                <a:srgbClr val="0000FF"/>
              </a:buClr>
            </a:pPr>
            <a:r>
              <a:rPr lang="ru-RU" sz="1000" b="1">
                <a:solidFill>
                  <a:srgbClr val="000000"/>
                </a:solidFill>
              </a:rPr>
              <a:t>Экономическая сфера</a:t>
            </a:r>
            <a:r>
              <a:rPr lang="ru-RU" sz="1000">
                <a:solidFill>
                  <a:srgbClr val="000000"/>
                </a:solidFill>
              </a:rPr>
              <a:t> </a:t>
            </a:r>
          </a:p>
          <a:p>
            <a:pPr marL="180975" indent="-180975">
              <a:spcBef>
                <a:spcPct val="50000"/>
              </a:spcBef>
              <a:buClr>
                <a:srgbClr val="0000FF"/>
              </a:buClr>
              <a:buFont typeface="Wingdings" pitchFamily="2" charset="2"/>
              <a:buChar char="§"/>
            </a:pPr>
            <a:r>
              <a:rPr lang="ru-RU" sz="1000">
                <a:solidFill>
                  <a:srgbClr val="000000"/>
                </a:solidFill>
              </a:rPr>
              <a:t>Реализуются программы, направленные на поддержку и развитие традиционных видов сельскохозяйственного производства –оленеводства и морского зверобойного промысла</a:t>
            </a:r>
          </a:p>
          <a:p>
            <a:pPr marL="180975" indent="-180975">
              <a:spcBef>
                <a:spcPct val="50000"/>
              </a:spcBef>
              <a:buClr>
                <a:srgbClr val="0000FF"/>
              </a:buClr>
              <a:buFont typeface="Wingdings" pitchFamily="2" charset="2"/>
              <a:buNone/>
            </a:pPr>
            <a:r>
              <a:rPr lang="ru-RU" sz="1000" b="1">
                <a:solidFill>
                  <a:srgbClr val="000000"/>
                </a:solidFill>
              </a:rPr>
              <a:t>Социально–культурная сфера </a:t>
            </a:r>
          </a:p>
          <a:p>
            <a:pPr marL="180975" indent="-180975">
              <a:spcBef>
                <a:spcPct val="50000"/>
              </a:spcBef>
              <a:buClr>
                <a:srgbClr val="0000FF"/>
              </a:buClr>
              <a:buFont typeface="Wingdings" pitchFamily="2" charset="2"/>
              <a:buChar char="§"/>
            </a:pPr>
            <a:r>
              <a:rPr lang="ru-RU" sz="1000">
                <a:solidFill>
                  <a:srgbClr val="000000"/>
                </a:solidFill>
              </a:rPr>
              <a:t>Реализуются долгосрочные программы развития культуры, физкультуры, национальных видов спорта, социального обеспечения</a:t>
            </a:r>
          </a:p>
        </p:txBody>
      </p:sp>
      <p:sp>
        <p:nvSpPr>
          <p:cNvPr id="103754" name="Rectangle 2"/>
          <p:cNvSpPr>
            <a:spLocks noChangeArrowheads="1"/>
          </p:cNvSpPr>
          <p:nvPr/>
        </p:nvSpPr>
        <p:spPr bwMode="auto">
          <a:xfrm>
            <a:off x="246063" y="3581400"/>
            <a:ext cx="4365625" cy="398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17" tIns="45709" rIns="91417" bIns="45709" anchor="ctr"/>
          <a:lstStyle/>
          <a:p>
            <a:pPr>
              <a:buClr>
                <a:srgbClr val="003399"/>
              </a:buClr>
              <a:buFont typeface="Wingdings" pitchFamily="2" charset="2"/>
              <a:buChar char="§"/>
            </a:pPr>
            <a:r>
              <a:rPr lang="ru-RU" sz="1800"/>
              <a:t> Реализуются меры поддержки КМНС</a:t>
            </a:r>
            <a:endParaRPr lang="ru-RU" sz="1800">
              <a:solidFill>
                <a:srgbClr val="000000"/>
              </a:solidFill>
            </a:endParaRPr>
          </a:p>
        </p:txBody>
      </p:sp>
      <p:sp>
        <p:nvSpPr>
          <p:cNvPr id="103755" name="Rectangle 5"/>
          <p:cNvSpPr>
            <a:spLocks noChangeArrowheads="1"/>
          </p:cNvSpPr>
          <p:nvPr>
            <p:custDataLst>
              <p:tags r:id="rId61"/>
            </p:custDataLst>
          </p:nvPr>
        </p:nvSpPr>
        <p:spPr bwMode="auto">
          <a:xfrm>
            <a:off x="5348288" y="5000625"/>
            <a:ext cx="266700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/>
            <a:fld id="{657F273F-56F9-4D7F-9973-C622A6ABCFF9}" type="datetime'''''2''''0''''''''''''''''0''''''''4'">
              <a:rPr lang="en-US" sz="900"/>
              <a:pPr algn="ctr"/>
              <a:t>2004</a:t>
            </a:fld>
            <a:endParaRPr lang="ru-RU" sz="900"/>
          </a:p>
        </p:txBody>
      </p:sp>
      <p:sp>
        <p:nvSpPr>
          <p:cNvPr id="103756" name="Rectangle 5"/>
          <p:cNvSpPr>
            <a:spLocks noChangeArrowheads="1"/>
          </p:cNvSpPr>
          <p:nvPr>
            <p:custDataLst>
              <p:tags r:id="rId62"/>
            </p:custDataLst>
          </p:nvPr>
        </p:nvSpPr>
        <p:spPr bwMode="auto">
          <a:xfrm>
            <a:off x="5348288" y="6556375"/>
            <a:ext cx="266700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/>
            <a:fld id="{1B5A0040-0801-49CD-A9C4-CFE9C72EF960}" type="datetime'''''2''''0''''''''''''''''0''''''''4'">
              <a:rPr lang="en-US" sz="900"/>
              <a:pPr algn="ctr"/>
              <a:t>2004</a:t>
            </a:fld>
            <a:endParaRPr lang="ru-RU" sz="900"/>
          </a:p>
        </p:txBody>
      </p:sp>
      <p:sp>
        <p:nvSpPr>
          <p:cNvPr id="103757" name="Rectangle 76"/>
          <p:cNvSpPr>
            <a:spLocks noGrp="1" noChangeArrowheads="1"/>
          </p:cNvSpPr>
          <p:nvPr>
            <p:custDataLst>
              <p:tags r:id="rId63"/>
            </p:custDataLst>
          </p:nvPr>
        </p:nvSpPr>
        <p:spPr bwMode="auto">
          <a:xfrm>
            <a:off x="8234363" y="5000625"/>
            <a:ext cx="266700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 eaLnBrk="0" hangingPunct="0"/>
            <a:fld id="{5BFAAFF4-0595-4376-AF2C-3523AA66598F}" type="datetime'''20''''''''''''''''''''''''''''''''1''''''''''2'">
              <a:rPr lang="en-US" sz="900"/>
              <a:pPr algn="ctr" eaLnBrk="0" hangingPunct="0"/>
              <a:t>2012</a:t>
            </a:fld>
            <a:endParaRPr lang="en-US" sz="900">
              <a:sym typeface="Arial" charset="0"/>
            </a:endParaRPr>
          </a:p>
        </p:txBody>
      </p:sp>
      <p:sp>
        <p:nvSpPr>
          <p:cNvPr id="103758" name="Rectangle 76"/>
          <p:cNvSpPr>
            <a:spLocks noGrp="1" noChangeArrowheads="1"/>
          </p:cNvSpPr>
          <p:nvPr>
            <p:custDataLst>
              <p:tags r:id="rId64"/>
            </p:custDataLst>
          </p:nvPr>
        </p:nvSpPr>
        <p:spPr bwMode="auto">
          <a:xfrm>
            <a:off x="8286750" y="6553200"/>
            <a:ext cx="266700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 eaLnBrk="0" hangingPunct="0"/>
            <a:fld id="{FCA4FE0D-DA31-4C82-A3A6-AC234C8AD850}" type="datetime'''20''''''''''''''''''''''''''''''''1''''''''''2'">
              <a:rPr lang="en-US" sz="900"/>
              <a:pPr algn="ctr" eaLnBrk="0" hangingPunct="0"/>
              <a:t>2012</a:t>
            </a:fld>
            <a:endParaRPr lang="en-US" sz="900">
              <a:sym typeface="Arial" charset="0"/>
            </a:endParaRPr>
          </a:p>
        </p:txBody>
      </p:sp>
      <p:sp>
        <p:nvSpPr>
          <p:cNvPr id="103759" name="Rectangle 13"/>
          <p:cNvSpPr>
            <a:spLocks noChangeArrowheads="1"/>
          </p:cNvSpPr>
          <p:nvPr>
            <p:custDataLst>
              <p:tags r:id="rId65"/>
            </p:custDataLst>
          </p:nvPr>
        </p:nvSpPr>
        <p:spPr bwMode="auto">
          <a:xfrm>
            <a:off x="7662863" y="4994275"/>
            <a:ext cx="266700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/>
            <a:fld id="{DD3BF89B-408D-4410-9B37-42DD669FC63E}" type="datetime'''''''''''2''''''''''''''''''''''''''0''1''''''''''''''''1'''">
              <a:rPr lang="en-US" sz="900"/>
              <a:pPr algn="ctr"/>
              <a:t>2011</a:t>
            </a:fld>
            <a:endParaRPr lang="ru-RU" sz="900"/>
          </a:p>
        </p:txBody>
      </p:sp>
      <p:sp>
        <p:nvSpPr>
          <p:cNvPr id="103760" name="Rectangle 13"/>
          <p:cNvSpPr>
            <a:spLocks noChangeArrowheads="1"/>
          </p:cNvSpPr>
          <p:nvPr>
            <p:custDataLst>
              <p:tags r:id="rId66"/>
            </p:custDataLst>
          </p:nvPr>
        </p:nvSpPr>
        <p:spPr bwMode="auto">
          <a:xfrm>
            <a:off x="7693025" y="6556375"/>
            <a:ext cx="266700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/>
            <a:fld id="{000001B1-A170-4AC5-B929-7CD35A6C1988}" type="datetime'''''''''''2''''''''''''''''''''''''''0''1''''''''''''''''1'''">
              <a:rPr lang="en-US" sz="900"/>
              <a:pPr algn="ctr"/>
              <a:t>2011</a:t>
            </a:fld>
            <a:endParaRPr lang="ru-RU" sz="900"/>
          </a:p>
        </p:txBody>
      </p:sp>
      <p:sp>
        <p:nvSpPr>
          <p:cNvPr id="103761" name="Rectangle 11"/>
          <p:cNvSpPr>
            <a:spLocks noChangeArrowheads="1"/>
          </p:cNvSpPr>
          <p:nvPr>
            <p:custDataLst>
              <p:tags r:id="rId67"/>
            </p:custDataLst>
          </p:nvPr>
        </p:nvSpPr>
        <p:spPr bwMode="auto">
          <a:xfrm>
            <a:off x="7083425" y="4999038"/>
            <a:ext cx="266700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/>
            <a:fld id="{8314C51F-F331-4DDD-A6D6-0E728C4CD796}" type="datetime'''''2''''''''''''''''0''''''''''''''''''''''1''0'">
              <a:rPr lang="en-US" sz="900"/>
              <a:pPr algn="ctr"/>
              <a:t>2010</a:t>
            </a:fld>
            <a:endParaRPr lang="ru-RU" sz="900"/>
          </a:p>
        </p:txBody>
      </p:sp>
      <p:sp>
        <p:nvSpPr>
          <p:cNvPr id="103762" name="Rectangle 11"/>
          <p:cNvSpPr>
            <a:spLocks noChangeArrowheads="1"/>
          </p:cNvSpPr>
          <p:nvPr>
            <p:custDataLst>
              <p:tags r:id="rId68"/>
            </p:custDataLst>
          </p:nvPr>
        </p:nvSpPr>
        <p:spPr bwMode="auto">
          <a:xfrm>
            <a:off x="7123113" y="6553200"/>
            <a:ext cx="266700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/>
            <a:fld id="{A368A508-F437-45E3-8306-35F5D8C70BEC}" type="datetime'''''2''''''''''''''''0''''''''''''''''''''''1''0'">
              <a:rPr lang="en-US" sz="900"/>
              <a:pPr algn="ctr"/>
              <a:t>2010</a:t>
            </a:fld>
            <a:endParaRPr lang="ru-RU" sz="900"/>
          </a:p>
        </p:txBody>
      </p:sp>
      <p:sp>
        <p:nvSpPr>
          <p:cNvPr id="103763" name="Rectangle 9"/>
          <p:cNvSpPr>
            <a:spLocks noChangeArrowheads="1"/>
          </p:cNvSpPr>
          <p:nvPr>
            <p:custDataLst>
              <p:tags r:id="rId69"/>
            </p:custDataLst>
          </p:nvPr>
        </p:nvSpPr>
        <p:spPr bwMode="auto">
          <a:xfrm>
            <a:off x="6518275" y="4995863"/>
            <a:ext cx="266700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/>
            <a:fld id="{8F663234-BC5C-4714-8C0A-6FA5A5B182DA}" type="datetime'''2''''''''''''''''''0''''''''''0''''''''''9'''''">
              <a:rPr lang="en-US" sz="900"/>
              <a:pPr algn="ctr"/>
              <a:t>2009</a:t>
            </a:fld>
            <a:endParaRPr lang="ru-RU" sz="900"/>
          </a:p>
        </p:txBody>
      </p:sp>
      <p:sp>
        <p:nvSpPr>
          <p:cNvPr id="103764" name="Rectangle 9"/>
          <p:cNvSpPr>
            <a:spLocks noChangeArrowheads="1"/>
          </p:cNvSpPr>
          <p:nvPr>
            <p:custDataLst>
              <p:tags r:id="rId70"/>
            </p:custDataLst>
          </p:nvPr>
        </p:nvSpPr>
        <p:spPr bwMode="auto">
          <a:xfrm>
            <a:off x="6523038" y="6554788"/>
            <a:ext cx="266700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/>
            <a:fld id="{79114782-3179-436C-8C20-A7774C46ED07}" type="datetime'''2''''''''''''''''''0''''''''''0''''''''''9'''''">
              <a:rPr lang="en-US" sz="900"/>
              <a:pPr algn="ctr"/>
              <a:t>2009</a:t>
            </a:fld>
            <a:endParaRPr lang="ru-RU" sz="900"/>
          </a:p>
        </p:txBody>
      </p:sp>
      <p:sp>
        <p:nvSpPr>
          <p:cNvPr id="103765" name="Rectangle 7"/>
          <p:cNvSpPr>
            <a:spLocks noChangeArrowheads="1"/>
          </p:cNvSpPr>
          <p:nvPr>
            <p:custDataLst>
              <p:tags r:id="rId71"/>
            </p:custDataLst>
          </p:nvPr>
        </p:nvSpPr>
        <p:spPr bwMode="auto">
          <a:xfrm>
            <a:off x="5943600" y="5000625"/>
            <a:ext cx="266700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/>
            <a:fld id="{C338033B-C4DD-4E6E-88B2-C7F849AAF5B4}" type="datetime'''''2''''0''''''''''''''''''''''0''''''''8'''''''''''''''">
              <a:rPr lang="en-US" sz="900"/>
              <a:pPr algn="ctr"/>
              <a:t>2008</a:t>
            </a:fld>
            <a:endParaRPr lang="ru-RU" sz="900"/>
          </a:p>
        </p:txBody>
      </p:sp>
      <p:sp>
        <p:nvSpPr>
          <p:cNvPr id="103766" name="Rectangle 7"/>
          <p:cNvSpPr>
            <a:spLocks noChangeArrowheads="1"/>
          </p:cNvSpPr>
          <p:nvPr>
            <p:custDataLst>
              <p:tags r:id="rId72"/>
            </p:custDataLst>
          </p:nvPr>
        </p:nvSpPr>
        <p:spPr bwMode="auto">
          <a:xfrm>
            <a:off x="5930900" y="6554788"/>
            <a:ext cx="266700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/>
            <a:fld id="{0D4B3AAA-C261-4D22-9D6F-425FF7A4B11C}" type="datetime'''''2''''0''''''''''''''''''''''0''''''''8'''''''''''''''">
              <a:rPr lang="en-US" sz="900"/>
              <a:pPr algn="ctr"/>
              <a:t>2008</a:t>
            </a:fld>
            <a:endParaRPr lang="ru-RU" sz="900"/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511" name="Object 623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8511" name="think-cell Slide" r:id="rId26" imgW="360" imgH="360" progId="">
              <p:embed/>
            </p:oleObj>
          </a:graphicData>
        </a:graphic>
      </p:graphicFrame>
      <p:sp>
        <p:nvSpPr>
          <p:cNvPr id="38513" name="Rectangle 1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9525" algn="ctr">
            <a:solidFill>
              <a:schemeClr val="tx1"/>
            </a:solidFill>
            <a:round/>
            <a:headEnd/>
            <a:tailEnd type="triangle" w="med" len="med"/>
          </a:ln>
        </p:spPr>
        <p:txBody>
          <a:bodyPr wrap="none" lIns="0" tIns="0" rIns="0" bIns="0"/>
          <a:lstStyle/>
          <a:p>
            <a:endParaRPr lang="en-US" sz="1000" b="1">
              <a:sym typeface="Arial" charset="0"/>
            </a:endParaRPr>
          </a:p>
        </p:txBody>
      </p:sp>
      <p:sp>
        <p:nvSpPr>
          <p:cNvPr id="38514" name="Rectangle 2"/>
          <p:cNvSpPr>
            <a:spLocks noGrp="1" noChangeArrowheads="1"/>
          </p:cNvSpPr>
          <p:nvPr>
            <p:ph type="title" sz="quarter"/>
          </p:nvPr>
        </p:nvSpPr>
        <p:spPr>
          <a:xfrm>
            <a:off x="468313" y="209550"/>
            <a:ext cx="8207375" cy="609600"/>
          </a:xfrm>
        </p:spPr>
        <p:txBody>
          <a:bodyPr/>
          <a:lstStyle/>
          <a:p>
            <a:pPr eaLnBrk="1" hangingPunct="1"/>
            <a:r>
              <a:rPr lang="ru-RU" smtClean="0"/>
              <a:t>Правительству округа удалось существенно нарастить доходную базу бюджета, удержав рост расходов бюджета под контролем </a:t>
            </a:r>
            <a:endParaRPr lang="ru-RU" smtClean="0">
              <a:solidFill>
                <a:schemeClr val="tx1"/>
              </a:solidFill>
            </a:endParaRPr>
          </a:p>
        </p:txBody>
      </p:sp>
      <p:sp>
        <p:nvSpPr>
          <p:cNvPr id="38515" name="Text Box 3"/>
          <p:cNvSpPr txBox="1">
            <a:spLocks noChangeArrowheads="1"/>
          </p:cNvSpPr>
          <p:nvPr/>
        </p:nvSpPr>
        <p:spPr bwMode="auto">
          <a:xfrm>
            <a:off x="474663" y="1030288"/>
            <a:ext cx="7961312" cy="706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r>
              <a:rPr lang="ru-RU" sz="1600">
                <a:solidFill>
                  <a:srgbClr val="003399"/>
                </a:solidFill>
              </a:rPr>
              <a:t>Доля дотаций из федерального бюджета сократилась с 85% до 35% от общего объема консолидированного бюджета округа</a:t>
            </a:r>
            <a:endParaRPr lang="ru-RU" sz="1800">
              <a:solidFill>
                <a:srgbClr val="003399"/>
              </a:solidFill>
            </a:endParaRPr>
          </a:p>
          <a:p>
            <a:endParaRPr lang="ru-RU" sz="1800">
              <a:solidFill>
                <a:srgbClr val="003399"/>
              </a:solidFill>
            </a:endParaRPr>
          </a:p>
          <a:p>
            <a:r>
              <a:rPr lang="ru-RU" sz="1600" b="1"/>
              <a:t>Динамика доходов и расходов консолидированного бюджета, </a:t>
            </a:r>
            <a:br>
              <a:rPr lang="ru-RU" sz="1600" b="1"/>
            </a:br>
            <a:r>
              <a:rPr lang="ru-RU" sz="1600"/>
              <a:t>млн. руб., 2004-2011 гг.</a:t>
            </a:r>
          </a:p>
        </p:txBody>
      </p:sp>
      <p:graphicFrame>
        <p:nvGraphicFramePr>
          <p:cNvPr id="38512" name="Object 624"/>
          <p:cNvGraphicFramePr>
            <a:graphicFrameLocks/>
          </p:cNvGraphicFramePr>
          <p:nvPr>
            <p:custDataLst>
              <p:tags r:id="rId4"/>
            </p:custDataLst>
          </p:nvPr>
        </p:nvGraphicFramePr>
        <p:xfrm>
          <a:off x="647700" y="2309813"/>
          <a:ext cx="7477125" cy="3048000"/>
        </p:xfrm>
        <a:graphic>
          <a:graphicData uri="http://schemas.openxmlformats.org/presentationml/2006/ole">
            <p:oleObj spid="_x0000_s38512" name="Диаграмма" r:id="rId27" imgW="7475119" imgH="3048000" progId="MSGraph.Chart.8">
              <p:embed followColorScheme="full"/>
            </p:oleObj>
          </a:graphicData>
        </a:graphic>
      </p:graphicFrame>
      <p:sp>
        <p:nvSpPr>
          <p:cNvPr id="38516" name="Text Placeholder 21"/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5905500" y="2506663"/>
            <a:ext cx="38417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/>
          <a:lstStyle/>
          <a:p>
            <a:pPr algn="ctr" eaLnBrk="0" hangingPunct="0">
              <a:buClr>
                <a:schemeClr val="hlink"/>
              </a:buClr>
              <a:buFont typeface="Arial" charset="0"/>
              <a:buNone/>
            </a:pPr>
            <a:fld id="{33307CCF-B618-4B3E-9003-75BD80E8FAA2}" type="datetime'1''7''''''''''''''''''''.''''''''''0''''''''2''''''''''8'">
              <a:rPr lang="en-US" sz="1000" b="1"/>
              <a:pPr algn="ctr" eaLnBrk="0" hangingPunct="0">
                <a:buClr>
                  <a:schemeClr val="hlink"/>
                </a:buClr>
                <a:buFont typeface="Arial" charset="0"/>
                <a:buNone/>
              </a:pPr>
              <a:t>17.028</a:t>
            </a:fld>
            <a:endParaRPr lang="en-US" sz="1000" b="1">
              <a:sym typeface="+mn-lt"/>
            </a:endParaRPr>
          </a:p>
        </p:txBody>
      </p:sp>
      <p:sp>
        <p:nvSpPr>
          <p:cNvPr id="38517" name="Text Placeholder 20"/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5429250" y="3651250"/>
            <a:ext cx="31432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/>
          <a:lstStyle/>
          <a:p>
            <a:pPr algn="ctr" eaLnBrk="0" hangingPunct="0">
              <a:buClr>
                <a:schemeClr val="hlink"/>
              </a:buClr>
              <a:buFont typeface="Arial" charset="0"/>
              <a:buNone/>
            </a:pPr>
            <a:fld id="{CB8DA17C-D8BE-4762-86BD-195BA29B35BF}" type="datetime'9''''.''''18''''''''''''''''''0'''''''''''''''''''''">
              <a:rPr lang="en-US" sz="1000" b="1"/>
              <a:pPr algn="ctr" eaLnBrk="0" hangingPunct="0">
                <a:buClr>
                  <a:schemeClr val="hlink"/>
                </a:buClr>
                <a:buFont typeface="Arial" charset="0"/>
                <a:buNone/>
              </a:pPr>
              <a:t>9.180</a:t>
            </a:fld>
            <a:endParaRPr lang="en-US" sz="1000" b="1">
              <a:sym typeface="+mn-lt"/>
            </a:endParaRPr>
          </a:p>
        </p:txBody>
      </p:sp>
      <p:sp>
        <p:nvSpPr>
          <p:cNvPr id="38518" name="Text Placeholder 6"/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4244975" y="5249863"/>
            <a:ext cx="2921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 eaLnBrk="0" hangingPunct="0">
              <a:buClr>
                <a:schemeClr val="hlink"/>
              </a:buClr>
              <a:buFont typeface="Arial" charset="0"/>
              <a:buNone/>
            </a:pPr>
            <a:fld id="{4D77AA9C-3EBD-490C-AC06-9190E433D761}" type="datetime'''''''''''''2''''''''''0''0''''''''''''''9'''''''''''''">
              <a:rPr lang="en-US" sz="1000"/>
              <a:pPr algn="ctr" eaLnBrk="0" hangingPunct="0">
                <a:buClr>
                  <a:schemeClr val="hlink"/>
                </a:buClr>
                <a:buFont typeface="Arial" charset="0"/>
                <a:buNone/>
              </a:pPr>
              <a:t>2009</a:t>
            </a:fld>
            <a:endParaRPr lang="en-US" sz="1000">
              <a:sym typeface="+mn-lt"/>
            </a:endParaRPr>
          </a:p>
        </p:txBody>
      </p:sp>
      <p:sp>
        <p:nvSpPr>
          <p:cNvPr id="38519" name="Text Placeholder 19"/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4460875" y="2525713"/>
            <a:ext cx="38417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/>
          <a:lstStyle/>
          <a:p>
            <a:pPr algn="ctr" eaLnBrk="0" hangingPunct="0">
              <a:buClr>
                <a:schemeClr val="hlink"/>
              </a:buClr>
              <a:buFont typeface="Arial" charset="0"/>
              <a:buNone/>
            </a:pPr>
            <a:fld id="{3C4ED126-9337-4EB6-978B-D18D74DF7F54}" type="datetime'1''6''''''.8''''''''''''''''''''''''9''''3'''''''''''''''''''">
              <a:rPr lang="en-US" sz="1000" b="1"/>
              <a:pPr algn="ctr" eaLnBrk="0" hangingPunct="0">
                <a:buClr>
                  <a:schemeClr val="hlink"/>
                </a:buClr>
                <a:buFont typeface="Arial" charset="0"/>
                <a:buNone/>
              </a:pPr>
              <a:t>16.893</a:t>
            </a:fld>
            <a:endParaRPr lang="en-US" sz="1000" b="1">
              <a:sym typeface="+mn-lt"/>
            </a:endParaRPr>
          </a:p>
        </p:txBody>
      </p:sp>
      <p:sp>
        <p:nvSpPr>
          <p:cNvPr id="38520" name="Text Placeholder 18"/>
          <p:cNvSpPr txBox="1">
            <a:spLocks/>
          </p:cNvSpPr>
          <p:nvPr>
            <p:custDataLst>
              <p:tags r:id="rId9"/>
            </p:custDataLst>
          </p:nvPr>
        </p:nvSpPr>
        <p:spPr bwMode="gray">
          <a:xfrm>
            <a:off x="3937000" y="3346450"/>
            <a:ext cx="38417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/>
          <a:lstStyle/>
          <a:p>
            <a:pPr algn="ctr" eaLnBrk="0" hangingPunct="0">
              <a:buClr>
                <a:schemeClr val="hlink"/>
              </a:buClr>
              <a:buFont typeface="Arial" charset="0"/>
              <a:buNone/>
            </a:pPr>
            <a:fld id="{1631010B-7B87-4D04-9009-672D0BBFC3D4}" type="datetime'''''''''''1''''''1''.''2''''''56'''''''''''''''">
              <a:rPr lang="en-US" sz="1000" b="1"/>
              <a:pPr algn="ctr" eaLnBrk="0" hangingPunct="0">
                <a:buClr>
                  <a:schemeClr val="hlink"/>
                </a:buClr>
                <a:buFont typeface="Arial" charset="0"/>
                <a:buNone/>
              </a:pPr>
              <a:t>11.256</a:t>
            </a:fld>
            <a:endParaRPr lang="en-US" sz="1000" b="1">
              <a:sym typeface="+mn-lt"/>
            </a:endParaRPr>
          </a:p>
        </p:txBody>
      </p:sp>
      <p:sp>
        <p:nvSpPr>
          <p:cNvPr id="38521" name="Text Placeholder 5"/>
          <p:cNvSpPr txBox="1">
            <a:spLocks/>
          </p:cNvSpPr>
          <p:nvPr>
            <p:custDataLst>
              <p:tags r:id="rId10"/>
            </p:custDataLst>
          </p:nvPr>
        </p:nvSpPr>
        <p:spPr bwMode="auto">
          <a:xfrm>
            <a:off x="2792413" y="5265738"/>
            <a:ext cx="2921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 eaLnBrk="0" hangingPunct="0">
              <a:buClr>
                <a:schemeClr val="hlink"/>
              </a:buClr>
              <a:buFont typeface="Arial" charset="0"/>
              <a:buNone/>
            </a:pPr>
            <a:fld id="{D479DA2C-58AC-4FA0-BE47-9DC4F4E272CD}" type="datetime'2''''''''''0''''''''''''0''8'''''''''''">
              <a:rPr lang="en-US" sz="1000"/>
              <a:pPr algn="ctr" eaLnBrk="0" hangingPunct="0">
                <a:buClr>
                  <a:schemeClr val="hlink"/>
                </a:buClr>
                <a:buFont typeface="Arial" charset="0"/>
                <a:buNone/>
              </a:pPr>
              <a:t>2008</a:t>
            </a:fld>
            <a:endParaRPr lang="en-US" sz="1000">
              <a:sym typeface="+mn-lt"/>
            </a:endParaRPr>
          </a:p>
        </p:txBody>
      </p:sp>
      <p:sp>
        <p:nvSpPr>
          <p:cNvPr id="38522" name="Text Placeholder 17"/>
          <p:cNvSpPr txBox="1">
            <a:spLocks/>
          </p:cNvSpPr>
          <p:nvPr>
            <p:custDataLst>
              <p:tags r:id="rId11"/>
            </p:custDataLst>
          </p:nvPr>
        </p:nvSpPr>
        <p:spPr bwMode="gray">
          <a:xfrm>
            <a:off x="3008313" y="2830513"/>
            <a:ext cx="38417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/>
          <a:lstStyle/>
          <a:p>
            <a:pPr algn="ctr" eaLnBrk="0" hangingPunct="0">
              <a:buClr>
                <a:schemeClr val="hlink"/>
              </a:buClr>
              <a:buFont typeface="Arial" charset="0"/>
              <a:buNone/>
            </a:pPr>
            <a:fld id="{0B79D931-517F-4F0B-A5F6-2D11743DDDCB}" type="datetime'''''''''''''1''''''4''''''''.8''0''''''6'''''''''''''''''''">
              <a:rPr lang="en-US" sz="1000" b="1"/>
              <a:pPr algn="ctr" eaLnBrk="0" hangingPunct="0">
                <a:buClr>
                  <a:schemeClr val="hlink"/>
                </a:buClr>
                <a:buFont typeface="Arial" charset="0"/>
                <a:buNone/>
              </a:pPr>
              <a:t>14.806</a:t>
            </a:fld>
            <a:endParaRPr lang="en-US" sz="1000" b="1">
              <a:sym typeface="+mn-lt"/>
            </a:endParaRPr>
          </a:p>
        </p:txBody>
      </p:sp>
      <p:sp>
        <p:nvSpPr>
          <p:cNvPr id="38523" name="Text Placeholder 16"/>
          <p:cNvSpPr txBox="1">
            <a:spLocks/>
          </p:cNvSpPr>
          <p:nvPr>
            <p:custDataLst>
              <p:tags r:id="rId12"/>
            </p:custDataLst>
          </p:nvPr>
        </p:nvSpPr>
        <p:spPr bwMode="gray">
          <a:xfrm>
            <a:off x="2532063" y="4171950"/>
            <a:ext cx="31432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/>
          <a:lstStyle/>
          <a:p>
            <a:pPr algn="ctr" eaLnBrk="0" hangingPunct="0">
              <a:buClr>
                <a:schemeClr val="hlink"/>
              </a:buClr>
              <a:buFont typeface="Arial" charset="0"/>
              <a:buNone/>
            </a:pPr>
            <a:fld id="{7574E9CE-19F7-4A6F-8484-2EC4ADDF6639}" type="datetime'''''5''''''''''''''''.''6''''''''''''''''9''''''''''6'">
              <a:rPr lang="en-US" sz="1000" b="1"/>
              <a:pPr algn="ctr" eaLnBrk="0" hangingPunct="0">
                <a:buClr>
                  <a:schemeClr val="hlink"/>
                </a:buClr>
                <a:buFont typeface="Arial" charset="0"/>
                <a:buNone/>
              </a:pPr>
              <a:t>5.696</a:t>
            </a:fld>
            <a:endParaRPr lang="en-US" sz="1000" b="1">
              <a:sym typeface="Arial" charset="0"/>
            </a:endParaRPr>
          </a:p>
        </p:txBody>
      </p:sp>
      <p:sp>
        <p:nvSpPr>
          <p:cNvPr id="38524" name="Text Placeholder 221"/>
          <p:cNvSpPr txBox="1">
            <a:spLocks/>
          </p:cNvSpPr>
          <p:nvPr>
            <p:custDataLst>
              <p:tags r:id="rId13"/>
            </p:custDataLst>
          </p:nvPr>
        </p:nvSpPr>
        <p:spPr bwMode="auto">
          <a:xfrm>
            <a:off x="1344613" y="5265738"/>
            <a:ext cx="2921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 eaLnBrk="0" hangingPunct="0">
              <a:buClr>
                <a:schemeClr val="hlink"/>
              </a:buClr>
              <a:buFont typeface="Arial" charset="0"/>
              <a:buNone/>
            </a:pPr>
            <a:fld id="{B712C424-F1D9-4833-B4B1-8BE887FC7554}" type="datetime'2''''''''''''''''''0''''''''''''''''04'''''''">
              <a:rPr lang="en-US" sz="1000"/>
              <a:pPr algn="ctr" eaLnBrk="0" hangingPunct="0">
                <a:buClr>
                  <a:schemeClr val="hlink"/>
                </a:buClr>
                <a:buFont typeface="Arial" charset="0"/>
                <a:buNone/>
              </a:pPr>
              <a:t>2004</a:t>
            </a:fld>
            <a:endParaRPr lang="en-US" sz="1000">
              <a:sym typeface="+mn-lt"/>
            </a:endParaRPr>
          </a:p>
        </p:txBody>
      </p:sp>
      <p:sp>
        <p:nvSpPr>
          <p:cNvPr id="38525" name="Text Placeholder 15"/>
          <p:cNvSpPr txBox="1">
            <a:spLocks/>
          </p:cNvSpPr>
          <p:nvPr>
            <p:custDataLst>
              <p:tags r:id="rId14"/>
            </p:custDataLst>
          </p:nvPr>
        </p:nvSpPr>
        <p:spPr bwMode="gray">
          <a:xfrm>
            <a:off x="1560513" y="2925763"/>
            <a:ext cx="38417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/>
          <a:lstStyle/>
          <a:p>
            <a:pPr algn="ctr" eaLnBrk="0" hangingPunct="0">
              <a:buClr>
                <a:schemeClr val="hlink"/>
              </a:buClr>
              <a:buFont typeface="Arial" charset="0"/>
              <a:buNone/>
            </a:pPr>
            <a:fld id="{0BBFF020-EE5F-479F-9B46-E0EC711CC018}" type="datetime'''1''4''''''''''''''.''''1''''2''''''''''''''3'''''''''''''''">
              <a:rPr lang="en-US" sz="1000" b="1"/>
              <a:pPr algn="ctr" eaLnBrk="0" hangingPunct="0">
                <a:buClr>
                  <a:schemeClr val="hlink"/>
                </a:buClr>
                <a:buFont typeface="Arial" charset="0"/>
                <a:buNone/>
              </a:pPr>
              <a:t>14.123</a:t>
            </a:fld>
            <a:endParaRPr lang="en-US" sz="1000" b="1">
              <a:sym typeface="+mn-lt"/>
            </a:endParaRPr>
          </a:p>
        </p:txBody>
      </p:sp>
      <p:sp>
        <p:nvSpPr>
          <p:cNvPr id="38526" name="Text Placeholder 14"/>
          <p:cNvSpPr txBox="1">
            <a:spLocks/>
          </p:cNvSpPr>
          <p:nvPr>
            <p:custDataLst>
              <p:tags r:id="rId15"/>
            </p:custDataLst>
          </p:nvPr>
        </p:nvSpPr>
        <p:spPr bwMode="gray">
          <a:xfrm>
            <a:off x="1076325" y="4687888"/>
            <a:ext cx="31432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/>
          <a:lstStyle/>
          <a:p>
            <a:pPr algn="ctr" eaLnBrk="0" hangingPunct="0">
              <a:buClr>
                <a:schemeClr val="hlink"/>
              </a:buClr>
              <a:buFont typeface="Arial" charset="0"/>
              <a:buNone/>
            </a:pPr>
            <a:fld id="{DB5647F9-4AA1-4959-BA17-9A7A208996EC}" type="datetime'2''''.''''1''''''3''6'''''''''''''''''''''''">
              <a:rPr lang="en-US" sz="1000" b="1"/>
              <a:pPr algn="ctr" eaLnBrk="0" hangingPunct="0">
                <a:buClr>
                  <a:schemeClr val="hlink"/>
                </a:buClr>
                <a:buFont typeface="Arial" charset="0"/>
                <a:buNone/>
              </a:pPr>
              <a:t>2.136</a:t>
            </a:fld>
            <a:endParaRPr lang="en-US" sz="1000" b="1">
              <a:sym typeface="Arial" charset="0"/>
            </a:endParaRPr>
          </a:p>
        </p:txBody>
      </p:sp>
      <p:sp>
        <p:nvSpPr>
          <p:cNvPr id="38527" name="Text Placeholder 10"/>
          <p:cNvSpPr txBox="1">
            <a:spLocks/>
          </p:cNvSpPr>
          <p:nvPr>
            <p:custDataLst>
              <p:tags r:id="rId16"/>
            </p:custDataLst>
          </p:nvPr>
        </p:nvSpPr>
        <p:spPr bwMode="auto">
          <a:xfrm>
            <a:off x="7145338" y="5257800"/>
            <a:ext cx="2921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 eaLnBrk="0" hangingPunct="0">
              <a:buClr>
                <a:schemeClr val="hlink"/>
              </a:buClr>
              <a:buFont typeface="Arial" charset="0"/>
              <a:buNone/>
            </a:pPr>
            <a:fld id="{85E8064B-ECE6-4AF6-B1BD-DFFA699D00C9}" type="datetime'''''''''''20''11'''''''''''''''''''''''''''''''''">
              <a:rPr lang="en-US" sz="1000"/>
              <a:pPr algn="ctr" eaLnBrk="0" hangingPunct="0">
                <a:buClr>
                  <a:schemeClr val="hlink"/>
                </a:buClr>
                <a:buFont typeface="Arial" charset="0"/>
                <a:buNone/>
              </a:pPr>
              <a:t>2011</a:t>
            </a:fld>
            <a:endParaRPr lang="en-US" sz="1000">
              <a:sym typeface="+mn-lt"/>
            </a:endParaRPr>
          </a:p>
        </p:txBody>
      </p:sp>
      <p:sp>
        <p:nvSpPr>
          <p:cNvPr id="38528" name="Text Placeholder 23"/>
          <p:cNvSpPr txBox="1">
            <a:spLocks/>
          </p:cNvSpPr>
          <p:nvPr>
            <p:custDataLst>
              <p:tags r:id="rId17"/>
            </p:custDataLst>
          </p:nvPr>
        </p:nvSpPr>
        <p:spPr bwMode="gray">
          <a:xfrm>
            <a:off x="7361238" y="2238375"/>
            <a:ext cx="38417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/>
          <a:lstStyle/>
          <a:p>
            <a:pPr algn="ctr" eaLnBrk="0" hangingPunct="0">
              <a:buClr>
                <a:schemeClr val="hlink"/>
              </a:buClr>
              <a:buFont typeface="Arial" charset="0"/>
              <a:buNone/>
            </a:pPr>
            <a:fld id="{6F08A560-6074-46D5-B615-86949FAC1B05}" type="datetime'''18''''''''''.''''''8''''''''8''''''5'''''''''''">
              <a:rPr lang="en-US" sz="1000" b="1"/>
              <a:pPr algn="ctr" eaLnBrk="0" hangingPunct="0">
                <a:buClr>
                  <a:schemeClr val="hlink"/>
                </a:buClr>
                <a:buFont typeface="Arial" charset="0"/>
                <a:buNone/>
              </a:pPr>
              <a:t>18.885</a:t>
            </a:fld>
            <a:endParaRPr lang="en-US" sz="1000" b="1">
              <a:sym typeface="+mn-lt"/>
            </a:endParaRPr>
          </a:p>
        </p:txBody>
      </p:sp>
      <p:sp>
        <p:nvSpPr>
          <p:cNvPr id="38529" name="Text Placeholder 22"/>
          <p:cNvSpPr txBox="1">
            <a:spLocks/>
          </p:cNvSpPr>
          <p:nvPr>
            <p:custDataLst>
              <p:tags r:id="rId18"/>
            </p:custDataLst>
          </p:nvPr>
        </p:nvSpPr>
        <p:spPr bwMode="gray">
          <a:xfrm>
            <a:off x="6842125" y="3209925"/>
            <a:ext cx="38417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/>
          <a:lstStyle/>
          <a:p>
            <a:pPr algn="ctr" eaLnBrk="0" hangingPunct="0">
              <a:buClr>
                <a:schemeClr val="hlink"/>
              </a:buClr>
              <a:buFont typeface="Arial" charset="0"/>
              <a:buNone/>
            </a:pPr>
            <a:fld id="{C6437F97-BA4D-46A7-BE9D-3C07CDBDDD5B}" type="datetime'''''''''''1''''''2''''''''.''''''''''26''''''''''1'''''''''">
              <a:rPr lang="en-US" sz="1000" b="1"/>
              <a:pPr algn="ctr" eaLnBrk="0" hangingPunct="0">
                <a:buClr>
                  <a:schemeClr val="hlink"/>
                </a:buClr>
                <a:buFont typeface="Arial" charset="0"/>
                <a:buNone/>
              </a:pPr>
              <a:t>12.261</a:t>
            </a:fld>
            <a:endParaRPr lang="en-US" sz="1000" b="1">
              <a:sym typeface="+mn-lt"/>
            </a:endParaRPr>
          </a:p>
        </p:txBody>
      </p:sp>
      <p:sp>
        <p:nvSpPr>
          <p:cNvPr id="38530" name="Text Placeholder 9"/>
          <p:cNvSpPr txBox="1">
            <a:spLocks/>
          </p:cNvSpPr>
          <p:nvPr>
            <p:custDataLst>
              <p:tags r:id="rId19"/>
            </p:custDataLst>
          </p:nvPr>
        </p:nvSpPr>
        <p:spPr bwMode="auto">
          <a:xfrm>
            <a:off x="5697538" y="5257800"/>
            <a:ext cx="2921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 eaLnBrk="0" hangingPunct="0">
              <a:buClr>
                <a:schemeClr val="hlink"/>
              </a:buClr>
              <a:buFont typeface="Arial" charset="0"/>
              <a:buNone/>
            </a:pPr>
            <a:fld id="{54DAF419-4A75-4167-AE69-899F28448925}" type="datetime'''''''''''''''''''''2''''''''''''''0''''''''''''''10'">
              <a:rPr lang="en-US" sz="1000"/>
              <a:pPr algn="ctr" eaLnBrk="0" hangingPunct="0">
                <a:buClr>
                  <a:schemeClr val="hlink"/>
                </a:buClr>
                <a:buFont typeface="Arial" charset="0"/>
                <a:buNone/>
              </a:pPr>
              <a:t>2010</a:t>
            </a:fld>
            <a:endParaRPr lang="en-US" sz="1000">
              <a:sym typeface="+mn-lt"/>
            </a:endParaRPr>
          </a:p>
        </p:txBody>
      </p:sp>
      <p:sp>
        <p:nvSpPr>
          <p:cNvPr id="57" name="Rectangle 56"/>
          <p:cNvSpPr/>
          <p:nvPr>
            <p:custDataLst>
              <p:tags r:id="rId20"/>
            </p:custDataLst>
          </p:nvPr>
        </p:nvSpPr>
        <p:spPr bwMode="auto">
          <a:xfrm>
            <a:off x="709613" y="5770563"/>
            <a:ext cx="179387" cy="133350"/>
          </a:xfrm>
          <a:prstGeom prst="rect">
            <a:avLst/>
          </a:prstGeom>
          <a:solidFill>
            <a:srgbClr val="939393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56" name="Rectangle 55"/>
          <p:cNvSpPr/>
          <p:nvPr>
            <p:custDataLst>
              <p:tags r:id="rId21"/>
            </p:custDataLst>
          </p:nvPr>
        </p:nvSpPr>
        <p:spPr bwMode="auto">
          <a:xfrm>
            <a:off x="709613" y="5535613"/>
            <a:ext cx="179387" cy="133350"/>
          </a:xfrm>
          <a:prstGeom prst="rect">
            <a:avLst/>
          </a:prstGeom>
          <a:solidFill>
            <a:srgbClr val="6F91B9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38533" name="Text Placeholder 7"/>
          <p:cNvSpPr txBox="1">
            <a:spLocks/>
          </p:cNvSpPr>
          <p:nvPr>
            <p:custDataLst>
              <p:tags r:id="rId22"/>
            </p:custDataLst>
          </p:nvPr>
        </p:nvSpPr>
        <p:spPr bwMode="auto">
          <a:xfrm>
            <a:off x="939800" y="5751513"/>
            <a:ext cx="197802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eaLnBrk="0" hangingPunct="0">
              <a:buClr>
                <a:schemeClr val="hlink"/>
              </a:buClr>
              <a:buFont typeface="Arial" charset="0"/>
              <a:buNone/>
            </a:pPr>
            <a:fld id="{056750FB-A2E8-4B4F-BEBE-386FCF999533}" type="datetime'''''''''''Расхо''д''''ы'''''' ре''''гионального б''ю''дже''та'">
              <a:rPr lang="en-US" sz="1000"/>
              <a:pPr eaLnBrk="0" hangingPunct="0">
                <a:buClr>
                  <a:schemeClr val="hlink"/>
                </a:buClr>
                <a:buFont typeface="Arial" charset="0"/>
                <a:buNone/>
              </a:pPr>
              <a:t>Расходы регионального бюджета</a:t>
            </a:fld>
            <a:endParaRPr lang="en-US" sz="1000">
              <a:sym typeface="+mn-lt"/>
            </a:endParaRPr>
          </a:p>
        </p:txBody>
      </p:sp>
      <p:sp>
        <p:nvSpPr>
          <p:cNvPr id="38534" name="Text Placeholder 8"/>
          <p:cNvSpPr txBox="1">
            <a:spLocks/>
          </p:cNvSpPr>
          <p:nvPr>
            <p:custDataLst>
              <p:tags r:id="rId23"/>
            </p:custDataLst>
          </p:nvPr>
        </p:nvSpPr>
        <p:spPr bwMode="auto">
          <a:xfrm>
            <a:off x="939800" y="5524500"/>
            <a:ext cx="194151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eaLnBrk="0" hangingPunct="0">
              <a:buClr>
                <a:schemeClr val="hlink"/>
              </a:buClr>
              <a:buFont typeface="Arial" charset="0"/>
              <a:buNone/>
            </a:pPr>
            <a:fld id="{F4AD8CE8-4D29-41F6-A535-F968299A6F48}" type="datetime'Со''''бст''в''ен''ны''''''''е ''''на''ло''г''ов''ые ''доходы'">
              <a:rPr lang="en-US" sz="1000"/>
              <a:pPr eaLnBrk="0" hangingPunct="0">
                <a:buClr>
                  <a:schemeClr val="hlink"/>
                </a:buClr>
                <a:buFont typeface="Arial" charset="0"/>
                <a:buNone/>
              </a:pPr>
              <a:t>Собственные налоговые доходы</a:t>
            </a:fld>
            <a:endParaRPr lang="en-US" sz="1000">
              <a:sym typeface="+mn-lt"/>
            </a:endParaRPr>
          </a:p>
        </p:txBody>
      </p:sp>
      <p:sp>
        <p:nvSpPr>
          <p:cNvPr id="38535" name="Line 651"/>
          <p:cNvSpPr>
            <a:spLocks noChangeShapeType="1"/>
          </p:cNvSpPr>
          <p:nvPr/>
        </p:nvSpPr>
        <p:spPr bwMode="auto">
          <a:xfrm flipH="1">
            <a:off x="1217613" y="3116263"/>
            <a:ext cx="1587" cy="1568450"/>
          </a:xfrm>
          <a:prstGeom prst="line">
            <a:avLst/>
          </a:prstGeom>
          <a:noFill/>
          <a:ln w="9525">
            <a:solidFill>
              <a:srgbClr val="800000"/>
            </a:solidFill>
            <a:round/>
            <a:headEnd type="triangle" w="med" len="med"/>
            <a:tailEnd type="triangle" w="med" len="med"/>
          </a:ln>
          <a:effectLst>
            <a:prstShdw prst="shdw17" dist="17961" dir="2700000">
              <a:srgbClr val="4D0000"/>
            </a:prstShdw>
          </a:effectLst>
        </p:spPr>
        <p:txBody>
          <a:bodyPr/>
          <a:lstStyle/>
          <a:p>
            <a:endParaRPr lang="ru-RU"/>
          </a:p>
        </p:txBody>
      </p:sp>
      <p:sp>
        <p:nvSpPr>
          <p:cNvPr id="38536" name="Line 652"/>
          <p:cNvSpPr>
            <a:spLocks noChangeShapeType="1"/>
          </p:cNvSpPr>
          <p:nvPr/>
        </p:nvSpPr>
        <p:spPr bwMode="auto">
          <a:xfrm flipV="1">
            <a:off x="138113" y="939800"/>
            <a:ext cx="8899525" cy="7938"/>
          </a:xfrm>
          <a:prstGeom prst="line">
            <a:avLst/>
          </a:prstGeom>
          <a:noFill/>
          <a:ln w="9525">
            <a:solidFill>
              <a:srgbClr val="C0C0C0"/>
            </a:solidFill>
            <a:round/>
            <a:headEnd/>
            <a:tailEnd/>
          </a:ln>
          <a:effectLst>
            <a:prstShdw prst="shdw17" dist="17961" dir="2700000">
              <a:srgbClr val="737373"/>
            </a:prstShdw>
          </a:effectLst>
        </p:spPr>
        <p:txBody>
          <a:bodyPr/>
          <a:lstStyle/>
          <a:p>
            <a:endParaRPr lang="ru-RU"/>
          </a:p>
        </p:txBody>
      </p:sp>
      <p:sp>
        <p:nvSpPr>
          <p:cNvPr id="38537" name="Line 653"/>
          <p:cNvSpPr>
            <a:spLocks noChangeShapeType="1"/>
          </p:cNvSpPr>
          <p:nvPr/>
        </p:nvSpPr>
        <p:spPr bwMode="auto">
          <a:xfrm>
            <a:off x="1203325" y="3130550"/>
            <a:ext cx="304800" cy="7938"/>
          </a:xfrm>
          <a:prstGeom prst="line">
            <a:avLst/>
          </a:prstGeom>
          <a:noFill/>
          <a:ln w="9525">
            <a:solidFill>
              <a:srgbClr val="800000"/>
            </a:solidFill>
            <a:prstDash val="dash"/>
            <a:round/>
            <a:headEnd/>
            <a:tailEnd/>
          </a:ln>
          <a:effectLst>
            <a:prstShdw prst="shdw17" dist="17961" dir="2700000">
              <a:srgbClr val="4D0000"/>
            </a:prstShdw>
          </a:effectLst>
        </p:spPr>
        <p:txBody>
          <a:bodyPr/>
          <a:lstStyle/>
          <a:p>
            <a:endParaRPr lang="ru-RU"/>
          </a:p>
        </p:txBody>
      </p:sp>
      <p:sp>
        <p:nvSpPr>
          <p:cNvPr id="38542" name="Oval 654"/>
          <p:cNvSpPr>
            <a:spLocks noChangeArrowheads="1"/>
          </p:cNvSpPr>
          <p:nvPr/>
        </p:nvSpPr>
        <p:spPr bwMode="auto">
          <a:xfrm>
            <a:off x="1009650" y="3775075"/>
            <a:ext cx="411163" cy="236538"/>
          </a:xfrm>
          <a:prstGeom prst="ellipse">
            <a:avLst/>
          </a:prstGeom>
          <a:solidFill>
            <a:srgbClr val="800000"/>
          </a:solidFill>
          <a:ln w="9525">
            <a:solidFill>
              <a:schemeClr val="bg2"/>
            </a:solidFill>
            <a:round/>
            <a:headEnd/>
            <a:tailEnd/>
          </a:ln>
          <a:effectLst>
            <a:prstShdw prst="shdw17" dist="17961" dir="2700000">
              <a:schemeClr val="bg2">
                <a:gamma/>
                <a:shade val="60000"/>
                <a:invGamma/>
              </a:schemeClr>
            </a:prstShdw>
          </a:effectLst>
        </p:spPr>
        <p:txBody>
          <a:bodyPr wrap="none" anchor="ctr"/>
          <a:lstStyle/>
          <a:p>
            <a:pPr algn="ctr">
              <a:defRPr/>
            </a:pPr>
            <a:r>
              <a:rPr lang="ru-RU">
                <a:solidFill>
                  <a:schemeClr val="bg1"/>
                </a:solidFill>
              </a:rPr>
              <a:t>85%</a:t>
            </a:r>
          </a:p>
        </p:txBody>
      </p:sp>
      <p:sp>
        <p:nvSpPr>
          <p:cNvPr id="38539" name="Line 657"/>
          <p:cNvSpPr>
            <a:spLocks noChangeShapeType="1"/>
          </p:cNvSpPr>
          <p:nvPr/>
        </p:nvSpPr>
        <p:spPr bwMode="auto">
          <a:xfrm>
            <a:off x="6980238" y="2430463"/>
            <a:ext cx="6350" cy="796925"/>
          </a:xfrm>
          <a:prstGeom prst="line">
            <a:avLst/>
          </a:prstGeom>
          <a:noFill/>
          <a:ln w="9525">
            <a:solidFill>
              <a:srgbClr val="800000"/>
            </a:solidFill>
            <a:round/>
            <a:headEnd type="triangle" w="med" len="med"/>
            <a:tailEnd type="triangle" w="med" len="med"/>
          </a:ln>
          <a:effectLst>
            <a:prstShdw prst="shdw17" dist="17961" dir="2700000">
              <a:srgbClr val="4D0000"/>
            </a:prstShdw>
          </a:effectLst>
        </p:spPr>
        <p:txBody>
          <a:bodyPr/>
          <a:lstStyle/>
          <a:p>
            <a:endParaRPr lang="ru-RU"/>
          </a:p>
        </p:txBody>
      </p:sp>
      <p:sp>
        <p:nvSpPr>
          <p:cNvPr id="38540" name="Line 658"/>
          <p:cNvSpPr>
            <a:spLocks noChangeShapeType="1"/>
          </p:cNvSpPr>
          <p:nvPr/>
        </p:nvSpPr>
        <p:spPr bwMode="auto">
          <a:xfrm>
            <a:off x="6978650" y="2436813"/>
            <a:ext cx="304800" cy="7937"/>
          </a:xfrm>
          <a:prstGeom prst="line">
            <a:avLst/>
          </a:prstGeom>
          <a:noFill/>
          <a:ln w="9525">
            <a:solidFill>
              <a:srgbClr val="800000"/>
            </a:solidFill>
            <a:prstDash val="dash"/>
            <a:round/>
            <a:headEnd/>
            <a:tailEnd/>
          </a:ln>
          <a:effectLst>
            <a:prstShdw prst="shdw17" dist="17961" dir="2700000">
              <a:srgbClr val="4D0000"/>
            </a:prstShdw>
          </a:effectLst>
        </p:spPr>
        <p:txBody>
          <a:bodyPr/>
          <a:lstStyle/>
          <a:p>
            <a:endParaRPr lang="ru-RU"/>
          </a:p>
        </p:txBody>
      </p:sp>
      <p:sp>
        <p:nvSpPr>
          <p:cNvPr id="38547" name="Oval 659"/>
          <p:cNvSpPr>
            <a:spLocks noChangeArrowheads="1"/>
          </p:cNvSpPr>
          <p:nvPr/>
        </p:nvSpPr>
        <p:spPr bwMode="auto">
          <a:xfrm>
            <a:off x="6777038" y="2717800"/>
            <a:ext cx="411162" cy="236538"/>
          </a:xfrm>
          <a:prstGeom prst="ellipse">
            <a:avLst/>
          </a:prstGeom>
          <a:solidFill>
            <a:srgbClr val="800000"/>
          </a:solidFill>
          <a:ln w="9525">
            <a:solidFill>
              <a:schemeClr val="bg2"/>
            </a:solidFill>
            <a:round/>
            <a:headEnd/>
            <a:tailEnd/>
          </a:ln>
          <a:effectLst>
            <a:prstShdw prst="shdw17" dist="17961" dir="2700000">
              <a:schemeClr val="bg2">
                <a:gamma/>
                <a:shade val="60000"/>
                <a:invGamma/>
              </a:schemeClr>
            </a:prstShdw>
          </a:effectLst>
        </p:spPr>
        <p:txBody>
          <a:bodyPr wrap="none" anchor="ctr"/>
          <a:lstStyle/>
          <a:p>
            <a:pPr algn="ctr">
              <a:defRPr/>
            </a:pPr>
            <a:r>
              <a:rPr lang="ru-RU">
                <a:solidFill>
                  <a:schemeClr val="bg1"/>
                </a:solidFill>
              </a:rPr>
              <a:t>35%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793" name="AutoShape 929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7793" name="think-cell Slide" r:id="rId33" imgW="0" imgH="0" progId="">
              <p:embed/>
            </p:oleObj>
          </a:graphicData>
        </a:graphic>
      </p:graphicFrame>
      <p:sp>
        <p:nvSpPr>
          <p:cNvPr id="37796" name="Rectangle 49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endParaRPr lang="en-US">
              <a:sym typeface="Arial" charset="0"/>
            </a:endParaRPr>
          </a:p>
        </p:txBody>
      </p:sp>
      <p:sp>
        <p:nvSpPr>
          <p:cNvPr id="37797" name="Rectangle 2"/>
          <p:cNvSpPr>
            <a:spLocks noGrp="1" noChangeArrowheads="1"/>
          </p:cNvSpPr>
          <p:nvPr>
            <p:ph type="title"/>
          </p:nvPr>
        </p:nvSpPr>
        <p:spPr>
          <a:xfrm>
            <a:off x="685800" y="209550"/>
            <a:ext cx="8237538" cy="609600"/>
          </a:xfrm>
        </p:spPr>
        <p:txBody>
          <a:bodyPr/>
          <a:lstStyle/>
          <a:p>
            <a:pPr eaLnBrk="1" hangingPunct="1"/>
            <a:r>
              <a:rPr lang="ru-RU" smtClean="0"/>
              <a:t>В настоящее время ВРП формируется сильной промышленной базой, в которой доминирует добыча драгоценных металлов</a:t>
            </a:r>
          </a:p>
        </p:txBody>
      </p:sp>
      <p:sp>
        <p:nvSpPr>
          <p:cNvPr id="37798" name="Text Box 3"/>
          <p:cNvSpPr txBox="1">
            <a:spLocks noChangeArrowheads="1"/>
          </p:cNvSpPr>
          <p:nvPr/>
        </p:nvSpPr>
        <p:spPr bwMode="auto">
          <a:xfrm>
            <a:off x="684213" y="1189038"/>
            <a:ext cx="3095625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ru-RU" sz="1200"/>
              <a:t>Доля промышленного производства и сельского хозяйства* в ВРП, 2011 г., %</a:t>
            </a:r>
          </a:p>
        </p:txBody>
      </p:sp>
      <p:graphicFrame>
        <p:nvGraphicFramePr>
          <p:cNvPr id="37794" name="Object 930"/>
          <p:cNvGraphicFramePr>
            <a:graphicFrameLocks/>
          </p:cNvGraphicFramePr>
          <p:nvPr>
            <p:custDataLst>
              <p:tags r:id="rId4"/>
            </p:custDataLst>
          </p:nvPr>
        </p:nvGraphicFramePr>
        <p:xfrm>
          <a:off x="1219200" y="1638300"/>
          <a:ext cx="2847975" cy="3714750"/>
        </p:xfrm>
        <a:graphic>
          <a:graphicData uri="http://schemas.openxmlformats.org/presentationml/2006/ole">
            <p:oleObj spid="_x0000_s37794" name="Диаграмма" r:id="rId34" imgW="2847876" imgH="3714826" progId="MSGraph.Chart.8">
              <p:embed followColorScheme="full"/>
            </p:oleObj>
          </a:graphicData>
        </a:graphic>
      </p:graphicFrame>
      <p:sp>
        <p:nvSpPr>
          <p:cNvPr id="37799" name="Rectangle 11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27088" y="4940300"/>
            <a:ext cx="396875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r"/>
            <a:fld id="{30FD0D2E-3D98-4820-9DFF-80602CDF5B1E}" type="datetime'''''''''Ю''''к''''''''он'''''''''''''' '">
              <a:rPr lang="en-US"/>
              <a:pPr algn="r"/>
              <a:t>Юкон </a:t>
            </a:fld>
            <a:endParaRPr lang="ru-RU"/>
          </a:p>
        </p:txBody>
      </p:sp>
      <p:sp>
        <p:nvSpPr>
          <p:cNvPr id="37800" name="Rectangle 59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auto">
          <a:xfrm>
            <a:off x="2616200" y="4940300"/>
            <a:ext cx="433388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9050" tIns="0" rIns="19050" bIns="0" anchor="ctr"/>
          <a:lstStyle/>
          <a:p>
            <a:pPr eaLnBrk="0" hangingPunct="0"/>
            <a:fld id="{5438024B-DD9D-43A7-A5F7-11FD6797AC37}" type="datetime'2''''''3'''''',''''''''7''''''''''''''''%'">
              <a:rPr lang="en-US"/>
              <a:pPr eaLnBrk="0" hangingPunct="0"/>
              <a:t>23,7%</a:t>
            </a:fld>
            <a:endParaRPr lang="en-US">
              <a:sym typeface="Arial" charset="0"/>
            </a:endParaRPr>
          </a:p>
        </p:txBody>
      </p:sp>
      <p:sp>
        <p:nvSpPr>
          <p:cNvPr id="37801" name="Rectangle 10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763588" y="4506913"/>
            <a:ext cx="460375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r"/>
            <a:r>
              <a:rPr lang="ru-RU"/>
              <a:t>Аляска</a:t>
            </a:r>
          </a:p>
        </p:txBody>
      </p:sp>
      <p:sp>
        <p:nvSpPr>
          <p:cNvPr id="37802" name="Rectangle 58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auto">
          <a:xfrm>
            <a:off x="2949575" y="4506913"/>
            <a:ext cx="433388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9050" tIns="0" rIns="19050" bIns="0" anchor="ctr"/>
          <a:lstStyle/>
          <a:p>
            <a:pPr eaLnBrk="0" hangingPunct="0"/>
            <a:fld id="{E9A1BF0C-A77A-483E-A313-9C6259C2A60E}" type="datetime'''30'''''''''''''''',''''''''''''''''''''''''''0''%'''''">
              <a:rPr lang="en-US"/>
              <a:pPr eaLnBrk="0" hangingPunct="0"/>
              <a:t>30,0%</a:t>
            </a:fld>
            <a:endParaRPr lang="en-US">
              <a:sym typeface="Arial" charset="0"/>
            </a:endParaRPr>
          </a:p>
        </p:txBody>
      </p:sp>
      <p:sp>
        <p:nvSpPr>
          <p:cNvPr id="37803" name="Rectangle 69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auto">
          <a:xfrm>
            <a:off x="103188" y="4073525"/>
            <a:ext cx="1120775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r" eaLnBrk="0" hangingPunct="0"/>
            <a:fld id="{963B5A8D-29C8-45F0-ABC0-89DD5AD0C527}" type="datetime'''М''''аг''''''''''''''ад''а''''н''ск''а''''''я'''' о''''бл'">
              <a:rPr lang="en-US"/>
              <a:pPr algn="r" eaLnBrk="0" hangingPunct="0"/>
              <a:t>Магаданская обл</a:t>
            </a:fld>
            <a:r>
              <a:rPr lang="ru-RU"/>
              <a:t>.</a:t>
            </a:r>
            <a:endParaRPr lang="en-US">
              <a:sym typeface="Arial" charset="0"/>
            </a:endParaRPr>
          </a:p>
        </p:txBody>
      </p:sp>
      <p:sp>
        <p:nvSpPr>
          <p:cNvPr id="37804" name="Rectangle 70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auto">
          <a:xfrm>
            <a:off x="3082925" y="4073525"/>
            <a:ext cx="433388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9050" tIns="0" rIns="19050" bIns="0" anchor="ctr"/>
          <a:lstStyle/>
          <a:p>
            <a:pPr eaLnBrk="0" hangingPunct="0"/>
            <a:fld id="{D018DD9B-CEAC-4932-8C96-E3A3D36F1355}" type="datetime'''3''''''''''''''''2'''''''''''''''''',''6''''''''''''%'''''''">
              <a:rPr lang="en-US"/>
              <a:pPr eaLnBrk="0" hangingPunct="0"/>
              <a:t>32,6%</a:t>
            </a:fld>
            <a:endParaRPr lang="en-US">
              <a:sym typeface="Arial" charset="0"/>
            </a:endParaRPr>
          </a:p>
        </p:txBody>
      </p:sp>
      <p:sp>
        <p:nvSpPr>
          <p:cNvPr id="37805" name="Rectangle 9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206375" y="3640138"/>
            <a:ext cx="1017588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r"/>
            <a:fld id="{2C4FD5D2-FCC1-44AB-8A07-6B98C1905961}" type="datetime'''''Россия'''' (с''''''''р''''едн''''.'''''''''')'''''''''">
              <a:rPr lang="en-US"/>
              <a:pPr algn="r"/>
              <a:t>Россия (средн.)</a:t>
            </a:fld>
            <a:endParaRPr lang="ru-RU"/>
          </a:p>
        </p:txBody>
      </p:sp>
      <p:sp>
        <p:nvSpPr>
          <p:cNvPr id="37806" name="Rectangle 57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auto">
          <a:xfrm>
            <a:off x="3092450" y="3640138"/>
            <a:ext cx="433388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9050" tIns="0" rIns="19050" bIns="0" anchor="ctr"/>
          <a:lstStyle/>
          <a:p>
            <a:pPr eaLnBrk="0" hangingPunct="0"/>
            <a:fld id="{B3E38024-9730-49A0-B6CD-2D657166DAF6}" type="datetime'''3''''''''''''2'',''7''%'''''''''''''''''''''''''''''''">
              <a:rPr lang="en-US"/>
              <a:pPr eaLnBrk="0" hangingPunct="0"/>
              <a:t>32,7%</a:t>
            </a:fld>
            <a:endParaRPr lang="en-US">
              <a:sym typeface="Arial" charset="0"/>
            </a:endParaRPr>
          </a:p>
        </p:txBody>
      </p:sp>
      <p:sp>
        <p:nvSpPr>
          <p:cNvPr id="37807" name="Rectangle 8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268288" y="3206750"/>
            <a:ext cx="955675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r"/>
            <a:r>
              <a:rPr lang="ru-RU"/>
              <a:t>ДФО (средн.)</a:t>
            </a:r>
          </a:p>
        </p:txBody>
      </p:sp>
      <p:sp>
        <p:nvSpPr>
          <p:cNvPr id="37808" name="Rectangle 56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auto">
          <a:xfrm>
            <a:off x="3311525" y="3206750"/>
            <a:ext cx="433388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9050" tIns="0" rIns="19050" bIns="0" anchor="ctr"/>
          <a:lstStyle/>
          <a:p>
            <a:pPr eaLnBrk="0" hangingPunct="0"/>
            <a:fld id="{F64F8932-74A3-434E-84F8-7ABE6BCD30ED}" type="datetime'''3''''''''''''''''''''''''''6,''''''8''''%'''''">
              <a:rPr lang="en-US"/>
              <a:pPr eaLnBrk="0" hangingPunct="0"/>
              <a:t>36,8%</a:t>
            </a:fld>
            <a:endParaRPr lang="en-US">
              <a:sym typeface="Arial" charset="0"/>
            </a:endParaRPr>
          </a:p>
        </p:txBody>
      </p:sp>
      <p:sp>
        <p:nvSpPr>
          <p:cNvPr id="37809" name="Rectangle 7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315913" y="2773363"/>
            <a:ext cx="908050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r"/>
            <a:fld id="{D4FBE87E-8750-4B5A-B0C7-A3A8EBABF6F9}" type="datetime'''''''''С''а''х''''''а'''''''''' ''(Як''ут''и''''''''''''я)'">
              <a:rPr lang="en-US"/>
              <a:pPr algn="r"/>
              <a:t>Саха (Якутия)</a:t>
            </a:fld>
            <a:endParaRPr lang="ru-RU"/>
          </a:p>
        </p:txBody>
      </p:sp>
      <p:sp>
        <p:nvSpPr>
          <p:cNvPr id="37810" name="Rectangle 55"/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auto">
          <a:xfrm>
            <a:off x="3768725" y="2773363"/>
            <a:ext cx="433388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9050" tIns="0" rIns="19050" bIns="0" anchor="ctr"/>
          <a:lstStyle/>
          <a:p>
            <a:pPr eaLnBrk="0" hangingPunct="0"/>
            <a:fld id="{8ADCD19B-9AAF-4727-9462-F5D71996B8E1}" type="datetime'''''''''4''''5,''''''''''''''5''''''''''''%'''''''''''''''''''">
              <a:rPr lang="en-US"/>
              <a:pPr eaLnBrk="0" hangingPunct="0"/>
              <a:t>45,5%</a:t>
            </a:fld>
            <a:endParaRPr lang="en-US">
              <a:sym typeface="Arial" charset="0"/>
            </a:endParaRPr>
          </a:p>
        </p:txBody>
      </p:sp>
      <p:sp>
        <p:nvSpPr>
          <p:cNvPr id="37811" name="Rectangle 71"/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auto">
          <a:xfrm>
            <a:off x="330200" y="2339975"/>
            <a:ext cx="893763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r" eaLnBrk="0" hangingPunct="0"/>
            <a:fld id="{D8270AB7-FBF1-4097-9527-EC02CC441B4B}" type="datetime'''''''Чу''кот''с''''кий А''''''''''''''''''''''''''''''О'''''">
              <a:rPr lang="en-US"/>
              <a:pPr algn="r" eaLnBrk="0" hangingPunct="0"/>
              <a:t>Чукотский АО</a:t>
            </a:fld>
            <a:endParaRPr lang="en-US">
              <a:sym typeface="Arial" charset="0"/>
            </a:endParaRPr>
          </a:p>
        </p:txBody>
      </p:sp>
      <p:sp>
        <p:nvSpPr>
          <p:cNvPr id="37812" name="Rectangle 72"/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auto">
          <a:xfrm>
            <a:off x="3892550" y="2339975"/>
            <a:ext cx="433388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9050" tIns="0" rIns="19050" bIns="0" anchor="ctr"/>
          <a:lstStyle/>
          <a:p>
            <a:pPr eaLnBrk="0" hangingPunct="0"/>
            <a:fld id="{74F0C166-E03F-4A88-A195-1104A5647F13}" type="datetime'''4''7'',''''''''''''''''''''''''''''''''8''''''''%'''">
              <a:rPr lang="en-US"/>
              <a:pPr eaLnBrk="0" hangingPunct="0"/>
              <a:t>47,8%</a:t>
            </a:fld>
            <a:endParaRPr lang="en-US">
              <a:sym typeface="Arial" charset="0"/>
            </a:endParaRPr>
          </a:p>
        </p:txBody>
      </p:sp>
      <p:sp>
        <p:nvSpPr>
          <p:cNvPr id="37813" name="Rectangle 6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352425" y="1906588"/>
            <a:ext cx="871538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r"/>
            <a:fld id="{29CC1BC4-3959-40B0-876B-A77BCBA30A93}" type="datetime'Н''''''''''ен''е''''цк''''''''''''''''ий ''''''АО'''">
              <a:rPr lang="en-US"/>
              <a:pPr algn="r"/>
              <a:t>Ненецкий АО</a:t>
            </a:fld>
            <a:endParaRPr lang="ru-RU"/>
          </a:p>
        </p:txBody>
      </p:sp>
      <p:sp>
        <p:nvSpPr>
          <p:cNvPr id="37814" name="Rectangle 54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auto">
          <a:xfrm>
            <a:off x="3997325" y="1906588"/>
            <a:ext cx="433388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9050" tIns="0" rIns="19050" bIns="0" anchor="ctr"/>
          <a:lstStyle/>
          <a:p>
            <a:pPr eaLnBrk="0" hangingPunct="0"/>
            <a:fld id="{8D4D3E8E-FA7F-4400-979C-AE8ECE0E44BB}" type="datetime'''''''4''''''''''''''9'',''''''''''''8''''''''''''''%'''''''''">
              <a:rPr lang="en-US"/>
              <a:pPr eaLnBrk="0" hangingPunct="0"/>
              <a:t>49,8%</a:t>
            </a:fld>
            <a:endParaRPr lang="en-US">
              <a:sym typeface="Arial" charset="0"/>
            </a:endParaRPr>
          </a:p>
        </p:txBody>
      </p:sp>
      <p:sp>
        <p:nvSpPr>
          <p:cNvPr id="37815" name="Text Box 16"/>
          <p:cNvSpPr txBox="1">
            <a:spLocks noChangeArrowheads="1"/>
          </p:cNvSpPr>
          <p:nvPr/>
        </p:nvSpPr>
        <p:spPr bwMode="auto">
          <a:xfrm>
            <a:off x="5221288" y="1187450"/>
            <a:ext cx="338296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200"/>
              <a:t>Выручка базовых секторов экономики Чукотского АО, 2011 г., млн. руб.* </a:t>
            </a:r>
          </a:p>
        </p:txBody>
      </p:sp>
      <p:sp>
        <p:nvSpPr>
          <p:cNvPr id="37816" name="Text Box 17"/>
          <p:cNvSpPr txBox="1">
            <a:spLocks noChangeArrowheads="1"/>
          </p:cNvSpPr>
          <p:nvPr/>
        </p:nvSpPr>
        <p:spPr bwMode="auto">
          <a:xfrm>
            <a:off x="4932363" y="5502275"/>
            <a:ext cx="3990975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900"/>
              <a:t>* Здесь и далее рыбная промышленность включает в себя   </a:t>
            </a:r>
          </a:p>
          <a:p>
            <a:r>
              <a:rPr lang="ru-RU" sz="900"/>
              <a:t>   рыболовство и переработку рыбы</a:t>
            </a:r>
          </a:p>
        </p:txBody>
      </p:sp>
      <p:sp>
        <p:nvSpPr>
          <p:cNvPr id="37817" name="Line 33"/>
          <p:cNvSpPr>
            <a:spLocks noChangeShapeType="1"/>
          </p:cNvSpPr>
          <p:nvPr/>
        </p:nvSpPr>
        <p:spPr bwMode="auto">
          <a:xfrm>
            <a:off x="1325563" y="1766888"/>
            <a:ext cx="1587" cy="3475037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37818" name="Text Box 54"/>
          <p:cNvSpPr txBox="1">
            <a:spLocks noChangeArrowheads="1"/>
          </p:cNvSpPr>
          <p:nvPr/>
        </p:nvSpPr>
        <p:spPr bwMode="auto">
          <a:xfrm>
            <a:off x="885825" y="5543550"/>
            <a:ext cx="1814513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342900" indent="-342900"/>
            <a:r>
              <a:rPr lang="ru-RU" sz="900">
                <a:solidFill>
                  <a:srgbClr val="000000"/>
                </a:solidFill>
              </a:rPr>
              <a:t>* Без учета электроэнергетики</a:t>
            </a:r>
          </a:p>
        </p:txBody>
      </p:sp>
      <p:graphicFrame>
        <p:nvGraphicFramePr>
          <p:cNvPr id="37795" name="Object 931"/>
          <p:cNvGraphicFramePr>
            <a:graphicFrameLocks/>
          </p:cNvGraphicFramePr>
          <p:nvPr>
            <p:custDataLst>
              <p:tags r:id="rId21"/>
            </p:custDataLst>
          </p:nvPr>
        </p:nvGraphicFramePr>
        <p:xfrm>
          <a:off x="4648200" y="2057400"/>
          <a:ext cx="4238625" cy="2695575"/>
        </p:xfrm>
        <a:graphic>
          <a:graphicData uri="http://schemas.openxmlformats.org/presentationml/2006/ole">
            <p:oleObj spid="_x0000_s37795" name="Chart" r:id="rId35" imgW="4238730" imgH="2695485" progId="MSGraph.Chart.8">
              <p:embed followColorScheme="full"/>
            </p:oleObj>
          </a:graphicData>
        </a:graphic>
      </p:graphicFrame>
      <p:sp>
        <p:nvSpPr>
          <p:cNvPr id="37819" name="Rectangle 36"/>
          <p:cNvSpPr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8112125" y="4756150"/>
            <a:ext cx="53975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/>
            <a:fld id="{6721529E-3C1F-4ED7-9F6C-9219D5177ADE}" type="datetime'Рыбна''я'''''''''''''''''''''''''''''''''' пр''ом-''''''сть'''">
              <a:rPr lang="en-US" sz="1000"/>
              <a:pPr algn="ctr"/>
              <a:t>Рыбная пром-сть</a:t>
            </a:fld>
            <a:endParaRPr lang="ru-RU" sz="1000"/>
          </a:p>
        </p:txBody>
      </p:sp>
      <p:sp>
        <p:nvSpPr>
          <p:cNvPr id="37820" name="Rectangle 35"/>
          <p:cNvSpPr>
            <a:spLocks noChangeArrowheads="1"/>
          </p:cNvSpPr>
          <p:nvPr>
            <p:custDataLst>
              <p:tags r:id="rId23"/>
            </p:custDataLst>
          </p:nvPr>
        </p:nvSpPr>
        <p:spPr bwMode="gray">
          <a:xfrm>
            <a:off x="8207375" y="4349750"/>
            <a:ext cx="349250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/>
          <a:lstStyle/>
          <a:p>
            <a:pPr algn="ctr"/>
            <a:fld id="{6DB64BCC-71ED-437E-B92B-01323EA4C5D1}" type="datetime'''''''''1''''.''''''''''''''''''''''''''3''''5''0'''''">
              <a:rPr lang="en-US"/>
              <a:pPr algn="ctr"/>
              <a:t>1.350</a:t>
            </a:fld>
            <a:endParaRPr lang="ru-RU"/>
          </a:p>
        </p:txBody>
      </p:sp>
      <p:sp>
        <p:nvSpPr>
          <p:cNvPr id="37821" name="Rectangle 34"/>
          <p:cNvSpPr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7297738" y="4756150"/>
            <a:ext cx="5588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/>
            <a:fld id="{959B9A9E-6E1F-403A-9F68-0500CB52FDA6}" type="datetime'У''г''''о''ль''ная'''''''' п''''''ро''''''''м-ст''ь'''''">
              <a:rPr lang="en-US" sz="1000"/>
              <a:pPr algn="ctr"/>
              <a:t>Угольная пром-сть</a:t>
            </a:fld>
            <a:endParaRPr lang="ru-RU" sz="1000"/>
          </a:p>
        </p:txBody>
      </p:sp>
      <p:sp>
        <p:nvSpPr>
          <p:cNvPr id="37822" name="Rectangle 33"/>
          <p:cNvSpPr>
            <a:spLocks noChangeArrowheads="1"/>
          </p:cNvSpPr>
          <p:nvPr>
            <p:custDataLst>
              <p:tags r:id="rId25"/>
            </p:custDataLst>
          </p:nvPr>
        </p:nvSpPr>
        <p:spPr bwMode="gray">
          <a:xfrm>
            <a:off x="7402513" y="4292600"/>
            <a:ext cx="349250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/>
          <a:lstStyle/>
          <a:p>
            <a:pPr algn="ctr"/>
            <a:fld id="{2D9BE2CB-64F9-4B3A-A5BE-72FA94C5434B}" type="datetime'''''''''''''''''''2''.1''''''''''''8''''3'''">
              <a:rPr lang="en-US"/>
              <a:pPr algn="ctr"/>
              <a:t>2.183</a:t>
            </a:fld>
            <a:endParaRPr lang="ru-RU"/>
          </a:p>
        </p:txBody>
      </p:sp>
      <p:sp>
        <p:nvSpPr>
          <p:cNvPr id="37823" name="Rectangle 32"/>
          <p:cNvSpPr>
            <a:spLocks noChangeArrowheads="1"/>
          </p:cNvSpPr>
          <p:nvPr>
            <p:custDataLst>
              <p:tags r:id="rId26"/>
            </p:custDataLst>
          </p:nvPr>
        </p:nvSpPr>
        <p:spPr bwMode="auto">
          <a:xfrm>
            <a:off x="6470650" y="4756150"/>
            <a:ext cx="604838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/>
            <a:fld id="{235E20DC-98FC-4894-A818-7A90B7F0A7E8}" type="datetime'''''''Се''л''''''''ьс''ко''''е х''о''''зя''й''с''т''''в''о'''">
              <a:rPr lang="en-US" sz="1000"/>
              <a:pPr algn="ctr"/>
              <a:t>Сельское хозяйство</a:t>
            </a:fld>
            <a:endParaRPr lang="ru-RU" sz="1000"/>
          </a:p>
        </p:txBody>
      </p:sp>
      <p:sp>
        <p:nvSpPr>
          <p:cNvPr id="37824" name="Rectangle 31"/>
          <p:cNvSpPr>
            <a:spLocks noChangeArrowheads="1"/>
          </p:cNvSpPr>
          <p:nvPr>
            <p:custDataLst>
              <p:tags r:id="rId27"/>
            </p:custDataLst>
          </p:nvPr>
        </p:nvSpPr>
        <p:spPr bwMode="gray">
          <a:xfrm>
            <a:off x="6597650" y="4292600"/>
            <a:ext cx="349250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/>
          <a:lstStyle/>
          <a:p>
            <a:pPr algn="ctr"/>
            <a:fld id="{32B9E2D1-0C76-421A-AD1F-112D51D2A959}" type="datetime'''''''''''''2''''.''''''2''''''''87'''''''''''''''''''''">
              <a:rPr lang="en-US"/>
              <a:pPr algn="ctr"/>
              <a:t>2.287</a:t>
            </a:fld>
            <a:endParaRPr lang="ru-RU"/>
          </a:p>
        </p:txBody>
      </p:sp>
      <p:sp>
        <p:nvSpPr>
          <p:cNvPr id="37825" name="Text Placeholder 3"/>
          <p:cNvSpPr txBox="1">
            <a:spLocks/>
          </p:cNvSpPr>
          <p:nvPr>
            <p:custDataLst>
              <p:tags r:id="rId28"/>
            </p:custDataLst>
          </p:nvPr>
        </p:nvSpPr>
        <p:spPr bwMode="auto">
          <a:xfrm>
            <a:off x="5638800" y="4756150"/>
            <a:ext cx="658813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 eaLnBrk="0" hangingPunct="0"/>
            <a:fld id="{A5319B1B-6EA6-40AD-BF6E-8CB20C9D4F94}" type="datetime'''Э''л''ект''''''''ро-''''э''''н''е''''рге''''тика'''''''''''">
              <a:rPr lang="en-US" sz="1000"/>
              <a:pPr algn="ctr" eaLnBrk="0" hangingPunct="0"/>
              <a:t>Электро-энергетика</a:t>
            </a:fld>
            <a:endParaRPr lang="en-US" sz="1000">
              <a:sym typeface="Arial" charset="0"/>
            </a:endParaRPr>
          </a:p>
        </p:txBody>
      </p:sp>
      <p:sp>
        <p:nvSpPr>
          <p:cNvPr id="37826" name="Text Placeholder 4"/>
          <p:cNvSpPr txBox="1">
            <a:spLocks/>
          </p:cNvSpPr>
          <p:nvPr>
            <p:custDataLst>
              <p:tags r:id="rId29"/>
            </p:custDataLst>
          </p:nvPr>
        </p:nvSpPr>
        <p:spPr bwMode="gray">
          <a:xfrm>
            <a:off x="5810250" y="3908425"/>
            <a:ext cx="31432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/>
          <a:lstStyle/>
          <a:p>
            <a:pPr algn="ctr" eaLnBrk="0" hangingPunct="0"/>
            <a:fld id="{50B01DA9-DADF-4E7F-8A5C-1D2EF0AE42C7}" type="datetime'''''''''''''''''''''8''''''''.0''4''''0'''''''">
              <a:rPr lang="en-US" sz="1000"/>
              <a:pPr algn="ctr" eaLnBrk="0" hangingPunct="0"/>
              <a:t>8.040</a:t>
            </a:fld>
            <a:endParaRPr lang="en-US" sz="1000">
              <a:sym typeface="Arial" charset="0"/>
            </a:endParaRPr>
          </a:p>
        </p:txBody>
      </p:sp>
      <p:sp>
        <p:nvSpPr>
          <p:cNvPr id="37827" name="Rectangle 26"/>
          <p:cNvSpPr>
            <a:spLocks noChangeArrowheads="1"/>
          </p:cNvSpPr>
          <p:nvPr>
            <p:custDataLst>
              <p:tags r:id="rId30"/>
            </p:custDataLst>
          </p:nvPr>
        </p:nvSpPr>
        <p:spPr bwMode="auto">
          <a:xfrm>
            <a:off x="4772025" y="4756150"/>
            <a:ext cx="78105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/>
            <a:fld id="{D2344D20-8028-4842-ABD7-8856F6717BC9}" type="datetime'Д''о''''быч''а д''р''''а''гоценных'''' м''''етал''ло''в'''''''">
              <a:rPr lang="en-US" sz="1000"/>
              <a:pPr algn="ctr"/>
              <a:t>Добыча драгоценных металлов</a:t>
            </a:fld>
            <a:endParaRPr lang="ru-RU" sz="1000"/>
          </a:p>
        </p:txBody>
      </p:sp>
      <p:sp>
        <p:nvSpPr>
          <p:cNvPr id="37828" name="Rectangle 25"/>
          <p:cNvSpPr>
            <a:spLocks noChangeArrowheads="1"/>
          </p:cNvSpPr>
          <p:nvPr>
            <p:custDataLst>
              <p:tags r:id="rId31"/>
            </p:custDataLst>
          </p:nvPr>
        </p:nvSpPr>
        <p:spPr bwMode="gray">
          <a:xfrm>
            <a:off x="4949825" y="1958975"/>
            <a:ext cx="427038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/>
          <a:lstStyle/>
          <a:p>
            <a:pPr algn="ctr"/>
            <a:fld id="{A4B4F27C-A0E1-4682-90EB-3FF04294D359}" type="datetime'''''''''''''''3''6''''''.''''4''2''''''0'''''''''''''''''''">
              <a:rPr lang="en-US"/>
              <a:pPr algn="ctr"/>
              <a:t>36.420</a:t>
            </a:fld>
            <a:endParaRPr lang="ru-RU"/>
          </a:p>
        </p:txBody>
      </p:sp>
      <p:sp>
        <p:nvSpPr>
          <p:cNvPr id="37829" name="Line 966"/>
          <p:cNvSpPr>
            <a:spLocks noChangeShapeType="1"/>
          </p:cNvSpPr>
          <p:nvPr/>
        </p:nvSpPr>
        <p:spPr bwMode="auto">
          <a:xfrm flipV="1">
            <a:off x="138113" y="947738"/>
            <a:ext cx="8899525" cy="7937"/>
          </a:xfrm>
          <a:prstGeom prst="line">
            <a:avLst/>
          </a:prstGeom>
          <a:noFill/>
          <a:ln w="9525">
            <a:solidFill>
              <a:srgbClr val="C0C0C0"/>
            </a:solidFill>
            <a:round/>
            <a:headEnd/>
            <a:tailEnd/>
          </a:ln>
          <a:effectLst>
            <a:prstShdw prst="shdw17" dist="17961" dir="2700000">
              <a:srgbClr val="737373"/>
            </a:prstShdw>
          </a:effectLst>
        </p:spPr>
        <p:txBody>
          <a:bodyPr/>
          <a:lstStyle/>
          <a:p>
            <a:endParaRPr lang="ru-RU"/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2896" name="Rectangle 2"/>
          <p:cNvSpPr>
            <a:spLocks noGrp="1" noChangeArrowheads="1"/>
          </p:cNvSpPr>
          <p:nvPr>
            <p:ph type="title" idx="4294967295"/>
            <p:custDataLst>
              <p:tags r:id="rId2"/>
            </p:custDataLst>
          </p:nvPr>
        </p:nvSpPr>
        <p:spPr>
          <a:xfrm>
            <a:off x="468313" y="209550"/>
            <a:ext cx="8280400" cy="847725"/>
          </a:xfrm>
        </p:spPr>
        <p:txBody>
          <a:bodyPr lIns="91440" tIns="45720" rIns="91440" bIns="45720"/>
          <a:lstStyle/>
          <a:p>
            <a:pPr eaLnBrk="1" hangingPunct="1"/>
            <a:r>
              <a:rPr lang="ru-RU" smtClean="0"/>
              <a:t>Стратегическое развитие Чукотского АО определяется освоением месторождений полезных ископаемых, сконцентрированных в двух промышленных зонах (территориях) опережающего развития</a:t>
            </a:r>
          </a:p>
        </p:txBody>
      </p:sp>
      <p:sp>
        <p:nvSpPr>
          <p:cNvPr id="332897" name="Text Box 3"/>
          <p:cNvSpPr txBox="1">
            <a:spLocks noChangeAspect="1" noChangeArrowheads="1"/>
          </p:cNvSpPr>
          <p:nvPr>
            <p:custDataLst>
              <p:tags r:id="rId3"/>
            </p:custDataLst>
          </p:nvPr>
        </p:nvSpPr>
        <p:spPr bwMode="auto">
          <a:xfrm>
            <a:off x="4081463" y="3457575"/>
            <a:ext cx="893762" cy="123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/>
            <a:r>
              <a:rPr lang="ru-RU" sz="800" i="1"/>
              <a:t>Анадырский район</a:t>
            </a:r>
          </a:p>
        </p:txBody>
      </p:sp>
      <p:sp>
        <p:nvSpPr>
          <p:cNvPr id="332898" name="Text Box 4"/>
          <p:cNvSpPr txBox="1">
            <a:spLocks noChangeAspect="1" noChangeArrowheads="1"/>
          </p:cNvSpPr>
          <p:nvPr>
            <p:custDataLst>
              <p:tags r:id="rId4"/>
            </p:custDataLst>
          </p:nvPr>
        </p:nvSpPr>
        <p:spPr bwMode="auto">
          <a:xfrm>
            <a:off x="4932363" y="2212975"/>
            <a:ext cx="995362" cy="120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/>
            <a:r>
              <a:rPr lang="ru-RU" sz="800" i="1"/>
              <a:t>Шмидтовский район</a:t>
            </a:r>
          </a:p>
        </p:txBody>
      </p:sp>
      <p:sp>
        <p:nvSpPr>
          <p:cNvPr id="332899" name="Text Box 5"/>
          <p:cNvSpPr txBox="1">
            <a:spLocks noChangeAspect="1" noChangeArrowheads="1"/>
          </p:cNvSpPr>
          <p:nvPr>
            <p:custDataLst>
              <p:tags r:id="rId5"/>
            </p:custDataLst>
          </p:nvPr>
        </p:nvSpPr>
        <p:spPr bwMode="auto">
          <a:xfrm>
            <a:off x="1951038" y="2781300"/>
            <a:ext cx="933450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/>
            <a:r>
              <a:rPr lang="ru-RU" sz="800" i="1"/>
              <a:t>Билибинский район</a:t>
            </a:r>
          </a:p>
        </p:txBody>
      </p:sp>
      <p:sp>
        <p:nvSpPr>
          <p:cNvPr id="332900" name="Line 6"/>
          <p:cNvSpPr>
            <a:spLocks noChangeAspect="1" noChangeShapeType="1"/>
          </p:cNvSpPr>
          <p:nvPr>
            <p:custDataLst>
              <p:tags r:id="rId6"/>
            </p:custDataLst>
          </p:nvPr>
        </p:nvSpPr>
        <p:spPr bwMode="auto">
          <a:xfrm>
            <a:off x="5624513" y="3141663"/>
            <a:ext cx="431800" cy="0"/>
          </a:xfrm>
          <a:prstGeom prst="line">
            <a:avLst/>
          </a:prstGeom>
          <a:noFill/>
          <a:ln w="28575">
            <a:solidFill>
              <a:srgbClr val="990099"/>
            </a:solidFill>
            <a:prstDash val="sysDot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grpSp>
        <p:nvGrpSpPr>
          <p:cNvPr id="332901" name="Group 7"/>
          <p:cNvGrpSpPr>
            <a:grpSpLocks/>
          </p:cNvGrpSpPr>
          <p:nvPr>
            <p:custDataLst>
              <p:tags r:id="rId7"/>
            </p:custDataLst>
          </p:nvPr>
        </p:nvGrpSpPr>
        <p:grpSpPr bwMode="auto">
          <a:xfrm>
            <a:off x="5624513" y="4221163"/>
            <a:ext cx="576262" cy="504825"/>
            <a:chOff x="3584" y="2702"/>
            <a:chExt cx="385" cy="320"/>
          </a:xfrm>
        </p:grpSpPr>
        <p:sp>
          <p:nvSpPr>
            <p:cNvPr id="333025" name="Freeform 8"/>
            <p:cNvSpPr>
              <a:spLocks/>
            </p:cNvSpPr>
            <p:nvPr/>
          </p:nvSpPr>
          <p:spPr bwMode="auto">
            <a:xfrm rot="-1236295">
              <a:off x="3584" y="2702"/>
              <a:ext cx="64" cy="277"/>
            </a:xfrm>
            <a:custGeom>
              <a:avLst/>
              <a:gdLst>
                <a:gd name="T0" fmla="*/ 417 w 54"/>
                <a:gd name="T1" fmla="*/ 0 h 363"/>
                <a:gd name="T2" fmla="*/ 60 w 54"/>
                <a:gd name="T3" fmla="*/ 8 h 363"/>
                <a:gd name="T4" fmla="*/ 60 w 54"/>
                <a:gd name="T5" fmla="*/ 14 h 363"/>
                <a:gd name="T6" fmla="*/ 0 60000 65536"/>
                <a:gd name="T7" fmla="*/ 0 60000 65536"/>
                <a:gd name="T8" fmla="*/ 0 60000 65536"/>
                <a:gd name="T9" fmla="*/ 0 w 54"/>
                <a:gd name="T10" fmla="*/ 0 h 363"/>
                <a:gd name="T11" fmla="*/ 54 w 54"/>
                <a:gd name="T12" fmla="*/ 363 h 36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4" h="363">
                  <a:moveTo>
                    <a:pt x="54" y="0"/>
                  </a:moveTo>
                  <a:cubicBezTo>
                    <a:pt x="35" y="83"/>
                    <a:pt x="16" y="167"/>
                    <a:pt x="8" y="227"/>
                  </a:cubicBezTo>
                  <a:cubicBezTo>
                    <a:pt x="0" y="287"/>
                    <a:pt x="4" y="325"/>
                    <a:pt x="8" y="363"/>
                  </a:cubicBezTo>
                </a:path>
              </a:pathLst>
            </a:custGeom>
            <a:noFill/>
            <a:ln w="28575">
              <a:solidFill>
                <a:srgbClr val="990099"/>
              </a:solidFill>
              <a:prstDash val="sysDot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333026" name="Line 9"/>
            <p:cNvSpPr>
              <a:spLocks noChangeShapeType="1"/>
            </p:cNvSpPr>
            <p:nvPr/>
          </p:nvSpPr>
          <p:spPr bwMode="auto">
            <a:xfrm flipH="1" flipV="1">
              <a:off x="3651" y="2976"/>
              <a:ext cx="318" cy="46"/>
            </a:xfrm>
            <a:prstGeom prst="line">
              <a:avLst/>
            </a:prstGeom>
            <a:noFill/>
            <a:ln w="28575">
              <a:solidFill>
                <a:srgbClr val="990099"/>
              </a:solidFill>
              <a:prstDash val="sysDot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</p:grpSp>
      <p:sp>
        <p:nvSpPr>
          <p:cNvPr id="332902" name="Freeform 10"/>
          <p:cNvSpPr>
            <a:spLocks noChangeAspect="1"/>
          </p:cNvSpPr>
          <p:nvPr>
            <p:custDataLst>
              <p:tags r:id="rId8"/>
            </p:custDataLst>
          </p:nvPr>
        </p:nvSpPr>
        <p:spPr bwMode="auto">
          <a:xfrm>
            <a:off x="3479800" y="1455738"/>
            <a:ext cx="1293813" cy="1522412"/>
          </a:xfrm>
          <a:custGeom>
            <a:avLst/>
            <a:gdLst>
              <a:gd name="T0" fmla="*/ 2147483647 w 815"/>
              <a:gd name="T1" fmla="*/ 2147483647 h 953"/>
              <a:gd name="T2" fmla="*/ 2147483647 w 815"/>
              <a:gd name="T3" fmla="*/ 2147483647 h 953"/>
              <a:gd name="T4" fmla="*/ 2147483647 w 815"/>
              <a:gd name="T5" fmla="*/ 2147483647 h 953"/>
              <a:gd name="T6" fmla="*/ 2147483647 w 815"/>
              <a:gd name="T7" fmla="*/ 2147483647 h 953"/>
              <a:gd name="T8" fmla="*/ 2147483647 w 815"/>
              <a:gd name="T9" fmla="*/ 2147483647 h 953"/>
              <a:gd name="T10" fmla="*/ 2147483647 w 815"/>
              <a:gd name="T11" fmla="*/ 2147483647 h 953"/>
              <a:gd name="T12" fmla="*/ 2147483647 w 815"/>
              <a:gd name="T13" fmla="*/ 2147483647 h 953"/>
              <a:gd name="T14" fmla="*/ 2147483647 w 815"/>
              <a:gd name="T15" fmla="*/ 2147483647 h 953"/>
              <a:gd name="T16" fmla="*/ 2147483647 w 815"/>
              <a:gd name="T17" fmla="*/ 2147483647 h 953"/>
              <a:gd name="T18" fmla="*/ 2147483647 w 815"/>
              <a:gd name="T19" fmla="*/ 2147483647 h 953"/>
              <a:gd name="T20" fmla="*/ 2147483647 w 815"/>
              <a:gd name="T21" fmla="*/ 2147483647 h 953"/>
              <a:gd name="T22" fmla="*/ 2147483647 w 815"/>
              <a:gd name="T23" fmla="*/ 2147483647 h 953"/>
              <a:gd name="T24" fmla="*/ 2147483647 w 815"/>
              <a:gd name="T25" fmla="*/ 2147483647 h 953"/>
              <a:gd name="T26" fmla="*/ 2147483647 w 815"/>
              <a:gd name="T27" fmla="*/ 2147483647 h 953"/>
              <a:gd name="T28" fmla="*/ 2147483647 w 815"/>
              <a:gd name="T29" fmla="*/ 2147483647 h 953"/>
              <a:gd name="T30" fmla="*/ 2147483647 w 815"/>
              <a:gd name="T31" fmla="*/ 2147483647 h 953"/>
              <a:gd name="T32" fmla="*/ 2147483647 w 815"/>
              <a:gd name="T33" fmla="*/ 2147483647 h 953"/>
              <a:gd name="T34" fmla="*/ 2147483647 w 815"/>
              <a:gd name="T35" fmla="*/ 2147483647 h 953"/>
              <a:gd name="T36" fmla="*/ 2147483647 w 815"/>
              <a:gd name="T37" fmla="*/ 2147483647 h 953"/>
              <a:gd name="T38" fmla="*/ 2147483647 w 815"/>
              <a:gd name="T39" fmla="*/ 2147483647 h 953"/>
              <a:gd name="T40" fmla="*/ 2147483647 w 815"/>
              <a:gd name="T41" fmla="*/ 2147483647 h 953"/>
              <a:gd name="T42" fmla="*/ 2147483647 w 815"/>
              <a:gd name="T43" fmla="*/ 2147483647 h 953"/>
              <a:gd name="T44" fmla="*/ 2147483647 w 815"/>
              <a:gd name="T45" fmla="*/ 2147483647 h 953"/>
              <a:gd name="T46" fmla="*/ 2147483647 w 815"/>
              <a:gd name="T47" fmla="*/ 2147483647 h 953"/>
              <a:gd name="T48" fmla="*/ 2147483647 w 815"/>
              <a:gd name="T49" fmla="*/ 2147483647 h 953"/>
              <a:gd name="T50" fmla="*/ 2147483647 w 815"/>
              <a:gd name="T51" fmla="*/ 2147483647 h 953"/>
              <a:gd name="T52" fmla="*/ 2147483647 w 815"/>
              <a:gd name="T53" fmla="*/ 2147483647 h 953"/>
              <a:gd name="T54" fmla="*/ 2147483647 w 815"/>
              <a:gd name="T55" fmla="*/ 2147483647 h 953"/>
              <a:gd name="T56" fmla="*/ 2147483647 w 815"/>
              <a:gd name="T57" fmla="*/ 2147483647 h 953"/>
              <a:gd name="T58" fmla="*/ 2147483647 w 815"/>
              <a:gd name="T59" fmla="*/ 2147483647 h 953"/>
              <a:gd name="T60" fmla="*/ 2147483647 w 815"/>
              <a:gd name="T61" fmla="*/ 2147483647 h 953"/>
              <a:gd name="T62" fmla="*/ 2147483647 w 815"/>
              <a:gd name="T63" fmla="*/ 2147483647 h 953"/>
              <a:gd name="T64" fmla="*/ 2147483647 w 815"/>
              <a:gd name="T65" fmla="*/ 2147483647 h 953"/>
              <a:gd name="T66" fmla="*/ 2147483647 w 815"/>
              <a:gd name="T67" fmla="*/ 2147483647 h 953"/>
              <a:gd name="T68" fmla="*/ 2147483647 w 815"/>
              <a:gd name="T69" fmla="*/ 2147483647 h 953"/>
              <a:gd name="T70" fmla="*/ 2147483647 w 815"/>
              <a:gd name="T71" fmla="*/ 2147483647 h 953"/>
              <a:gd name="T72" fmla="*/ 2147483647 w 815"/>
              <a:gd name="T73" fmla="*/ 2147483647 h 953"/>
              <a:gd name="T74" fmla="*/ 2147483647 w 815"/>
              <a:gd name="T75" fmla="*/ 2147483647 h 953"/>
              <a:gd name="T76" fmla="*/ 2147483647 w 815"/>
              <a:gd name="T77" fmla="*/ 2147483647 h 953"/>
              <a:gd name="T78" fmla="*/ 2147483647 w 815"/>
              <a:gd name="T79" fmla="*/ 2147483647 h 953"/>
              <a:gd name="T80" fmla="*/ 2147483647 w 815"/>
              <a:gd name="T81" fmla="*/ 2147483647 h 953"/>
              <a:gd name="T82" fmla="*/ 2147483647 w 815"/>
              <a:gd name="T83" fmla="*/ 2147483647 h 953"/>
              <a:gd name="T84" fmla="*/ 2147483647 w 815"/>
              <a:gd name="T85" fmla="*/ 2147483647 h 953"/>
              <a:gd name="T86" fmla="*/ 2147483647 w 815"/>
              <a:gd name="T87" fmla="*/ 2147483647 h 953"/>
              <a:gd name="T88" fmla="*/ 2147483647 w 815"/>
              <a:gd name="T89" fmla="*/ 2147483647 h 953"/>
              <a:gd name="T90" fmla="*/ 2147483647 w 815"/>
              <a:gd name="T91" fmla="*/ 2147483647 h 953"/>
              <a:gd name="T92" fmla="*/ 2147483647 w 815"/>
              <a:gd name="T93" fmla="*/ 2147483647 h 953"/>
              <a:gd name="T94" fmla="*/ 2147483647 w 815"/>
              <a:gd name="T95" fmla="*/ 2147483647 h 953"/>
              <a:gd name="T96" fmla="*/ 2147483647 w 815"/>
              <a:gd name="T97" fmla="*/ 2147483647 h 953"/>
              <a:gd name="T98" fmla="*/ 2147483647 w 815"/>
              <a:gd name="T99" fmla="*/ 2147483647 h 953"/>
              <a:gd name="T100" fmla="*/ 2147483647 w 815"/>
              <a:gd name="T101" fmla="*/ 2147483647 h 953"/>
              <a:gd name="T102" fmla="*/ 2147483647 w 815"/>
              <a:gd name="T103" fmla="*/ 2147483647 h 953"/>
              <a:gd name="T104" fmla="*/ 2147483647 w 815"/>
              <a:gd name="T105" fmla="*/ 2147483647 h 953"/>
              <a:gd name="T106" fmla="*/ 2147483647 w 815"/>
              <a:gd name="T107" fmla="*/ 2147483647 h 953"/>
              <a:gd name="T108" fmla="*/ 2147483647 w 815"/>
              <a:gd name="T109" fmla="*/ 2147483647 h 953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815"/>
              <a:gd name="T166" fmla="*/ 0 h 953"/>
              <a:gd name="T167" fmla="*/ 815 w 815"/>
              <a:gd name="T168" fmla="*/ 953 h 953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815" h="953">
                <a:moveTo>
                  <a:pt x="20" y="197"/>
                </a:moveTo>
                <a:lnTo>
                  <a:pt x="31" y="185"/>
                </a:lnTo>
                <a:lnTo>
                  <a:pt x="42" y="172"/>
                </a:lnTo>
                <a:lnTo>
                  <a:pt x="52" y="158"/>
                </a:lnTo>
                <a:lnTo>
                  <a:pt x="64" y="143"/>
                </a:lnTo>
                <a:lnTo>
                  <a:pt x="66" y="138"/>
                </a:lnTo>
                <a:lnTo>
                  <a:pt x="69" y="133"/>
                </a:lnTo>
                <a:lnTo>
                  <a:pt x="73" y="131"/>
                </a:lnTo>
                <a:lnTo>
                  <a:pt x="76" y="129"/>
                </a:lnTo>
                <a:lnTo>
                  <a:pt x="79" y="129"/>
                </a:lnTo>
                <a:lnTo>
                  <a:pt x="83" y="129"/>
                </a:lnTo>
                <a:lnTo>
                  <a:pt x="86" y="131"/>
                </a:lnTo>
                <a:lnTo>
                  <a:pt x="91" y="135"/>
                </a:lnTo>
                <a:lnTo>
                  <a:pt x="98" y="141"/>
                </a:lnTo>
                <a:lnTo>
                  <a:pt x="105" y="148"/>
                </a:lnTo>
                <a:lnTo>
                  <a:pt x="111" y="150"/>
                </a:lnTo>
                <a:lnTo>
                  <a:pt x="118" y="151"/>
                </a:lnTo>
                <a:lnTo>
                  <a:pt x="118" y="155"/>
                </a:lnTo>
                <a:lnTo>
                  <a:pt x="118" y="160"/>
                </a:lnTo>
                <a:lnTo>
                  <a:pt x="110" y="163"/>
                </a:lnTo>
                <a:lnTo>
                  <a:pt x="101" y="167"/>
                </a:lnTo>
                <a:lnTo>
                  <a:pt x="115" y="178"/>
                </a:lnTo>
                <a:lnTo>
                  <a:pt x="128" y="192"/>
                </a:lnTo>
                <a:lnTo>
                  <a:pt x="133" y="193"/>
                </a:lnTo>
                <a:lnTo>
                  <a:pt x="138" y="197"/>
                </a:lnTo>
                <a:lnTo>
                  <a:pt x="140" y="200"/>
                </a:lnTo>
                <a:lnTo>
                  <a:pt x="142" y="205"/>
                </a:lnTo>
                <a:lnTo>
                  <a:pt x="142" y="210"/>
                </a:lnTo>
                <a:lnTo>
                  <a:pt x="142" y="217"/>
                </a:lnTo>
                <a:lnTo>
                  <a:pt x="142" y="234"/>
                </a:lnTo>
                <a:lnTo>
                  <a:pt x="142" y="252"/>
                </a:lnTo>
                <a:lnTo>
                  <a:pt x="142" y="269"/>
                </a:lnTo>
                <a:lnTo>
                  <a:pt x="142" y="288"/>
                </a:lnTo>
                <a:lnTo>
                  <a:pt x="142" y="293"/>
                </a:lnTo>
                <a:lnTo>
                  <a:pt x="142" y="296"/>
                </a:lnTo>
                <a:lnTo>
                  <a:pt x="145" y="301"/>
                </a:lnTo>
                <a:lnTo>
                  <a:pt x="148" y="303"/>
                </a:lnTo>
                <a:lnTo>
                  <a:pt x="152" y="305"/>
                </a:lnTo>
                <a:lnTo>
                  <a:pt x="157" y="306"/>
                </a:lnTo>
                <a:lnTo>
                  <a:pt x="164" y="306"/>
                </a:lnTo>
                <a:lnTo>
                  <a:pt x="170" y="305"/>
                </a:lnTo>
                <a:lnTo>
                  <a:pt x="187" y="306"/>
                </a:lnTo>
                <a:lnTo>
                  <a:pt x="202" y="310"/>
                </a:lnTo>
                <a:lnTo>
                  <a:pt x="209" y="313"/>
                </a:lnTo>
                <a:lnTo>
                  <a:pt x="216" y="316"/>
                </a:lnTo>
                <a:lnTo>
                  <a:pt x="221" y="320"/>
                </a:lnTo>
                <a:lnTo>
                  <a:pt x="228" y="327"/>
                </a:lnTo>
                <a:lnTo>
                  <a:pt x="233" y="335"/>
                </a:lnTo>
                <a:lnTo>
                  <a:pt x="238" y="340"/>
                </a:lnTo>
                <a:lnTo>
                  <a:pt x="244" y="342"/>
                </a:lnTo>
                <a:lnTo>
                  <a:pt x="251" y="342"/>
                </a:lnTo>
                <a:lnTo>
                  <a:pt x="258" y="340"/>
                </a:lnTo>
                <a:lnTo>
                  <a:pt x="263" y="342"/>
                </a:lnTo>
                <a:lnTo>
                  <a:pt x="268" y="342"/>
                </a:lnTo>
                <a:lnTo>
                  <a:pt x="271" y="345"/>
                </a:lnTo>
                <a:lnTo>
                  <a:pt x="273" y="348"/>
                </a:lnTo>
                <a:lnTo>
                  <a:pt x="275" y="355"/>
                </a:lnTo>
                <a:lnTo>
                  <a:pt x="276" y="360"/>
                </a:lnTo>
                <a:lnTo>
                  <a:pt x="276" y="369"/>
                </a:lnTo>
                <a:lnTo>
                  <a:pt x="275" y="391"/>
                </a:lnTo>
                <a:lnTo>
                  <a:pt x="276" y="409"/>
                </a:lnTo>
                <a:lnTo>
                  <a:pt x="278" y="416"/>
                </a:lnTo>
                <a:lnTo>
                  <a:pt x="281" y="423"/>
                </a:lnTo>
                <a:lnTo>
                  <a:pt x="285" y="426"/>
                </a:lnTo>
                <a:lnTo>
                  <a:pt x="290" y="428"/>
                </a:lnTo>
                <a:lnTo>
                  <a:pt x="295" y="433"/>
                </a:lnTo>
                <a:lnTo>
                  <a:pt x="300" y="436"/>
                </a:lnTo>
                <a:lnTo>
                  <a:pt x="305" y="439"/>
                </a:lnTo>
                <a:lnTo>
                  <a:pt x="312" y="441"/>
                </a:lnTo>
                <a:lnTo>
                  <a:pt x="323" y="441"/>
                </a:lnTo>
                <a:lnTo>
                  <a:pt x="339" y="439"/>
                </a:lnTo>
                <a:lnTo>
                  <a:pt x="352" y="434"/>
                </a:lnTo>
                <a:lnTo>
                  <a:pt x="366" y="428"/>
                </a:lnTo>
                <a:lnTo>
                  <a:pt x="379" y="421"/>
                </a:lnTo>
                <a:lnTo>
                  <a:pt x="389" y="414"/>
                </a:lnTo>
                <a:lnTo>
                  <a:pt x="401" y="407"/>
                </a:lnTo>
                <a:lnTo>
                  <a:pt x="409" y="399"/>
                </a:lnTo>
                <a:lnTo>
                  <a:pt x="418" y="391"/>
                </a:lnTo>
                <a:lnTo>
                  <a:pt x="426" y="380"/>
                </a:lnTo>
                <a:lnTo>
                  <a:pt x="443" y="360"/>
                </a:lnTo>
                <a:lnTo>
                  <a:pt x="460" y="342"/>
                </a:lnTo>
                <a:lnTo>
                  <a:pt x="460" y="333"/>
                </a:lnTo>
                <a:lnTo>
                  <a:pt x="460" y="325"/>
                </a:lnTo>
                <a:lnTo>
                  <a:pt x="458" y="320"/>
                </a:lnTo>
                <a:lnTo>
                  <a:pt x="456" y="315"/>
                </a:lnTo>
                <a:lnTo>
                  <a:pt x="450" y="308"/>
                </a:lnTo>
                <a:lnTo>
                  <a:pt x="443" y="303"/>
                </a:lnTo>
                <a:lnTo>
                  <a:pt x="445" y="298"/>
                </a:lnTo>
                <a:lnTo>
                  <a:pt x="446" y="293"/>
                </a:lnTo>
                <a:lnTo>
                  <a:pt x="446" y="286"/>
                </a:lnTo>
                <a:lnTo>
                  <a:pt x="445" y="279"/>
                </a:lnTo>
                <a:lnTo>
                  <a:pt x="441" y="263"/>
                </a:lnTo>
                <a:lnTo>
                  <a:pt x="433" y="241"/>
                </a:lnTo>
                <a:lnTo>
                  <a:pt x="428" y="241"/>
                </a:lnTo>
                <a:lnTo>
                  <a:pt x="421" y="241"/>
                </a:lnTo>
                <a:lnTo>
                  <a:pt x="423" y="229"/>
                </a:lnTo>
                <a:lnTo>
                  <a:pt x="423" y="217"/>
                </a:lnTo>
                <a:lnTo>
                  <a:pt x="418" y="214"/>
                </a:lnTo>
                <a:lnTo>
                  <a:pt x="411" y="209"/>
                </a:lnTo>
                <a:lnTo>
                  <a:pt x="409" y="197"/>
                </a:lnTo>
                <a:lnTo>
                  <a:pt x="406" y="185"/>
                </a:lnTo>
                <a:lnTo>
                  <a:pt x="403" y="177"/>
                </a:lnTo>
                <a:lnTo>
                  <a:pt x="398" y="170"/>
                </a:lnTo>
                <a:lnTo>
                  <a:pt x="387" y="168"/>
                </a:lnTo>
                <a:lnTo>
                  <a:pt x="377" y="170"/>
                </a:lnTo>
                <a:lnTo>
                  <a:pt x="369" y="173"/>
                </a:lnTo>
                <a:lnTo>
                  <a:pt x="359" y="180"/>
                </a:lnTo>
                <a:lnTo>
                  <a:pt x="350" y="173"/>
                </a:lnTo>
                <a:lnTo>
                  <a:pt x="345" y="167"/>
                </a:lnTo>
                <a:lnTo>
                  <a:pt x="344" y="156"/>
                </a:lnTo>
                <a:lnTo>
                  <a:pt x="345" y="146"/>
                </a:lnTo>
                <a:lnTo>
                  <a:pt x="335" y="135"/>
                </a:lnTo>
                <a:lnTo>
                  <a:pt x="330" y="126"/>
                </a:lnTo>
                <a:lnTo>
                  <a:pt x="325" y="118"/>
                </a:lnTo>
                <a:lnTo>
                  <a:pt x="325" y="113"/>
                </a:lnTo>
                <a:lnTo>
                  <a:pt x="327" y="109"/>
                </a:lnTo>
                <a:lnTo>
                  <a:pt x="332" y="109"/>
                </a:lnTo>
                <a:lnTo>
                  <a:pt x="339" y="111"/>
                </a:lnTo>
                <a:lnTo>
                  <a:pt x="349" y="114"/>
                </a:lnTo>
                <a:lnTo>
                  <a:pt x="364" y="123"/>
                </a:lnTo>
                <a:lnTo>
                  <a:pt x="379" y="131"/>
                </a:lnTo>
                <a:lnTo>
                  <a:pt x="389" y="131"/>
                </a:lnTo>
                <a:lnTo>
                  <a:pt x="398" y="128"/>
                </a:lnTo>
                <a:lnTo>
                  <a:pt x="401" y="124"/>
                </a:lnTo>
                <a:lnTo>
                  <a:pt x="403" y="119"/>
                </a:lnTo>
                <a:lnTo>
                  <a:pt x="401" y="106"/>
                </a:lnTo>
                <a:lnTo>
                  <a:pt x="394" y="91"/>
                </a:lnTo>
                <a:lnTo>
                  <a:pt x="392" y="76"/>
                </a:lnTo>
                <a:lnTo>
                  <a:pt x="392" y="60"/>
                </a:lnTo>
                <a:lnTo>
                  <a:pt x="392" y="45"/>
                </a:lnTo>
                <a:lnTo>
                  <a:pt x="391" y="30"/>
                </a:lnTo>
                <a:lnTo>
                  <a:pt x="391" y="25"/>
                </a:lnTo>
                <a:lnTo>
                  <a:pt x="389" y="20"/>
                </a:lnTo>
                <a:lnTo>
                  <a:pt x="387" y="18"/>
                </a:lnTo>
                <a:lnTo>
                  <a:pt x="386" y="15"/>
                </a:lnTo>
                <a:lnTo>
                  <a:pt x="379" y="13"/>
                </a:lnTo>
                <a:lnTo>
                  <a:pt x="371" y="13"/>
                </a:lnTo>
                <a:lnTo>
                  <a:pt x="374" y="7"/>
                </a:lnTo>
                <a:lnTo>
                  <a:pt x="376" y="3"/>
                </a:lnTo>
                <a:lnTo>
                  <a:pt x="381" y="2"/>
                </a:lnTo>
                <a:lnTo>
                  <a:pt x="384" y="0"/>
                </a:lnTo>
                <a:lnTo>
                  <a:pt x="389" y="2"/>
                </a:lnTo>
                <a:lnTo>
                  <a:pt x="396" y="5"/>
                </a:lnTo>
                <a:lnTo>
                  <a:pt x="403" y="8"/>
                </a:lnTo>
                <a:lnTo>
                  <a:pt x="409" y="15"/>
                </a:lnTo>
                <a:lnTo>
                  <a:pt x="424" y="12"/>
                </a:lnTo>
                <a:lnTo>
                  <a:pt x="438" y="13"/>
                </a:lnTo>
                <a:lnTo>
                  <a:pt x="448" y="15"/>
                </a:lnTo>
                <a:lnTo>
                  <a:pt x="456" y="20"/>
                </a:lnTo>
                <a:lnTo>
                  <a:pt x="470" y="18"/>
                </a:lnTo>
                <a:lnTo>
                  <a:pt x="485" y="18"/>
                </a:lnTo>
                <a:lnTo>
                  <a:pt x="493" y="20"/>
                </a:lnTo>
                <a:lnTo>
                  <a:pt x="502" y="22"/>
                </a:lnTo>
                <a:lnTo>
                  <a:pt x="510" y="25"/>
                </a:lnTo>
                <a:lnTo>
                  <a:pt x="520" y="30"/>
                </a:lnTo>
                <a:lnTo>
                  <a:pt x="541" y="30"/>
                </a:lnTo>
                <a:lnTo>
                  <a:pt x="557" y="30"/>
                </a:lnTo>
                <a:lnTo>
                  <a:pt x="566" y="30"/>
                </a:lnTo>
                <a:lnTo>
                  <a:pt x="573" y="32"/>
                </a:lnTo>
                <a:lnTo>
                  <a:pt x="578" y="35"/>
                </a:lnTo>
                <a:lnTo>
                  <a:pt x="583" y="39"/>
                </a:lnTo>
                <a:lnTo>
                  <a:pt x="598" y="40"/>
                </a:lnTo>
                <a:lnTo>
                  <a:pt x="611" y="40"/>
                </a:lnTo>
                <a:lnTo>
                  <a:pt x="616" y="40"/>
                </a:lnTo>
                <a:lnTo>
                  <a:pt x="623" y="39"/>
                </a:lnTo>
                <a:lnTo>
                  <a:pt x="628" y="35"/>
                </a:lnTo>
                <a:lnTo>
                  <a:pt x="633" y="32"/>
                </a:lnTo>
                <a:lnTo>
                  <a:pt x="637" y="42"/>
                </a:lnTo>
                <a:lnTo>
                  <a:pt x="640" y="52"/>
                </a:lnTo>
                <a:lnTo>
                  <a:pt x="648" y="59"/>
                </a:lnTo>
                <a:lnTo>
                  <a:pt x="658" y="64"/>
                </a:lnTo>
                <a:lnTo>
                  <a:pt x="670" y="69"/>
                </a:lnTo>
                <a:lnTo>
                  <a:pt x="684" y="72"/>
                </a:lnTo>
                <a:lnTo>
                  <a:pt x="694" y="81"/>
                </a:lnTo>
                <a:lnTo>
                  <a:pt x="702" y="86"/>
                </a:lnTo>
                <a:lnTo>
                  <a:pt x="711" y="98"/>
                </a:lnTo>
                <a:lnTo>
                  <a:pt x="717" y="108"/>
                </a:lnTo>
                <a:lnTo>
                  <a:pt x="722" y="118"/>
                </a:lnTo>
                <a:lnTo>
                  <a:pt x="724" y="128"/>
                </a:lnTo>
                <a:lnTo>
                  <a:pt x="726" y="136"/>
                </a:lnTo>
                <a:lnTo>
                  <a:pt x="726" y="143"/>
                </a:lnTo>
                <a:lnTo>
                  <a:pt x="724" y="150"/>
                </a:lnTo>
                <a:lnTo>
                  <a:pt x="719" y="155"/>
                </a:lnTo>
                <a:lnTo>
                  <a:pt x="732" y="165"/>
                </a:lnTo>
                <a:lnTo>
                  <a:pt x="743" y="175"/>
                </a:lnTo>
                <a:lnTo>
                  <a:pt x="749" y="182"/>
                </a:lnTo>
                <a:lnTo>
                  <a:pt x="753" y="187"/>
                </a:lnTo>
                <a:lnTo>
                  <a:pt x="756" y="195"/>
                </a:lnTo>
                <a:lnTo>
                  <a:pt x="759" y="204"/>
                </a:lnTo>
                <a:lnTo>
                  <a:pt x="764" y="210"/>
                </a:lnTo>
                <a:lnTo>
                  <a:pt x="770" y="217"/>
                </a:lnTo>
                <a:lnTo>
                  <a:pt x="773" y="220"/>
                </a:lnTo>
                <a:lnTo>
                  <a:pt x="778" y="220"/>
                </a:lnTo>
                <a:lnTo>
                  <a:pt x="785" y="220"/>
                </a:lnTo>
                <a:lnTo>
                  <a:pt x="791" y="219"/>
                </a:lnTo>
                <a:lnTo>
                  <a:pt x="795" y="247"/>
                </a:lnTo>
                <a:lnTo>
                  <a:pt x="798" y="278"/>
                </a:lnTo>
                <a:lnTo>
                  <a:pt x="802" y="306"/>
                </a:lnTo>
                <a:lnTo>
                  <a:pt x="807" y="337"/>
                </a:lnTo>
                <a:lnTo>
                  <a:pt x="798" y="350"/>
                </a:lnTo>
                <a:lnTo>
                  <a:pt x="793" y="364"/>
                </a:lnTo>
                <a:lnTo>
                  <a:pt x="790" y="374"/>
                </a:lnTo>
                <a:lnTo>
                  <a:pt x="790" y="384"/>
                </a:lnTo>
                <a:lnTo>
                  <a:pt x="800" y="385"/>
                </a:lnTo>
                <a:lnTo>
                  <a:pt x="810" y="387"/>
                </a:lnTo>
                <a:lnTo>
                  <a:pt x="805" y="409"/>
                </a:lnTo>
                <a:lnTo>
                  <a:pt x="800" y="433"/>
                </a:lnTo>
                <a:lnTo>
                  <a:pt x="807" y="455"/>
                </a:lnTo>
                <a:lnTo>
                  <a:pt x="815" y="476"/>
                </a:lnTo>
                <a:lnTo>
                  <a:pt x="808" y="493"/>
                </a:lnTo>
                <a:lnTo>
                  <a:pt x="802" y="510"/>
                </a:lnTo>
                <a:lnTo>
                  <a:pt x="807" y="519"/>
                </a:lnTo>
                <a:lnTo>
                  <a:pt x="812" y="529"/>
                </a:lnTo>
                <a:lnTo>
                  <a:pt x="812" y="535"/>
                </a:lnTo>
                <a:lnTo>
                  <a:pt x="812" y="540"/>
                </a:lnTo>
                <a:lnTo>
                  <a:pt x="807" y="542"/>
                </a:lnTo>
                <a:lnTo>
                  <a:pt x="803" y="544"/>
                </a:lnTo>
                <a:lnTo>
                  <a:pt x="802" y="554"/>
                </a:lnTo>
                <a:lnTo>
                  <a:pt x="800" y="564"/>
                </a:lnTo>
                <a:lnTo>
                  <a:pt x="796" y="574"/>
                </a:lnTo>
                <a:lnTo>
                  <a:pt x="795" y="584"/>
                </a:lnTo>
                <a:lnTo>
                  <a:pt x="791" y="593"/>
                </a:lnTo>
                <a:lnTo>
                  <a:pt x="788" y="598"/>
                </a:lnTo>
                <a:lnTo>
                  <a:pt x="783" y="603"/>
                </a:lnTo>
                <a:lnTo>
                  <a:pt x="778" y="606"/>
                </a:lnTo>
                <a:lnTo>
                  <a:pt x="773" y="608"/>
                </a:lnTo>
                <a:lnTo>
                  <a:pt x="768" y="608"/>
                </a:lnTo>
                <a:lnTo>
                  <a:pt x="761" y="606"/>
                </a:lnTo>
                <a:lnTo>
                  <a:pt x="756" y="608"/>
                </a:lnTo>
                <a:lnTo>
                  <a:pt x="753" y="613"/>
                </a:lnTo>
                <a:lnTo>
                  <a:pt x="749" y="618"/>
                </a:lnTo>
                <a:lnTo>
                  <a:pt x="748" y="626"/>
                </a:lnTo>
                <a:lnTo>
                  <a:pt x="748" y="636"/>
                </a:lnTo>
                <a:lnTo>
                  <a:pt x="748" y="650"/>
                </a:lnTo>
                <a:lnTo>
                  <a:pt x="751" y="665"/>
                </a:lnTo>
                <a:lnTo>
                  <a:pt x="754" y="672"/>
                </a:lnTo>
                <a:lnTo>
                  <a:pt x="756" y="678"/>
                </a:lnTo>
                <a:lnTo>
                  <a:pt x="756" y="684"/>
                </a:lnTo>
                <a:lnTo>
                  <a:pt x="754" y="689"/>
                </a:lnTo>
                <a:lnTo>
                  <a:pt x="751" y="694"/>
                </a:lnTo>
                <a:lnTo>
                  <a:pt x="746" y="699"/>
                </a:lnTo>
                <a:lnTo>
                  <a:pt x="739" y="704"/>
                </a:lnTo>
                <a:lnTo>
                  <a:pt x="731" y="707"/>
                </a:lnTo>
                <a:lnTo>
                  <a:pt x="711" y="710"/>
                </a:lnTo>
                <a:lnTo>
                  <a:pt x="692" y="717"/>
                </a:lnTo>
                <a:lnTo>
                  <a:pt x="675" y="724"/>
                </a:lnTo>
                <a:lnTo>
                  <a:pt x="662" y="734"/>
                </a:lnTo>
                <a:lnTo>
                  <a:pt x="653" y="737"/>
                </a:lnTo>
                <a:lnTo>
                  <a:pt x="647" y="737"/>
                </a:lnTo>
                <a:lnTo>
                  <a:pt x="640" y="734"/>
                </a:lnTo>
                <a:lnTo>
                  <a:pt x="635" y="727"/>
                </a:lnTo>
                <a:lnTo>
                  <a:pt x="631" y="722"/>
                </a:lnTo>
                <a:lnTo>
                  <a:pt x="630" y="719"/>
                </a:lnTo>
                <a:lnTo>
                  <a:pt x="626" y="719"/>
                </a:lnTo>
                <a:lnTo>
                  <a:pt x="621" y="721"/>
                </a:lnTo>
                <a:lnTo>
                  <a:pt x="618" y="724"/>
                </a:lnTo>
                <a:lnTo>
                  <a:pt x="613" y="729"/>
                </a:lnTo>
                <a:lnTo>
                  <a:pt x="606" y="737"/>
                </a:lnTo>
                <a:lnTo>
                  <a:pt x="600" y="746"/>
                </a:lnTo>
                <a:lnTo>
                  <a:pt x="601" y="766"/>
                </a:lnTo>
                <a:lnTo>
                  <a:pt x="603" y="788"/>
                </a:lnTo>
                <a:lnTo>
                  <a:pt x="588" y="810"/>
                </a:lnTo>
                <a:lnTo>
                  <a:pt x="573" y="833"/>
                </a:lnTo>
                <a:lnTo>
                  <a:pt x="566" y="844"/>
                </a:lnTo>
                <a:lnTo>
                  <a:pt x="557" y="852"/>
                </a:lnTo>
                <a:lnTo>
                  <a:pt x="549" y="859"/>
                </a:lnTo>
                <a:lnTo>
                  <a:pt x="539" y="864"/>
                </a:lnTo>
                <a:lnTo>
                  <a:pt x="519" y="877"/>
                </a:lnTo>
                <a:lnTo>
                  <a:pt x="505" y="887"/>
                </a:lnTo>
                <a:lnTo>
                  <a:pt x="519" y="901"/>
                </a:lnTo>
                <a:lnTo>
                  <a:pt x="525" y="913"/>
                </a:lnTo>
                <a:lnTo>
                  <a:pt x="527" y="918"/>
                </a:lnTo>
                <a:lnTo>
                  <a:pt x="529" y="923"/>
                </a:lnTo>
                <a:lnTo>
                  <a:pt x="527" y="928"/>
                </a:lnTo>
                <a:lnTo>
                  <a:pt x="525" y="931"/>
                </a:lnTo>
                <a:lnTo>
                  <a:pt x="519" y="938"/>
                </a:lnTo>
                <a:lnTo>
                  <a:pt x="510" y="945"/>
                </a:lnTo>
                <a:lnTo>
                  <a:pt x="497" y="948"/>
                </a:lnTo>
                <a:lnTo>
                  <a:pt x="483" y="953"/>
                </a:lnTo>
                <a:lnTo>
                  <a:pt x="456" y="931"/>
                </a:lnTo>
                <a:lnTo>
                  <a:pt x="429" y="909"/>
                </a:lnTo>
                <a:lnTo>
                  <a:pt x="403" y="887"/>
                </a:lnTo>
                <a:lnTo>
                  <a:pt x="376" y="865"/>
                </a:lnTo>
                <a:lnTo>
                  <a:pt x="376" y="854"/>
                </a:lnTo>
                <a:lnTo>
                  <a:pt x="374" y="845"/>
                </a:lnTo>
                <a:lnTo>
                  <a:pt x="371" y="837"/>
                </a:lnTo>
                <a:lnTo>
                  <a:pt x="367" y="832"/>
                </a:lnTo>
                <a:lnTo>
                  <a:pt x="362" y="828"/>
                </a:lnTo>
                <a:lnTo>
                  <a:pt x="355" y="827"/>
                </a:lnTo>
                <a:lnTo>
                  <a:pt x="349" y="827"/>
                </a:lnTo>
                <a:lnTo>
                  <a:pt x="342" y="830"/>
                </a:lnTo>
                <a:lnTo>
                  <a:pt x="330" y="832"/>
                </a:lnTo>
                <a:lnTo>
                  <a:pt x="318" y="833"/>
                </a:lnTo>
                <a:lnTo>
                  <a:pt x="305" y="833"/>
                </a:lnTo>
                <a:lnTo>
                  <a:pt x="293" y="830"/>
                </a:lnTo>
                <a:lnTo>
                  <a:pt x="280" y="827"/>
                </a:lnTo>
                <a:lnTo>
                  <a:pt x="266" y="820"/>
                </a:lnTo>
                <a:lnTo>
                  <a:pt x="251" y="810"/>
                </a:lnTo>
                <a:lnTo>
                  <a:pt x="238" y="798"/>
                </a:lnTo>
                <a:lnTo>
                  <a:pt x="236" y="796"/>
                </a:lnTo>
                <a:lnTo>
                  <a:pt x="236" y="795"/>
                </a:lnTo>
                <a:lnTo>
                  <a:pt x="234" y="793"/>
                </a:lnTo>
                <a:lnTo>
                  <a:pt x="231" y="793"/>
                </a:lnTo>
                <a:lnTo>
                  <a:pt x="224" y="793"/>
                </a:lnTo>
                <a:lnTo>
                  <a:pt x="212" y="795"/>
                </a:lnTo>
                <a:lnTo>
                  <a:pt x="201" y="800"/>
                </a:lnTo>
                <a:lnTo>
                  <a:pt x="190" y="800"/>
                </a:lnTo>
                <a:lnTo>
                  <a:pt x="187" y="800"/>
                </a:lnTo>
                <a:lnTo>
                  <a:pt x="182" y="798"/>
                </a:lnTo>
                <a:lnTo>
                  <a:pt x="179" y="795"/>
                </a:lnTo>
                <a:lnTo>
                  <a:pt x="177" y="793"/>
                </a:lnTo>
                <a:lnTo>
                  <a:pt x="167" y="790"/>
                </a:lnTo>
                <a:lnTo>
                  <a:pt x="157" y="786"/>
                </a:lnTo>
                <a:lnTo>
                  <a:pt x="147" y="783"/>
                </a:lnTo>
                <a:lnTo>
                  <a:pt x="138" y="776"/>
                </a:lnTo>
                <a:lnTo>
                  <a:pt x="130" y="769"/>
                </a:lnTo>
                <a:lnTo>
                  <a:pt x="123" y="761"/>
                </a:lnTo>
                <a:lnTo>
                  <a:pt x="115" y="753"/>
                </a:lnTo>
                <a:lnTo>
                  <a:pt x="108" y="741"/>
                </a:lnTo>
                <a:lnTo>
                  <a:pt x="101" y="741"/>
                </a:lnTo>
                <a:lnTo>
                  <a:pt x="98" y="737"/>
                </a:lnTo>
                <a:lnTo>
                  <a:pt x="93" y="734"/>
                </a:lnTo>
                <a:lnTo>
                  <a:pt x="89" y="731"/>
                </a:lnTo>
                <a:lnTo>
                  <a:pt x="83" y="719"/>
                </a:lnTo>
                <a:lnTo>
                  <a:pt x="76" y="705"/>
                </a:lnTo>
                <a:lnTo>
                  <a:pt x="69" y="697"/>
                </a:lnTo>
                <a:lnTo>
                  <a:pt x="61" y="689"/>
                </a:lnTo>
                <a:lnTo>
                  <a:pt x="56" y="680"/>
                </a:lnTo>
                <a:lnTo>
                  <a:pt x="51" y="672"/>
                </a:lnTo>
                <a:lnTo>
                  <a:pt x="49" y="662"/>
                </a:lnTo>
                <a:lnTo>
                  <a:pt x="47" y="650"/>
                </a:lnTo>
                <a:lnTo>
                  <a:pt x="51" y="638"/>
                </a:lnTo>
                <a:lnTo>
                  <a:pt x="56" y="625"/>
                </a:lnTo>
                <a:lnTo>
                  <a:pt x="56" y="618"/>
                </a:lnTo>
                <a:lnTo>
                  <a:pt x="57" y="611"/>
                </a:lnTo>
                <a:lnTo>
                  <a:pt x="59" y="606"/>
                </a:lnTo>
                <a:lnTo>
                  <a:pt x="64" y="599"/>
                </a:lnTo>
                <a:lnTo>
                  <a:pt x="73" y="588"/>
                </a:lnTo>
                <a:lnTo>
                  <a:pt x="84" y="574"/>
                </a:lnTo>
                <a:lnTo>
                  <a:pt x="88" y="569"/>
                </a:lnTo>
                <a:lnTo>
                  <a:pt x="88" y="566"/>
                </a:lnTo>
                <a:lnTo>
                  <a:pt x="86" y="564"/>
                </a:lnTo>
                <a:lnTo>
                  <a:pt x="83" y="562"/>
                </a:lnTo>
                <a:lnTo>
                  <a:pt x="69" y="564"/>
                </a:lnTo>
                <a:lnTo>
                  <a:pt x="54" y="567"/>
                </a:lnTo>
                <a:lnTo>
                  <a:pt x="46" y="567"/>
                </a:lnTo>
                <a:lnTo>
                  <a:pt x="37" y="567"/>
                </a:lnTo>
                <a:lnTo>
                  <a:pt x="31" y="566"/>
                </a:lnTo>
                <a:lnTo>
                  <a:pt x="26" y="564"/>
                </a:lnTo>
                <a:lnTo>
                  <a:pt x="20" y="559"/>
                </a:lnTo>
                <a:lnTo>
                  <a:pt x="19" y="551"/>
                </a:lnTo>
                <a:lnTo>
                  <a:pt x="20" y="540"/>
                </a:lnTo>
                <a:lnTo>
                  <a:pt x="22" y="527"/>
                </a:lnTo>
                <a:lnTo>
                  <a:pt x="22" y="519"/>
                </a:lnTo>
                <a:lnTo>
                  <a:pt x="22" y="510"/>
                </a:lnTo>
                <a:lnTo>
                  <a:pt x="22" y="502"/>
                </a:lnTo>
                <a:lnTo>
                  <a:pt x="24" y="493"/>
                </a:lnTo>
                <a:lnTo>
                  <a:pt x="27" y="485"/>
                </a:lnTo>
                <a:lnTo>
                  <a:pt x="31" y="476"/>
                </a:lnTo>
                <a:lnTo>
                  <a:pt x="36" y="468"/>
                </a:lnTo>
                <a:lnTo>
                  <a:pt x="42" y="460"/>
                </a:lnTo>
                <a:lnTo>
                  <a:pt x="47" y="456"/>
                </a:lnTo>
                <a:lnTo>
                  <a:pt x="51" y="453"/>
                </a:lnTo>
                <a:lnTo>
                  <a:pt x="56" y="448"/>
                </a:lnTo>
                <a:lnTo>
                  <a:pt x="57" y="443"/>
                </a:lnTo>
                <a:lnTo>
                  <a:pt x="59" y="436"/>
                </a:lnTo>
                <a:lnTo>
                  <a:pt x="59" y="428"/>
                </a:lnTo>
                <a:lnTo>
                  <a:pt x="57" y="419"/>
                </a:lnTo>
                <a:lnTo>
                  <a:pt x="54" y="407"/>
                </a:lnTo>
                <a:lnTo>
                  <a:pt x="46" y="392"/>
                </a:lnTo>
                <a:lnTo>
                  <a:pt x="37" y="375"/>
                </a:lnTo>
                <a:lnTo>
                  <a:pt x="27" y="359"/>
                </a:lnTo>
                <a:lnTo>
                  <a:pt x="19" y="342"/>
                </a:lnTo>
                <a:lnTo>
                  <a:pt x="10" y="342"/>
                </a:lnTo>
                <a:lnTo>
                  <a:pt x="4" y="340"/>
                </a:lnTo>
                <a:lnTo>
                  <a:pt x="0" y="337"/>
                </a:lnTo>
                <a:lnTo>
                  <a:pt x="0" y="332"/>
                </a:lnTo>
                <a:lnTo>
                  <a:pt x="2" y="325"/>
                </a:lnTo>
                <a:lnTo>
                  <a:pt x="7" y="316"/>
                </a:lnTo>
                <a:lnTo>
                  <a:pt x="15" y="308"/>
                </a:lnTo>
                <a:lnTo>
                  <a:pt x="26" y="296"/>
                </a:lnTo>
                <a:lnTo>
                  <a:pt x="34" y="286"/>
                </a:lnTo>
                <a:lnTo>
                  <a:pt x="41" y="276"/>
                </a:lnTo>
                <a:lnTo>
                  <a:pt x="44" y="268"/>
                </a:lnTo>
                <a:lnTo>
                  <a:pt x="47" y="257"/>
                </a:lnTo>
                <a:lnTo>
                  <a:pt x="47" y="247"/>
                </a:lnTo>
                <a:lnTo>
                  <a:pt x="46" y="239"/>
                </a:lnTo>
                <a:lnTo>
                  <a:pt x="42" y="231"/>
                </a:lnTo>
                <a:lnTo>
                  <a:pt x="36" y="222"/>
                </a:lnTo>
                <a:lnTo>
                  <a:pt x="27" y="209"/>
                </a:lnTo>
                <a:lnTo>
                  <a:pt x="20" y="197"/>
                </a:lnTo>
              </a:path>
            </a:pathLst>
          </a:custGeom>
          <a:solidFill>
            <a:srgbClr val="CCECFF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332903" name="Freeform 11"/>
          <p:cNvSpPr>
            <a:spLocks noChangeAspect="1"/>
          </p:cNvSpPr>
          <p:nvPr>
            <p:custDataLst>
              <p:tags r:id="rId9"/>
            </p:custDataLst>
          </p:nvPr>
        </p:nvSpPr>
        <p:spPr bwMode="auto">
          <a:xfrm>
            <a:off x="3597275" y="1539875"/>
            <a:ext cx="301625" cy="230188"/>
          </a:xfrm>
          <a:custGeom>
            <a:avLst/>
            <a:gdLst>
              <a:gd name="T0" fmla="*/ 0 w 190"/>
              <a:gd name="T1" fmla="*/ 2147483647 h 144"/>
              <a:gd name="T2" fmla="*/ 2147483647 w 190"/>
              <a:gd name="T3" fmla="*/ 2147483647 h 144"/>
              <a:gd name="T4" fmla="*/ 2147483647 w 190"/>
              <a:gd name="T5" fmla="*/ 2147483647 h 144"/>
              <a:gd name="T6" fmla="*/ 2147483647 w 190"/>
              <a:gd name="T7" fmla="*/ 2147483647 h 144"/>
              <a:gd name="T8" fmla="*/ 2147483647 w 190"/>
              <a:gd name="T9" fmla="*/ 2147483647 h 144"/>
              <a:gd name="T10" fmla="*/ 2147483647 w 190"/>
              <a:gd name="T11" fmla="*/ 2147483647 h 144"/>
              <a:gd name="T12" fmla="*/ 2147483647 w 190"/>
              <a:gd name="T13" fmla="*/ 2147483647 h 144"/>
              <a:gd name="T14" fmla="*/ 2147483647 w 190"/>
              <a:gd name="T15" fmla="*/ 2147483647 h 144"/>
              <a:gd name="T16" fmla="*/ 2147483647 w 190"/>
              <a:gd name="T17" fmla="*/ 2147483647 h 144"/>
              <a:gd name="T18" fmla="*/ 2147483647 w 190"/>
              <a:gd name="T19" fmla="*/ 2147483647 h 144"/>
              <a:gd name="T20" fmla="*/ 2147483647 w 190"/>
              <a:gd name="T21" fmla="*/ 0 h 144"/>
              <a:gd name="T22" fmla="*/ 2147483647 w 190"/>
              <a:gd name="T23" fmla="*/ 2147483647 h 144"/>
              <a:gd name="T24" fmla="*/ 2147483647 w 190"/>
              <a:gd name="T25" fmla="*/ 2147483647 h 144"/>
              <a:gd name="T26" fmla="*/ 2147483647 w 190"/>
              <a:gd name="T27" fmla="*/ 2147483647 h 144"/>
              <a:gd name="T28" fmla="*/ 2147483647 w 190"/>
              <a:gd name="T29" fmla="*/ 2147483647 h 144"/>
              <a:gd name="T30" fmla="*/ 2147483647 w 190"/>
              <a:gd name="T31" fmla="*/ 2147483647 h 144"/>
              <a:gd name="T32" fmla="*/ 2147483647 w 190"/>
              <a:gd name="T33" fmla="*/ 2147483647 h 144"/>
              <a:gd name="T34" fmla="*/ 2147483647 w 190"/>
              <a:gd name="T35" fmla="*/ 2147483647 h 144"/>
              <a:gd name="T36" fmla="*/ 2147483647 w 190"/>
              <a:gd name="T37" fmla="*/ 2147483647 h 144"/>
              <a:gd name="T38" fmla="*/ 2147483647 w 190"/>
              <a:gd name="T39" fmla="*/ 2147483647 h 144"/>
              <a:gd name="T40" fmla="*/ 2147483647 w 190"/>
              <a:gd name="T41" fmla="*/ 2147483647 h 144"/>
              <a:gd name="T42" fmla="*/ 2147483647 w 190"/>
              <a:gd name="T43" fmla="*/ 2147483647 h 144"/>
              <a:gd name="T44" fmla="*/ 2147483647 w 190"/>
              <a:gd name="T45" fmla="*/ 2147483647 h 144"/>
              <a:gd name="T46" fmla="*/ 2147483647 w 190"/>
              <a:gd name="T47" fmla="*/ 2147483647 h 144"/>
              <a:gd name="T48" fmla="*/ 2147483647 w 190"/>
              <a:gd name="T49" fmla="*/ 2147483647 h 144"/>
              <a:gd name="T50" fmla="*/ 2147483647 w 190"/>
              <a:gd name="T51" fmla="*/ 2147483647 h 144"/>
              <a:gd name="T52" fmla="*/ 2147483647 w 190"/>
              <a:gd name="T53" fmla="*/ 2147483647 h 144"/>
              <a:gd name="T54" fmla="*/ 2147483647 w 190"/>
              <a:gd name="T55" fmla="*/ 2147483647 h 144"/>
              <a:gd name="T56" fmla="*/ 2147483647 w 190"/>
              <a:gd name="T57" fmla="*/ 2147483647 h 144"/>
              <a:gd name="T58" fmla="*/ 2147483647 w 190"/>
              <a:gd name="T59" fmla="*/ 2147483647 h 144"/>
              <a:gd name="T60" fmla="*/ 2147483647 w 190"/>
              <a:gd name="T61" fmla="*/ 2147483647 h 144"/>
              <a:gd name="T62" fmla="*/ 2147483647 w 190"/>
              <a:gd name="T63" fmla="*/ 2147483647 h 144"/>
              <a:gd name="T64" fmla="*/ 2147483647 w 190"/>
              <a:gd name="T65" fmla="*/ 2147483647 h 144"/>
              <a:gd name="T66" fmla="*/ 2147483647 w 190"/>
              <a:gd name="T67" fmla="*/ 2147483647 h 144"/>
              <a:gd name="T68" fmla="*/ 2147483647 w 190"/>
              <a:gd name="T69" fmla="*/ 2147483647 h 144"/>
              <a:gd name="T70" fmla="*/ 2147483647 w 190"/>
              <a:gd name="T71" fmla="*/ 2147483647 h 144"/>
              <a:gd name="T72" fmla="*/ 2147483647 w 190"/>
              <a:gd name="T73" fmla="*/ 2147483647 h 144"/>
              <a:gd name="T74" fmla="*/ 2147483647 w 190"/>
              <a:gd name="T75" fmla="*/ 2147483647 h 144"/>
              <a:gd name="T76" fmla="*/ 2147483647 w 190"/>
              <a:gd name="T77" fmla="*/ 2147483647 h 144"/>
              <a:gd name="T78" fmla="*/ 2147483647 w 190"/>
              <a:gd name="T79" fmla="*/ 2147483647 h 144"/>
              <a:gd name="T80" fmla="*/ 2147483647 w 190"/>
              <a:gd name="T81" fmla="*/ 2147483647 h 144"/>
              <a:gd name="T82" fmla="*/ 2147483647 w 190"/>
              <a:gd name="T83" fmla="*/ 2147483647 h 144"/>
              <a:gd name="T84" fmla="*/ 2147483647 w 190"/>
              <a:gd name="T85" fmla="*/ 2147483647 h 144"/>
              <a:gd name="T86" fmla="*/ 2147483647 w 190"/>
              <a:gd name="T87" fmla="*/ 2147483647 h 144"/>
              <a:gd name="T88" fmla="*/ 2147483647 w 190"/>
              <a:gd name="T89" fmla="*/ 2147483647 h 144"/>
              <a:gd name="T90" fmla="*/ 2147483647 w 190"/>
              <a:gd name="T91" fmla="*/ 2147483647 h 144"/>
              <a:gd name="T92" fmla="*/ 0 w 190"/>
              <a:gd name="T93" fmla="*/ 2147483647 h 144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w 190"/>
              <a:gd name="T142" fmla="*/ 0 h 144"/>
              <a:gd name="T143" fmla="*/ 190 w 190"/>
              <a:gd name="T144" fmla="*/ 144 h 144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T141" t="T142" r="T143" b="T144"/>
            <a:pathLst>
              <a:path w="190" h="144">
                <a:moveTo>
                  <a:pt x="0" y="67"/>
                </a:moveTo>
                <a:lnTo>
                  <a:pt x="7" y="49"/>
                </a:lnTo>
                <a:lnTo>
                  <a:pt x="15" y="33"/>
                </a:lnTo>
                <a:lnTo>
                  <a:pt x="20" y="27"/>
                </a:lnTo>
                <a:lnTo>
                  <a:pt x="25" y="22"/>
                </a:lnTo>
                <a:lnTo>
                  <a:pt x="30" y="17"/>
                </a:lnTo>
                <a:lnTo>
                  <a:pt x="35" y="13"/>
                </a:lnTo>
                <a:lnTo>
                  <a:pt x="59" y="10"/>
                </a:lnTo>
                <a:lnTo>
                  <a:pt x="77" y="6"/>
                </a:lnTo>
                <a:lnTo>
                  <a:pt x="79" y="3"/>
                </a:lnTo>
                <a:lnTo>
                  <a:pt x="79" y="0"/>
                </a:lnTo>
                <a:lnTo>
                  <a:pt x="89" y="3"/>
                </a:lnTo>
                <a:lnTo>
                  <a:pt x="98" y="6"/>
                </a:lnTo>
                <a:lnTo>
                  <a:pt x="106" y="13"/>
                </a:lnTo>
                <a:lnTo>
                  <a:pt x="116" y="23"/>
                </a:lnTo>
                <a:lnTo>
                  <a:pt x="131" y="28"/>
                </a:lnTo>
                <a:lnTo>
                  <a:pt x="147" y="33"/>
                </a:lnTo>
                <a:lnTo>
                  <a:pt x="162" y="38"/>
                </a:lnTo>
                <a:lnTo>
                  <a:pt x="177" y="43"/>
                </a:lnTo>
                <a:lnTo>
                  <a:pt x="184" y="49"/>
                </a:lnTo>
                <a:lnTo>
                  <a:pt x="189" y="54"/>
                </a:lnTo>
                <a:lnTo>
                  <a:pt x="190" y="60"/>
                </a:lnTo>
                <a:lnTo>
                  <a:pt x="189" y="67"/>
                </a:lnTo>
                <a:lnTo>
                  <a:pt x="187" y="72"/>
                </a:lnTo>
                <a:lnTo>
                  <a:pt x="184" y="77"/>
                </a:lnTo>
                <a:lnTo>
                  <a:pt x="178" y="79"/>
                </a:lnTo>
                <a:lnTo>
                  <a:pt x="173" y="77"/>
                </a:lnTo>
                <a:lnTo>
                  <a:pt x="172" y="99"/>
                </a:lnTo>
                <a:lnTo>
                  <a:pt x="170" y="119"/>
                </a:lnTo>
                <a:lnTo>
                  <a:pt x="172" y="126"/>
                </a:lnTo>
                <a:lnTo>
                  <a:pt x="172" y="133"/>
                </a:lnTo>
                <a:lnTo>
                  <a:pt x="170" y="138"/>
                </a:lnTo>
                <a:lnTo>
                  <a:pt x="167" y="141"/>
                </a:lnTo>
                <a:lnTo>
                  <a:pt x="162" y="143"/>
                </a:lnTo>
                <a:lnTo>
                  <a:pt x="155" y="144"/>
                </a:lnTo>
                <a:lnTo>
                  <a:pt x="147" y="144"/>
                </a:lnTo>
                <a:lnTo>
                  <a:pt x="136" y="144"/>
                </a:lnTo>
                <a:lnTo>
                  <a:pt x="121" y="143"/>
                </a:lnTo>
                <a:lnTo>
                  <a:pt x="106" y="139"/>
                </a:lnTo>
                <a:lnTo>
                  <a:pt x="91" y="134"/>
                </a:lnTo>
                <a:lnTo>
                  <a:pt x="77" y="128"/>
                </a:lnTo>
                <a:lnTo>
                  <a:pt x="66" y="119"/>
                </a:lnTo>
                <a:lnTo>
                  <a:pt x="54" y="111"/>
                </a:lnTo>
                <a:lnTo>
                  <a:pt x="44" y="99"/>
                </a:lnTo>
                <a:lnTo>
                  <a:pt x="35" y="86"/>
                </a:lnTo>
                <a:lnTo>
                  <a:pt x="17" y="75"/>
                </a:lnTo>
                <a:lnTo>
                  <a:pt x="0" y="67"/>
                </a:lnTo>
              </a:path>
            </a:pathLst>
          </a:custGeom>
          <a:solidFill>
            <a:schemeClr val="bg1"/>
          </a:solidFill>
          <a:ln w="3175">
            <a:solidFill>
              <a:srgbClr val="1F1A17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grpSp>
        <p:nvGrpSpPr>
          <p:cNvPr id="332904" name="Group 12"/>
          <p:cNvGrpSpPr>
            <a:grpSpLocks noChangeAspect="1"/>
          </p:cNvGrpSpPr>
          <p:nvPr>
            <p:custDataLst>
              <p:tags r:id="rId10"/>
            </p:custDataLst>
          </p:nvPr>
        </p:nvGrpSpPr>
        <p:grpSpPr bwMode="auto">
          <a:xfrm>
            <a:off x="6684963" y="2581275"/>
            <a:ext cx="1266825" cy="1182688"/>
            <a:chOff x="3206" y="2010"/>
            <a:chExt cx="798" cy="744"/>
          </a:xfrm>
        </p:grpSpPr>
        <p:sp>
          <p:nvSpPr>
            <p:cNvPr id="333022" name="Freeform 13"/>
            <p:cNvSpPr>
              <a:spLocks noChangeAspect="1"/>
            </p:cNvSpPr>
            <p:nvPr/>
          </p:nvSpPr>
          <p:spPr bwMode="auto">
            <a:xfrm>
              <a:off x="3920" y="2535"/>
              <a:ext cx="69" cy="59"/>
            </a:xfrm>
            <a:custGeom>
              <a:avLst/>
              <a:gdLst>
                <a:gd name="T0" fmla="*/ 26 w 69"/>
                <a:gd name="T1" fmla="*/ 44 h 59"/>
                <a:gd name="T2" fmla="*/ 20 w 69"/>
                <a:gd name="T3" fmla="*/ 49 h 59"/>
                <a:gd name="T4" fmla="*/ 13 w 69"/>
                <a:gd name="T5" fmla="*/ 54 h 59"/>
                <a:gd name="T6" fmla="*/ 6 w 69"/>
                <a:gd name="T7" fmla="*/ 59 h 59"/>
                <a:gd name="T8" fmla="*/ 3 w 69"/>
                <a:gd name="T9" fmla="*/ 59 h 59"/>
                <a:gd name="T10" fmla="*/ 0 w 69"/>
                <a:gd name="T11" fmla="*/ 56 h 59"/>
                <a:gd name="T12" fmla="*/ 1 w 69"/>
                <a:gd name="T13" fmla="*/ 47 h 59"/>
                <a:gd name="T14" fmla="*/ 3 w 69"/>
                <a:gd name="T15" fmla="*/ 32 h 59"/>
                <a:gd name="T16" fmla="*/ 5 w 69"/>
                <a:gd name="T17" fmla="*/ 19 h 59"/>
                <a:gd name="T18" fmla="*/ 6 w 69"/>
                <a:gd name="T19" fmla="*/ 12 h 59"/>
                <a:gd name="T20" fmla="*/ 8 w 69"/>
                <a:gd name="T21" fmla="*/ 9 h 59"/>
                <a:gd name="T22" fmla="*/ 13 w 69"/>
                <a:gd name="T23" fmla="*/ 4 h 59"/>
                <a:gd name="T24" fmla="*/ 18 w 69"/>
                <a:gd name="T25" fmla="*/ 0 h 59"/>
                <a:gd name="T26" fmla="*/ 43 w 69"/>
                <a:gd name="T27" fmla="*/ 5 h 59"/>
                <a:gd name="T28" fmla="*/ 69 w 69"/>
                <a:gd name="T29" fmla="*/ 10 h 59"/>
                <a:gd name="T30" fmla="*/ 55 w 69"/>
                <a:gd name="T31" fmla="*/ 24 h 59"/>
                <a:gd name="T32" fmla="*/ 45 w 69"/>
                <a:gd name="T33" fmla="*/ 36 h 59"/>
                <a:gd name="T34" fmla="*/ 40 w 69"/>
                <a:gd name="T35" fmla="*/ 41 h 59"/>
                <a:gd name="T36" fmla="*/ 35 w 69"/>
                <a:gd name="T37" fmla="*/ 42 h 59"/>
                <a:gd name="T38" fmla="*/ 30 w 69"/>
                <a:gd name="T39" fmla="*/ 44 h 59"/>
                <a:gd name="T40" fmla="*/ 26 w 69"/>
                <a:gd name="T41" fmla="*/ 44 h 59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69"/>
                <a:gd name="T64" fmla="*/ 0 h 59"/>
                <a:gd name="T65" fmla="*/ 69 w 69"/>
                <a:gd name="T66" fmla="*/ 59 h 59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69" h="59">
                  <a:moveTo>
                    <a:pt x="26" y="44"/>
                  </a:moveTo>
                  <a:lnTo>
                    <a:pt x="20" y="49"/>
                  </a:lnTo>
                  <a:lnTo>
                    <a:pt x="13" y="54"/>
                  </a:lnTo>
                  <a:lnTo>
                    <a:pt x="6" y="59"/>
                  </a:lnTo>
                  <a:lnTo>
                    <a:pt x="3" y="59"/>
                  </a:lnTo>
                  <a:lnTo>
                    <a:pt x="0" y="56"/>
                  </a:lnTo>
                  <a:lnTo>
                    <a:pt x="1" y="47"/>
                  </a:lnTo>
                  <a:lnTo>
                    <a:pt x="3" y="32"/>
                  </a:lnTo>
                  <a:lnTo>
                    <a:pt x="5" y="19"/>
                  </a:lnTo>
                  <a:lnTo>
                    <a:pt x="6" y="12"/>
                  </a:lnTo>
                  <a:lnTo>
                    <a:pt x="8" y="9"/>
                  </a:lnTo>
                  <a:lnTo>
                    <a:pt x="13" y="4"/>
                  </a:lnTo>
                  <a:lnTo>
                    <a:pt x="18" y="0"/>
                  </a:lnTo>
                  <a:lnTo>
                    <a:pt x="43" y="5"/>
                  </a:lnTo>
                  <a:lnTo>
                    <a:pt x="69" y="10"/>
                  </a:lnTo>
                  <a:lnTo>
                    <a:pt x="55" y="24"/>
                  </a:lnTo>
                  <a:lnTo>
                    <a:pt x="45" y="36"/>
                  </a:lnTo>
                  <a:lnTo>
                    <a:pt x="40" y="41"/>
                  </a:lnTo>
                  <a:lnTo>
                    <a:pt x="35" y="42"/>
                  </a:lnTo>
                  <a:lnTo>
                    <a:pt x="30" y="44"/>
                  </a:lnTo>
                  <a:lnTo>
                    <a:pt x="26" y="44"/>
                  </a:lnTo>
                </a:path>
              </a:pathLst>
            </a:custGeom>
            <a:solidFill>
              <a:srgbClr val="CCECFF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333023" name="Freeform 14"/>
            <p:cNvSpPr>
              <a:spLocks noChangeAspect="1"/>
            </p:cNvSpPr>
            <p:nvPr/>
          </p:nvSpPr>
          <p:spPr bwMode="auto">
            <a:xfrm>
              <a:off x="3206" y="2010"/>
              <a:ext cx="798" cy="744"/>
            </a:xfrm>
            <a:custGeom>
              <a:avLst/>
              <a:gdLst>
                <a:gd name="T0" fmla="*/ 717 w 798"/>
                <a:gd name="T1" fmla="*/ 396 h 744"/>
                <a:gd name="T2" fmla="*/ 671 w 798"/>
                <a:gd name="T3" fmla="*/ 411 h 744"/>
                <a:gd name="T4" fmla="*/ 688 w 798"/>
                <a:gd name="T5" fmla="*/ 419 h 744"/>
                <a:gd name="T6" fmla="*/ 729 w 798"/>
                <a:gd name="T7" fmla="*/ 423 h 744"/>
                <a:gd name="T8" fmla="*/ 735 w 798"/>
                <a:gd name="T9" fmla="*/ 485 h 744"/>
                <a:gd name="T10" fmla="*/ 677 w 798"/>
                <a:gd name="T11" fmla="*/ 544 h 744"/>
                <a:gd name="T12" fmla="*/ 646 w 798"/>
                <a:gd name="T13" fmla="*/ 577 h 744"/>
                <a:gd name="T14" fmla="*/ 682 w 798"/>
                <a:gd name="T15" fmla="*/ 557 h 744"/>
                <a:gd name="T16" fmla="*/ 678 w 798"/>
                <a:gd name="T17" fmla="*/ 599 h 744"/>
                <a:gd name="T18" fmla="*/ 692 w 798"/>
                <a:gd name="T19" fmla="*/ 620 h 744"/>
                <a:gd name="T20" fmla="*/ 710 w 798"/>
                <a:gd name="T21" fmla="*/ 609 h 744"/>
                <a:gd name="T22" fmla="*/ 746 w 798"/>
                <a:gd name="T23" fmla="*/ 598 h 744"/>
                <a:gd name="T24" fmla="*/ 796 w 798"/>
                <a:gd name="T25" fmla="*/ 653 h 744"/>
                <a:gd name="T26" fmla="*/ 754 w 798"/>
                <a:gd name="T27" fmla="*/ 680 h 744"/>
                <a:gd name="T28" fmla="*/ 717 w 798"/>
                <a:gd name="T29" fmla="*/ 643 h 744"/>
                <a:gd name="T30" fmla="*/ 687 w 798"/>
                <a:gd name="T31" fmla="*/ 672 h 744"/>
                <a:gd name="T32" fmla="*/ 724 w 798"/>
                <a:gd name="T33" fmla="*/ 689 h 744"/>
                <a:gd name="T34" fmla="*/ 697 w 798"/>
                <a:gd name="T35" fmla="*/ 744 h 744"/>
                <a:gd name="T36" fmla="*/ 633 w 798"/>
                <a:gd name="T37" fmla="*/ 729 h 744"/>
                <a:gd name="T38" fmla="*/ 584 w 798"/>
                <a:gd name="T39" fmla="*/ 729 h 744"/>
                <a:gd name="T40" fmla="*/ 544 w 798"/>
                <a:gd name="T41" fmla="*/ 689 h 744"/>
                <a:gd name="T42" fmla="*/ 446 w 798"/>
                <a:gd name="T43" fmla="*/ 609 h 744"/>
                <a:gd name="T44" fmla="*/ 422 w 798"/>
                <a:gd name="T45" fmla="*/ 638 h 744"/>
                <a:gd name="T46" fmla="*/ 390 w 798"/>
                <a:gd name="T47" fmla="*/ 663 h 744"/>
                <a:gd name="T48" fmla="*/ 330 w 798"/>
                <a:gd name="T49" fmla="*/ 645 h 744"/>
                <a:gd name="T50" fmla="*/ 274 w 798"/>
                <a:gd name="T51" fmla="*/ 615 h 744"/>
                <a:gd name="T52" fmla="*/ 229 w 798"/>
                <a:gd name="T53" fmla="*/ 517 h 744"/>
                <a:gd name="T54" fmla="*/ 222 w 798"/>
                <a:gd name="T55" fmla="*/ 490 h 744"/>
                <a:gd name="T56" fmla="*/ 161 w 798"/>
                <a:gd name="T57" fmla="*/ 480 h 744"/>
                <a:gd name="T58" fmla="*/ 119 w 798"/>
                <a:gd name="T59" fmla="*/ 414 h 744"/>
                <a:gd name="T60" fmla="*/ 99 w 798"/>
                <a:gd name="T61" fmla="*/ 360 h 744"/>
                <a:gd name="T62" fmla="*/ 76 w 798"/>
                <a:gd name="T63" fmla="*/ 284 h 744"/>
                <a:gd name="T64" fmla="*/ 12 w 798"/>
                <a:gd name="T65" fmla="*/ 252 h 744"/>
                <a:gd name="T66" fmla="*/ 60 w 798"/>
                <a:gd name="T67" fmla="*/ 138 h 744"/>
                <a:gd name="T68" fmla="*/ 87 w 798"/>
                <a:gd name="T69" fmla="*/ 74 h 744"/>
                <a:gd name="T70" fmla="*/ 145 w 798"/>
                <a:gd name="T71" fmla="*/ 35 h 744"/>
                <a:gd name="T72" fmla="*/ 172 w 798"/>
                <a:gd name="T73" fmla="*/ 12 h 744"/>
                <a:gd name="T74" fmla="*/ 200 w 798"/>
                <a:gd name="T75" fmla="*/ 5 h 744"/>
                <a:gd name="T76" fmla="*/ 215 w 798"/>
                <a:gd name="T77" fmla="*/ 30 h 744"/>
                <a:gd name="T78" fmla="*/ 214 w 798"/>
                <a:gd name="T79" fmla="*/ 131 h 744"/>
                <a:gd name="T80" fmla="*/ 219 w 798"/>
                <a:gd name="T81" fmla="*/ 204 h 744"/>
                <a:gd name="T82" fmla="*/ 204 w 798"/>
                <a:gd name="T83" fmla="*/ 261 h 744"/>
                <a:gd name="T84" fmla="*/ 257 w 798"/>
                <a:gd name="T85" fmla="*/ 273 h 744"/>
                <a:gd name="T86" fmla="*/ 244 w 798"/>
                <a:gd name="T87" fmla="*/ 322 h 744"/>
                <a:gd name="T88" fmla="*/ 321 w 798"/>
                <a:gd name="T89" fmla="*/ 369 h 744"/>
                <a:gd name="T90" fmla="*/ 380 w 798"/>
                <a:gd name="T91" fmla="*/ 355 h 744"/>
                <a:gd name="T92" fmla="*/ 395 w 798"/>
                <a:gd name="T93" fmla="*/ 303 h 744"/>
                <a:gd name="T94" fmla="*/ 367 w 798"/>
                <a:gd name="T95" fmla="*/ 296 h 744"/>
                <a:gd name="T96" fmla="*/ 390 w 798"/>
                <a:gd name="T97" fmla="*/ 204 h 744"/>
                <a:gd name="T98" fmla="*/ 411 w 798"/>
                <a:gd name="T99" fmla="*/ 237 h 744"/>
                <a:gd name="T100" fmla="*/ 459 w 798"/>
                <a:gd name="T101" fmla="*/ 296 h 744"/>
                <a:gd name="T102" fmla="*/ 503 w 798"/>
                <a:gd name="T103" fmla="*/ 338 h 744"/>
                <a:gd name="T104" fmla="*/ 503 w 798"/>
                <a:gd name="T105" fmla="*/ 386 h 744"/>
                <a:gd name="T106" fmla="*/ 533 w 798"/>
                <a:gd name="T107" fmla="*/ 379 h 744"/>
                <a:gd name="T108" fmla="*/ 535 w 798"/>
                <a:gd name="T109" fmla="*/ 461 h 744"/>
                <a:gd name="T110" fmla="*/ 574 w 798"/>
                <a:gd name="T111" fmla="*/ 443 h 744"/>
                <a:gd name="T112" fmla="*/ 641 w 798"/>
                <a:gd name="T113" fmla="*/ 352 h 744"/>
                <a:gd name="T114" fmla="*/ 705 w 798"/>
                <a:gd name="T115" fmla="*/ 327 h 74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798"/>
                <a:gd name="T175" fmla="*/ 0 h 744"/>
                <a:gd name="T176" fmla="*/ 798 w 798"/>
                <a:gd name="T177" fmla="*/ 744 h 74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798" h="744">
                  <a:moveTo>
                    <a:pt x="705" y="327"/>
                  </a:moveTo>
                  <a:lnTo>
                    <a:pt x="700" y="335"/>
                  </a:lnTo>
                  <a:lnTo>
                    <a:pt x="700" y="347"/>
                  </a:lnTo>
                  <a:lnTo>
                    <a:pt x="702" y="359"/>
                  </a:lnTo>
                  <a:lnTo>
                    <a:pt x="705" y="372"/>
                  </a:lnTo>
                  <a:lnTo>
                    <a:pt x="712" y="382"/>
                  </a:lnTo>
                  <a:lnTo>
                    <a:pt x="720" y="392"/>
                  </a:lnTo>
                  <a:lnTo>
                    <a:pt x="717" y="396"/>
                  </a:lnTo>
                  <a:lnTo>
                    <a:pt x="712" y="399"/>
                  </a:lnTo>
                  <a:lnTo>
                    <a:pt x="708" y="401"/>
                  </a:lnTo>
                  <a:lnTo>
                    <a:pt x="702" y="401"/>
                  </a:lnTo>
                  <a:lnTo>
                    <a:pt x="695" y="399"/>
                  </a:lnTo>
                  <a:lnTo>
                    <a:pt x="688" y="401"/>
                  </a:lnTo>
                  <a:lnTo>
                    <a:pt x="683" y="406"/>
                  </a:lnTo>
                  <a:lnTo>
                    <a:pt x="680" y="412"/>
                  </a:lnTo>
                  <a:lnTo>
                    <a:pt x="671" y="411"/>
                  </a:lnTo>
                  <a:lnTo>
                    <a:pt x="663" y="409"/>
                  </a:lnTo>
                  <a:lnTo>
                    <a:pt x="658" y="416"/>
                  </a:lnTo>
                  <a:lnTo>
                    <a:pt x="655" y="421"/>
                  </a:lnTo>
                  <a:lnTo>
                    <a:pt x="660" y="423"/>
                  </a:lnTo>
                  <a:lnTo>
                    <a:pt x="665" y="423"/>
                  </a:lnTo>
                  <a:lnTo>
                    <a:pt x="671" y="423"/>
                  </a:lnTo>
                  <a:lnTo>
                    <a:pt x="678" y="419"/>
                  </a:lnTo>
                  <a:lnTo>
                    <a:pt x="688" y="419"/>
                  </a:lnTo>
                  <a:lnTo>
                    <a:pt x="700" y="416"/>
                  </a:lnTo>
                  <a:lnTo>
                    <a:pt x="705" y="414"/>
                  </a:lnTo>
                  <a:lnTo>
                    <a:pt x="710" y="411"/>
                  </a:lnTo>
                  <a:lnTo>
                    <a:pt x="715" y="406"/>
                  </a:lnTo>
                  <a:lnTo>
                    <a:pt x="719" y="401"/>
                  </a:lnTo>
                  <a:lnTo>
                    <a:pt x="720" y="407"/>
                  </a:lnTo>
                  <a:lnTo>
                    <a:pt x="720" y="414"/>
                  </a:lnTo>
                  <a:lnTo>
                    <a:pt x="729" y="423"/>
                  </a:lnTo>
                  <a:lnTo>
                    <a:pt x="737" y="429"/>
                  </a:lnTo>
                  <a:lnTo>
                    <a:pt x="742" y="433"/>
                  </a:lnTo>
                  <a:lnTo>
                    <a:pt x="744" y="436"/>
                  </a:lnTo>
                  <a:lnTo>
                    <a:pt x="747" y="441"/>
                  </a:lnTo>
                  <a:lnTo>
                    <a:pt x="747" y="444"/>
                  </a:lnTo>
                  <a:lnTo>
                    <a:pt x="747" y="455"/>
                  </a:lnTo>
                  <a:lnTo>
                    <a:pt x="747" y="465"/>
                  </a:lnTo>
                  <a:lnTo>
                    <a:pt x="735" y="485"/>
                  </a:lnTo>
                  <a:lnTo>
                    <a:pt x="725" y="500"/>
                  </a:lnTo>
                  <a:lnTo>
                    <a:pt x="720" y="505"/>
                  </a:lnTo>
                  <a:lnTo>
                    <a:pt x="717" y="508"/>
                  </a:lnTo>
                  <a:lnTo>
                    <a:pt x="712" y="508"/>
                  </a:lnTo>
                  <a:lnTo>
                    <a:pt x="708" y="508"/>
                  </a:lnTo>
                  <a:lnTo>
                    <a:pt x="698" y="529"/>
                  </a:lnTo>
                  <a:lnTo>
                    <a:pt x="687" y="547"/>
                  </a:lnTo>
                  <a:lnTo>
                    <a:pt x="677" y="544"/>
                  </a:lnTo>
                  <a:lnTo>
                    <a:pt x="668" y="544"/>
                  </a:lnTo>
                  <a:lnTo>
                    <a:pt x="661" y="544"/>
                  </a:lnTo>
                  <a:lnTo>
                    <a:pt x="656" y="545"/>
                  </a:lnTo>
                  <a:lnTo>
                    <a:pt x="650" y="554"/>
                  </a:lnTo>
                  <a:lnTo>
                    <a:pt x="646" y="564"/>
                  </a:lnTo>
                  <a:lnTo>
                    <a:pt x="650" y="566"/>
                  </a:lnTo>
                  <a:lnTo>
                    <a:pt x="651" y="569"/>
                  </a:lnTo>
                  <a:lnTo>
                    <a:pt x="646" y="577"/>
                  </a:lnTo>
                  <a:lnTo>
                    <a:pt x="639" y="586"/>
                  </a:lnTo>
                  <a:lnTo>
                    <a:pt x="641" y="588"/>
                  </a:lnTo>
                  <a:lnTo>
                    <a:pt x="645" y="588"/>
                  </a:lnTo>
                  <a:lnTo>
                    <a:pt x="651" y="579"/>
                  </a:lnTo>
                  <a:lnTo>
                    <a:pt x="658" y="571"/>
                  </a:lnTo>
                  <a:lnTo>
                    <a:pt x="663" y="562"/>
                  </a:lnTo>
                  <a:lnTo>
                    <a:pt x="668" y="552"/>
                  </a:lnTo>
                  <a:lnTo>
                    <a:pt x="682" y="557"/>
                  </a:lnTo>
                  <a:lnTo>
                    <a:pt x="695" y="562"/>
                  </a:lnTo>
                  <a:lnTo>
                    <a:pt x="695" y="571"/>
                  </a:lnTo>
                  <a:lnTo>
                    <a:pt x="697" y="579"/>
                  </a:lnTo>
                  <a:lnTo>
                    <a:pt x="692" y="581"/>
                  </a:lnTo>
                  <a:lnTo>
                    <a:pt x="688" y="581"/>
                  </a:lnTo>
                  <a:lnTo>
                    <a:pt x="688" y="588"/>
                  </a:lnTo>
                  <a:lnTo>
                    <a:pt x="688" y="593"/>
                  </a:lnTo>
                  <a:lnTo>
                    <a:pt x="678" y="599"/>
                  </a:lnTo>
                  <a:lnTo>
                    <a:pt x="668" y="608"/>
                  </a:lnTo>
                  <a:lnTo>
                    <a:pt x="666" y="613"/>
                  </a:lnTo>
                  <a:lnTo>
                    <a:pt x="666" y="620"/>
                  </a:lnTo>
                  <a:lnTo>
                    <a:pt x="677" y="611"/>
                  </a:lnTo>
                  <a:lnTo>
                    <a:pt x="688" y="603"/>
                  </a:lnTo>
                  <a:lnTo>
                    <a:pt x="692" y="603"/>
                  </a:lnTo>
                  <a:lnTo>
                    <a:pt x="697" y="604"/>
                  </a:lnTo>
                  <a:lnTo>
                    <a:pt x="692" y="620"/>
                  </a:lnTo>
                  <a:lnTo>
                    <a:pt x="685" y="635"/>
                  </a:lnTo>
                  <a:lnTo>
                    <a:pt x="690" y="635"/>
                  </a:lnTo>
                  <a:lnTo>
                    <a:pt x="695" y="635"/>
                  </a:lnTo>
                  <a:lnTo>
                    <a:pt x="698" y="626"/>
                  </a:lnTo>
                  <a:lnTo>
                    <a:pt x="700" y="618"/>
                  </a:lnTo>
                  <a:lnTo>
                    <a:pt x="705" y="620"/>
                  </a:lnTo>
                  <a:lnTo>
                    <a:pt x="708" y="621"/>
                  </a:lnTo>
                  <a:lnTo>
                    <a:pt x="710" y="609"/>
                  </a:lnTo>
                  <a:lnTo>
                    <a:pt x="710" y="596"/>
                  </a:lnTo>
                  <a:lnTo>
                    <a:pt x="720" y="598"/>
                  </a:lnTo>
                  <a:lnTo>
                    <a:pt x="730" y="598"/>
                  </a:lnTo>
                  <a:lnTo>
                    <a:pt x="730" y="593"/>
                  </a:lnTo>
                  <a:lnTo>
                    <a:pt x="732" y="591"/>
                  </a:lnTo>
                  <a:lnTo>
                    <a:pt x="735" y="589"/>
                  </a:lnTo>
                  <a:lnTo>
                    <a:pt x="740" y="591"/>
                  </a:lnTo>
                  <a:lnTo>
                    <a:pt x="746" y="598"/>
                  </a:lnTo>
                  <a:lnTo>
                    <a:pt x="749" y="603"/>
                  </a:lnTo>
                  <a:lnTo>
                    <a:pt x="746" y="613"/>
                  </a:lnTo>
                  <a:lnTo>
                    <a:pt x="740" y="621"/>
                  </a:lnTo>
                  <a:lnTo>
                    <a:pt x="754" y="628"/>
                  </a:lnTo>
                  <a:lnTo>
                    <a:pt x="769" y="635"/>
                  </a:lnTo>
                  <a:lnTo>
                    <a:pt x="783" y="641"/>
                  </a:lnTo>
                  <a:lnTo>
                    <a:pt x="796" y="650"/>
                  </a:lnTo>
                  <a:lnTo>
                    <a:pt x="796" y="653"/>
                  </a:lnTo>
                  <a:lnTo>
                    <a:pt x="798" y="658"/>
                  </a:lnTo>
                  <a:lnTo>
                    <a:pt x="786" y="658"/>
                  </a:lnTo>
                  <a:lnTo>
                    <a:pt x="774" y="658"/>
                  </a:lnTo>
                  <a:lnTo>
                    <a:pt x="771" y="665"/>
                  </a:lnTo>
                  <a:lnTo>
                    <a:pt x="767" y="670"/>
                  </a:lnTo>
                  <a:lnTo>
                    <a:pt x="764" y="675"/>
                  </a:lnTo>
                  <a:lnTo>
                    <a:pt x="759" y="677"/>
                  </a:lnTo>
                  <a:lnTo>
                    <a:pt x="754" y="680"/>
                  </a:lnTo>
                  <a:lnTo>
                    <a:pt x="749" y="680"/>
                  </a:lnTo>
                  <a:lnTo>
                    <a:pt x="744" y="680"/>
                  </a:lnTo>
                  <a:lnTo>
                    <a:pt x="737" y="679"/>
                  </a:lnTo>
                  <a:lnTo>
                    <a:pt x="729" y="668"/>
                  </a:lnTo>
                  <a:lnTo>
                    <a:pt x="720" y="658"/>
                  </a:lnTo>
                  <a:lnTo>
                    <a:pt x="719" y="653"/>
                  </a:lnTo>
                  <a:lnTo>
                    <a:pt x="717" y="648"/>
                  </a:lnTo>
                  <a:lnTo>
                    <a:pt x="717" y="643"/>
                  </a:lnTo>
                  <a:lnTo>
                    <a:pt x="719" y="638"/>
                  </a:lnTo>
                  <a:lnTo>
                    <a:pt x="710" y="640"/>
                  </a:lnTo>
                  <a:lnTo>
                    <a:pt x="703" y="643"/>
                  </a:lnTo>
                  <a:lnTo>
                    <a:pt x="702" y="648"/>
                  </a:lnTo>
                  <a:lnTo>
                    <a:pt x="700" y="653"/>
                  </a:lnTo>
                  <a:lnTo>
                    <a:pt x="693" y="660"/>
                  </a:lnTo>
                  <a:lnTo>
                    <a:pt x="687" y="667"/>
                  </a:lnTo>
                  <a:lnTo>
                    <a:pt x="687" y="672"/>
                  </a:lnTo>
                  <a:lnTo>
                    <a:pt x="690" y="677"/>
                  </a:lnTo>
                  <a:lnTo>
                    <a:pt x="693" y="679"/>
                  </a:lnTo>
                  <a:lnTo>
                    <a:pt x="700" y="677"/>
                  </a:lnTo>
                  <a:lnTo>
                    <a:pt x="702" y="672"/>
                  </a:lnTo>
                  <a:lnTo>
                    <a:pt x="702" y="665"/>
                  </a:lnTo>
                  <a:lnTo>
                    <a:pt x="710" y="667"/>
                  </a:lnTo>
                  <a:lnTo>
                    <a:pt x="719" y="668"/>
                  </a:lnTo>
                  <a:lnTo>
                    <a:pt x="724" y="689"/>
                  </a:lnTo>
                  <a:lnTo>
                    <a:pt x="730" y="709"/>
                  </a:lnTo>
                  <a:lnTo>
                    <a:pt x="724" y="716"/>
                  </a:lnTo>
                  <a:lnTo>
                    <a:pt x="717" y="722"/>
                  </a:lnTo>
                  <a:lnTo>
                    <a:pt x="714" y="731"/>
                  </a:lnTo>
                  <a:lnTo>
                    <a:pt x="708" y="739"/>
                  </a:lnTo>
                  <a:lnTo>
                    <a:pt x="705" y="741"/>
                  </a:lnTo>
                  <a:lnTo>
                    <a:pt x="702" y="743"/>
                  </a:lnTo>
                  <a:lnTo>
                    <a:pt x="697" y="744"/>
                  </a:lnTo>
                  <a:lnTo>
                    <a:pt x="692" y="743"/>
                  </a:lnTo>
                  <a:lnTo>
                    <a:pt x="677" y="741"/>
                  </a:lnTo>
                  <a:lnTo>
                    <a:pt x="660" y="739"/>
                  </a:lnTo>
                  <a:lnTo>
                    <a:pt x="655" y="727"/>
                  </a:lnTo>
                  <a:lnTo>
                    <a:pt x="648" y="714"/>
                  </a:lnTo>
                  <a:lnTo>
                    <a:pt x="641" y="719"/>
                  </a:lnTo>
                  <a:lnTo>
                    <a:pt x="636" y="724"/>
                  </a:lnTo>
                  <a:lnTo>
                    <a:pt x="633" y="729"/>
                  </a:lnTo>
                  <a:lnTo>
                    <a:pt x="631" y="736"/>
                  </a:lnTo>
                  <a:lnTo>
                    <a:pt x="618" y="737"/>
                  </a:lnTo>
                  <a:lnTo>
                    <a:pt x="606" y="737"/>
                  </a:lnTo>
                  <a:lnTo>
                    <a:pt x="602" y="736"/>
                  </a:lnTo>
                  <a:lnTo>
                    <a:pt x="597" y="734"/>
                  </a:lnTo>
                  <a:lnTo>
                    <a:pt x="594" y="731"/>
                  </a:lnTo>
                  <a:lnTo>
                    <a:pt x="591" y="726"/>
                  </a:lnTo>
                  <a:lnTo>
                    <a:pt x="584" y="729"/>
                  </a:lnTo>
                  <a:lnTo>
                    <a:pt x="577" y="731"/>
                  </a:lnTo>
                  <a:lnTo>
                    <a:pt x="572" y="731"/>
                  </a:lnTo>
                  <a:lnTo>
                    <a:pt x="567" y="727"/>
                  </a:lnTo>
                  <a:lnTo>
                    <a:pt x="562" y="722"/>
                  </a:lnTo>
                  <a:lnTo>
                    <a:pt x="559" y="716"/>
                  </a:lnTo>
                  <a:lnTo>
                    <a:pt x="555" y="707"/>
                  </a:lnTo>
                  <a:lnTo>
                    <a:pt x="552" y="695"/>
                  </a:lnTo>
                  <a:lnTo>
                    <a:pt x="544" y="689"/>
                  </a:lnTo>
                  <a:lnTo>
                    <a:pt x="532" y="682"/>
                  </a:lnTo>
                  <a:lnTo>
                    <a:pt x="520" y="677"/>
                  </a:lnTo>
                  <a:lnTo>
                    <a:pt x="506" y="672"/>
                  </a:lnTo>
                  <a:lnTo>
                    <a:pt x="478" y="665"/>
                  </a:lnTo>
                  <a:lnTo>
                    <a:pt x="449" y="657"/>
                  </a:lnTo>
                  <a:lnTo>
                    <a:pt x="451" y="638"/>
                  </a:lnTo>
                  <a:lnTo>
                    <a:pt x="451" y="620"/>
                  </a:lnTo>
                  <a:lnTo>
                    <a:pt x="446" y="609"/>
                  </a:lnTo>
                  <a:lnTo>
                    <a:pt x="441" y="603"/>
                  </a:lnTo>
                  <a:lnTo>
                    <a:pt x="436" y="599"/>
                  </a:lnTo>
                  <a:lnTo>
                    <a:pt x="431" y="599"/>
                  </a:lnTo>
                  <a:lnTo>
                    <a:pt x="432" y="618"/>
                  </a:lnTo>
                  <a:lnTo>
                    <a:pt x="432" y="636"/>
                  </a:lnTo>
                  <a:lnTo>
                    <a:pt x="427" y="631"/>
                  </a:lnTo>
                  <a:lnTo>
                    <a:pt x="422" y="626"/>
                  </a:lnTo>
                  <a:lnTo>
                    <a:pt x="422" y="638"/>
                  </a:lnTo>
                  <a:lnTo>
                    <a:pt x="421" y="648"/>
                  </a:lnTo>
                  <a:lnTo>
                    <a:pt x="414" y="643"/>
                  </a:lnTo>
                  <a:lnTo>
                    <a:pt x="405" y="638"/>
                  </a:lnTo>
                  <a:lnTo>
                    <a:pt x="405" y="643"/>
                  </a:lnTo>
                  <a:lnTo>
                    <a:pt x="407" y="650"/>
                  </a:lnTo>
                  <a:lnTo>
                    <a:pt x="404" y="655"/>
                  </a:lnTo>
                  <a:lnTo>
                    <a:pt x="400" y="660"/>
                  </a:lnTo>
                  <a:lnTo>
                    <a:pt x="390" y="663"/>
                  </a:lnTo>
                  <a:lnTo>
                    <a:pt x="380" y="665"/>
                  </a:lnTo>
                  <a:lnTo>
                    <a:pt x="372" y="665"/>
                  </a:lnTo>
                  <a:lnTo>
                    <a:pt x="363" y="665"/>
                  </a:lnTo>
                  <a:lnTo>
                    <a:pt x="355" y="663"/>
                  </a:lnTo>
                  <a:lnTo>
                    <a:pt x="348" y="660"/>
                  </a:lnTo>
                  <a:lnTo>
                    <a:pt x="342" y="657"/>
                  </a:lnTo>
                  <a:lnTo>
                    <a:pt x="335" y="652"/>
                  </a:lnTo>
                  <a:lnTo>
                    <a:pt x="330" y="645"/>
                  </a:lnTo>
                  <a:lnTo>
                    <a:pt x="323" y="640"/>
                  </a:lnTo>
                  <a:lnTo>
                    <a:pt x="315" y="636"/>
                  </a:lnTo>
                  <a:lnTo>
                    <a:pt x="304" y="631"/>
                  </a:lnTo>
                  <a:lnTo>
                    <a:pt x="296" y="633"/>
                  </a:lnTo>
                  <a:lnTo>
                    <a:pt x="288" y="631"/>
                  </a:lnTo>
                  <a:lnTo>
                    <a:pt x="283" y="628"/>
                  </a:lnTo>
                  <a:lnTo>
                    <a:pt x="279" y="625"/>
                  </a:lnTo>
                  <a:lnTo>
                    <a:pt x="274" y="615"/>
                  </a:lnTo>
                  <a:lnTo>
                    <a:pt x="273" y="603"/>
                  </a:lnTo>
                  <a:lnTo>
                    <a:pt x="273" y="583"/>
                  </a:lnTo>
                  <a:lnTo>
                    <a:pt x="274" y="562"/>
                  </a:lnTo>
                  <a:lnTo>
                    <a:pt x="264" y="556"/>
                  </a:lnTo>
                  <a:lnTo>
                    <a:pt x="254" y="549"/>
                  </a:lnTo>
                  <a:lnTo>
                    <a:pt x="249" y="540"/>
                  </a:lnTo>
                  <a:lnTo>
                    <a:pt x="244" y="532"/>
                  </a:lnTo>
                  <a:lnTo>
                    <a:pt x="229" y="517"/>
                  </a:lnTo>
                  <a:lnTo>
                    <a:pt x="214" y="502"/>
                  </a:lnTo>
                  <a:lnTo>
                    <a:pt x="214" y="500"/>
                  </a:lnTo>
                  <a:lnTo>
                    <a:pt x="214" y="497"/>
                  </a:lnTo>
                  <a:lnTo>
                    <a:pt x="224" y="503"/>
                  </a:lnTo>
                  <a:lnTo>
                    <a:pt x="234" y="512"/>
                  </a:lnTo>
                  <a:lnTo>
                    <a:pt x="230" y="503"/>
                  </a:lnTo>
                  <a:lnTo>
                    <a:pt x="227" y="495"/>
                  </a:lnTo>
                  <a:lnTo>
                    <a:pt x="222" y="490"/>
                  </a:lnTo>
                  <a:lnTo>
                    <a:pt x="217" y="485"/>
                  </a:lnTo>
                  <a:lnTo>
                    <a:pt x="217" y="478"/>
                  </a:lnTo>
                  <a:lnTo>
                    <a:pt x="215" y="473"/>
                  </a:lnTo>
                  <a:lnTo>
                    <a:pt x="210" y="476"/>
                  </a:lnTo>
                  <a:lnTo>
                    <a:pt x="205" y="480"/>
                  </a:lnTo>
                  <a:lnTo>
                    <a:pt x="187" y="483"/>
                  </a:lnTo>
                  <a:lnTo>
                    <a:pt x="170" y="481"/>
                  </a:lnTo>
                  <a:lnTo>
                    <a:pt x="161" y="480"/>
                  </a:lnTo>
                  <a:lnTo>
                    <a:pt x="155" y="478"/>
                  </a:lnTo>
                  <a:lnTo>
                    <a:pt x="148" y="475"/>
                  </a:lnTo>
                  <a:lnTo>
                    <a:pt x="141" y="471"/>
                  </a:lnTo>
                  <a:lnTo>
                    <a:pt x="128" y="470"/>
                  </a:lnTo>
                  <a:lnTo>
                    <a:pt x="113" y="468"/>
                  </a:lnTo>
                  <a:lnTo>
                    <a:pt x="116" y="451"/>
                  </a:lnTo>
                  <a:lnTo>
                    <a:pt x="118" y="433"/>
                  </a:lnTo>
                  <a:lnTo>
                    <a:pt x="119" y="414"/>
                  </a:lnTo>
                  <a:lnTo>
                    <a:pt x="119" y="397"/>
                  </a:lnTo>
                  <a:lnTo>
                    <a:pt x="119" y="389"/>
                  </a:lnTo>
                  <a:lnTo>
                    <a:pt x="116" y="380"/>
                  </a:lnTo>
                  <a:lnTo>
                    <a:pt x="113" y="374"/>
                  </a:lnTo>
                  <a:lnTo>
                    <a:pt x="108" y="369"/>
                  </a:lnTo>
                  <a:lnTo>
                    <a:pt x="104" y="367"/>
                  </a:lnTo>
                  <a:lnTo>
                    <a:pt x="101" y="367"/>
                  </a:lnTo>
                  <a:lnTo>
                    <a:pt x="99" y="360"/>
                  </a:lnTo>
                  <a:lnTo>
                    <a:pt x="101" y="347"/>
                  </a:lnTo>
                  <a:lnTo>
                    <a:pt x="103" y="333"/>
                  </a:lnTo>
                  <a:lnTo>
                    <a:pt x="101" y="320"/>
                  </a:lnTo>
                  <a:lnTo>
                    <a:pt x="99" y="311"/>
                  </a:lnTo>
                  <a:lnTo>
                    <a:pt x="96" y="305"/>
                  </a:lnTo>
                  <a:lnTo>
                    <a:pt x="91" y="298"/>
                  </a:lnTo>
                  <a:lnTo>
                    <a:pt x="82" y="291"/>
                  </a:lnTo>
                  <a:lnTo>
                    <a:pt x="76" y="284"/>
                  </a:lnTo>
                  <a:lnTo>
                    <a:pt x="71" y="279"/>
                  </a:lnTo>
                  <a:lnTo>
                    <a:pt x="64" y="274"/>
                  </a:lnTo>
                  <a:lnTo>
                    <a:pt x="57" y="271"/>
                  </a:lnTo>
                  <a:lnTo>
                    <a:pt x="49" y="268"/>
                  </a:lnTo>
                  <a:lnTo>
                    <a:pt x="40" y="268"/>
                  </a:lnTo>
                  <a:lnTo>
                    <a:pt x="32" y="268"/>
                  </a:lnTo>
                  <a:lnTo>
                    <a:pt x="22" y="269"/>
                  </a:lnTo>
                  <a:lnTo>
                    <a:pt x="12" y="252"/>
                  </a:lnTo>
                  <a:lnTo>
                    <a:pt x="2" y="237"/>
                  </a:lnTo>
                  <a:lnTo>
                    <a:pt x="0" y="227"/>
                  </a:lnTo>
                  <a:lnTo>
                    <a:pt x="2" y="217"/>
                  </a:lnTo>
                  <a:lnTo>
                    <a:pt x="5" y="210"/>
                  </a:lnTo>
                  <a:lnTo>
                    <a:pt x="12" y="204"/>
                  </a:lnTo>
                  <a:lnTo>
                    <a:pt x="32" y="178"/>
                  </a:lnTo>
                  <a:lnTo>
                    <a:pt x="50" y="160"/>
                  </a:lnTo>
                  <a:lnTo>
                    <a:pt x="60" y="138"/>
                  </a:lnTo>
                  <a:lnTo>
                    <a:pt x="69" y="118"/>
                  </a:lnTo>
                  <a:lnTo>
                    <a:pt x="71" y="104"/>
                  </a:lnTo>
                  <a:lnTo>
                    <a:pt x="74" y="89"/>
                  </a:lnTo>
                  <a:lnTo>
                    <a:pt x="74" y="82"/>
                  </a:lnTo>
                  <a:lnTo>
                    <a:pt x="76" y="77"/>
                  </a:lnTo>
                  <a:lnTo>
                    <a:pt x="79" y="74"/>
                  </a:lnTo>
                  <a:lnTo>
                    <a:pt x="82" y="74"/>
                  </a:lnTo>
                  <a:lnTo>
                    <a:pt x="87" y="74"/>
                  </a:lnTo>
                  <a:lnTo>
                    <a:pt x="94" y="76"/>
                  </a:lnTo>
                  <a:lnTo>
                    <a:pt x="103" y="74"/>
                  </a:lnTo>
                  <a:lnTo>
                    <a:pt x="113" y="71"/>
                  </a:lnTo>
                  <a:lnTo>
                    <a:pt x="121" y="66"/>
                  </a:lnTo>
                  <a:lnTo>
                    <a:pt x="128" y="60"/>
                  </a:lnTo>
                  <a:lnTo>
                    <a:pt x="134" y="54"/>
                  </a:lnTo>
                  <a:lnTo>
                    <a:pt x="140" y="45"/>
                  </a:lnTo>
                  <a:lnTo>
                    <a:pt x="145" y="35"/>
                  </a:lnTo>
                  <a:lnTo>
                    <a:pt x="150" y="25"/>
                  </a:lnTo>
                  <a:lnTo>
                    <a:pt x="150" y="12"/>
                  </a:lnTo>
                  <a:lnTo>
                    <a:pt x="153" y="5"/>
                  </a:lnTo>
                  <a:lnTo>
                    <a:pt x="155" y="3"/>
                  </a:lnTo>
                  <a:lnTo>
                    <a:pt x="158" y="2"/>
                  </a:lnTo>
                  <a:lnTo>
                    <a:pt x="161" y="3"/>
                  </a:lnTo>
                  <a:lnTo>
                    <a:pt x="166" y="7"/>
                  </a:lnTo>
                  <a:lnTo>
                    <a:pt x="172" y="12"/>
                  </a:lnTo>
                  <a:lnTo>
                    <a:pt x="177" y="15"/>
                  </a:lnTo>
                  <a:lnTo>
                    <a:pt x="178" y="15"/>
                  </a:lnTo>
                  <a:lnTo>
                    <a:pt x="182" y="13"/>
                  </a:lnTo>
                  <a:lnTo>
                    <a:pt x="183" y="12"/>
                  </a:lnTo>
                  <a:lnTo>
                    <a:pt x="187" y="8"/>
                  </a:lnTo>
                  <a:lnTo>
                    <a:pt x="188" y="5"/>
                  </a:lnTo>
                  <a:lnTo>
                    <a:pt x="190" y="0"/>
                  </a:lnTo>
                  <a:lnTo>
                    <a:pt x="200" y="5"/>
                  </a:lnTo>
                  <a:lnTo>
                    <a:pt x="210" y="13"/>
                  </a:lnTo>
                  <a:lnTo>
                    <a:pt x="215" y="15"/>
                  </a:lnTo>
                  <a:lnTo>
                    <a:pt x="219" y="17"/>
                  </a:lnTo>
                  <a:lnTo>
                    <a:pt x="220" y="20"/>
                  </a:lnTo>
                  <a:lnTo>
                    <a:pt x="222" y="23"/>
                  </a:lnTo>
                  <a:lnTo>
                    <a:pt x="220" y="25"/>
                  </a:lnTo>
                  <a:lnTo>
                    <a:pt x="219" y="28"/>
                  </a:lnTo>
                  <a:lnTo>
                    <a:pt x="215" y="30"/>
                  </a:lnTo>
                  <a:lnTo>
                    <a:pt x="212" y="32"/>
                  </a:lnTo>
                  <a:lnTo>
                    <a:pt x="210" y="49"/>
                  </a:lnTo>
                  <a:lnTo>
                    <a:pt x="212" y="67"/>
                  </a:lnTo>
                  <a:lnTo>
                    <a:pt x="214" y="87"/>
                  </a:lnTo>
                  <a:lnTo>
                    <a:pt x="217" y="108"/>
                  </a:lnTo>
                  <a:lnTo>
                    <a:pt x="215" y="116"/>
                  </a:lnTo>
                  <a:lnTo>
                    <a:pt x="214" y="126"/>
                  </a:lnTo>
                  <a:lnTo>
                    <a:pt x="214" y="131"/>
                  </a:lnTo>
                  <a:lnTo>
                    <a:pt x="214" y="136"/>
                  </a:lnTo>
                  <a:lnTo>
                    <a:pt x="217" y="141"/>
                  </a:lnTo>
                  <a:lnTo>
                    <a:pt x="220" y="148"/>
                  </a:lnTo>
                  <a:lnTo>
                    <a:pt x="224" y="162"/>
                  </a:lnTo>
                  <a:lnTo>
                    <a:pt x="224" y="173"/>
                  </a:lnTo>
                  <a:lnTo>
                    <a:pt x="224" y="185"/>
                  </a:lnTo>
                  <a:lnTo>
                    <a:pt x="222" y="195"/>
                  </a:lnTo>
                  <a:lnTo>
                    <a:pt x="219" y="204"/>
                  </a:lnTo>
                  <a:lnTo>
                    <a:pt x="215" y="212"/>
                  </a:lnTo>
                  <a:lnTo>
                    <a:pt x="210" y="219"/>
                  </a:lnTo>
                  <a:lnTo>
                    <a:pt x="204" y="226"/>
                  </a:lnTo>
                  <a:lnTo>
                    <a:pt x="200" y="239"/>
                  </a:lnTo>
                  <a:lnTo>
                    <a:pt x="198" y="247"/>
                  </a:lnTo>
                  <a:lnTo>
                    <a:pt x="198" y="254"/>
                  </a:lnTo>
                  <a:lnTo>
                    <a:pt x="200" y="259"/>
                  </a:lnTo>
                  <a:lnTo>
                    <a:pt x="204" y="261"/>
                  </a:lnTo>
                  <a:lnTo>
                    <a:pt x="207" y="259"/>
                  </a:lnTo>
                  <a:lnTo>
                    <a:pt x="212" y="259"/>
                  </a:lnTo>
                  <a:lnTo>
                    <a:pt x="217" y="256"/>
                  </a:lnTo>
                  <a:lnTo>
                    <a:pt x="230" y="258"/>
                  </a:lnTo>
                  <a:lnTo>
                    <a:pt x="241" y="261"/>
                  </a:lnTo>
                  <a:lnTo>
                    <a:pt x="247" y="264"/>
                  </a:lnTo>
                  <a:lnTo>
                    <a:pt x="254" y="268"/>
                  </a:lnTo>
                  <a:lnTo>
                    <a:pt x="257" y="273"/>
                  </a:lnTo>
                  <a:lnTo>
                    <a:pt x="257" y="278"/>
                  </a:lnTo>
                  <a:lnTo>
                    <a:pt x="256" y="284"/>
                  </a:lnTo>
                  <a:lnTo>
                    <a:pt x="252" y="293"/>
                  </a:lnTo>
                  <a:lnTo>
                    <a:pt x="247" y="301"/>
                  </a:lnTo>
                  <a:lnTo>
                    <a:pt x="242" y="310"/>
                  </a:lnTo>
                  <a:lnTo>
                    <a:pt x="241" y="315"/>
                  </a:lnTo>
                  <a:lnTo>
                    <a:pt x="242" y="320"/>
                  </a:lnTo>
                  <a:lnTo>
                    <a:pt x="244" y="322"/>
                  </a:lnTo>
                  <a:lnTo>
                    <a:pt x="249" y="323"/>
                  </a:lnTo>
                  <a:lnTo>
                    <a:pt x="254" y="322"/>
                  </a:lnTo>
                  <a:lnTo>
                    <a:pt x="262" y="322"/>
                  </a:lnTo>
                  <a:lnTo>
                    <a:pt x="279" y="332"/>
                  </a:lnTo>
                  <a:lnTo>
                    <a:pt x="296" y="343"/>
                  </a:lnTo>
                  <a:lnTo>
                    <a:pt x="304" y="352"/>
                  </a:lnTo>
                  <a:lnTo>
                    <a:pt x="313" y="360"/>
                  </a:lnTo>
                  <a:lnTo>
                    <a:pt x="321" y="369"/>
                  </a:lnTo>
                  <a:lnTo>
                    <a:pt x="328" y="380"/>
                  </a:lnTo>
                  <a:lnTo>
                    <a:pt x="333" y="386"/>
                  </a:lnTo>
                  <a:lnTo>
                    <a:pt x="338" y="389"/>
                  </a:lnTo>
                  <a:lnTo>
                    <a:pt x="343" y="391"/>
                  </a:lnTo>
                  <a:lnTo>
                    <a:pt x="347" y="391"/>
                  </a:lnTo>
                  <a:lnTo>
                    <a:pt x="353" y="387"/>
                  </a:lnTo>
                  <a:lnTo>
                    <a:pt x="358" y="380"/>
                  </a:lnTo>
                  <a:lnTo>
                    <a:pt x="380" y="355"/>
                  </a:lnTo>
                  <a:lnTo>
                    <a:pt x="400" y="330"/>
                  </a:lnTo>
                  <a:lnTo>
                    <a:pt x="405" y="323"/>
                  </a:lnTo>
                  <a:lnTo>
                    <a:pt x="409" y="316"/>
                  </a:lnTo>
                  <a:lnTo>
                    <a:pt x="411" y="310"/>
                  </a:lnTo>
                  <a:lnTo>
                    <a:pt x="411" y="305"/>
                  </a:lnTo>
                  <a:lnTo>
                    <a:pt x="407" y="301"/>
                  </a:lnTo>
                  <a:lnTo>
                    <a:pt x="402" y="301"/>
                  </a:lnTo>
                  <a:lnTo>
                    <a:pt x="395" y="303"/>
                  </a:lnTo>
                  <a:lnTo>
                    <a:pt x="387" y="308"/>
                  </a:lnTo>
                  <a:lnTo>
                    <a:pt x="380" y="311"/>
                  </a:lnTo>
                  <a:lnTo>
                    <a:pt x="375" y="313"/>
                  </a:lnTo>
                  <a:lnTo>
                    <a:pt x="372" y="313"/>
                  </a:lnTo>
                  <a:lnTo>
                    <a:pt x="368" y="311"/>
                  </a:lnTo>
                  <a:lnTo>
                    <a:pt x="367" y="308"/>
                  </a:lnTo>
                  <a:lnTo>
                    <a:pt x="367" y="303"/>
                  </a:lnTo>
                  <a:lnTo>
                    <a:pt x="367" y="296"/>
                  </a:lnTo>
                  <a:lnTo>
                    <a:pt x="368" y="288"/>
                  </a:lnTo>
                  <a:lnTo>
                    <a:pt x="370" y="263"/>
                  </a:lnTo>
                  <a:lnTo>
                    <a:pt x="372" y="239"/>
                  </a:lnTo>
                  <a:lnTo>
                    <a:pt x="374" y="227"/>
                  </a:lnTo>
                  <a:lnTo>
                    <a:pt x="377" y="219"/>
                  </a:lnTo>
                  <a:lnTo>
                    <a:pt x="382" y="214"/>
                  </a:lnTo>
                  <a:lnTo>
                    <a:pt x="389" y="210"/>
                  </a:lnTo>
                  <a:lnTo>
                    <a:pt x="390" y="204"/>
                  </a:lnTo>
                  <a:lnTo>
                    <a:pt x="394" y="199"/>
                  </a:lnTo>
                  <a:lnTo>
                    <a:pt x="395" y="197"/>
                  </a:lnTo>
                  <a:lnTo>
                    <a:pt x="399" y="195"/>
                  </a:lnTo>
                  <a:lnTo>
                    <a:pt x="400" y="199"/>
                  </a:lnTo>
                  <a:lnTo>
                    <a:pt x="404" y="202"/>
                  </a:lnTo>
                  <a:lnTo>
                    <a:pt x="405" y="210"/>
                  </a:lnTo>
                  <a:lnTo>
                    <a:pt x="409" y="219"/>
                  </a:lnTo>
                  <a:lnTo>
                    <a:pt x="411" y="237"/>
                  </a:lnTo>
                  <a:lnTo>
                    <a:pt x="414" y="252"/>
                  </a:lnTo>
                  <a:lnTo>
                    <a:pt x="417" y="264"/>
                  </a:lnTo>
                  <a:lnTo>
                    <a:pt x="424" y="274"/>
                  </a:lnTo>
                  <a:lnTo>
                    <a:pt x="431" y="281"/>
                  </a:lnTo>
                  <a:lnTo>
                    <a:pt x="437" y="286"/>
                  </a:lnTo>
                  <a:lnTo>
                    <a:pt x="448" y="288"/>
                  </a:lnTo>
                  <a:lnTo>
                    <a:pt x="458" y="288"/>
                  </a:lnTo>
                  <a:lnTo>
                    <a:pt x="459" y="296"/>
                  </a:lnTo>
                  <a:lnTo>
                    <a:pt x="464" y="305"/>
                  </a:lnTo>
                  <a:lnTo>
                    <a:pt x="469" y="308"/>
                  </a:lnTo>
                  <a:lnTo>
                    <a:pt x="475" y="310"/>
                  </a:lnTo>
                  <a:lnTo>
                    <a:pt x="481" y="311"/>
                  </a:lnTo>
                  <a:lnTo>
                    <a:pt x="490" y="313"/>
                  </a:lnTo>
                  <a:lnTo>
                    <a:pt x="495" y="325"/>
                  </a:lnTo>
                  <a:lnTo>
                    <a:pt x="500" y="335"/>
                  </a:lnTo>
                  <a:lnTo>
                    <a:pt x="503" y="338"/>
                  </a:lnTo>
                  <a:lnTo>
                    <a:pt x="506" y="342"/>
                  </a:lnTo>
                  <a:lnTo>
                    <a:pt x="510" y="345"/>
                  </a:lnTo>
                  <a:lnTo>
                    <a:pt x="513" y="347"/>
                  </a:lnTo>
                  <a:lnTo>
                    <a:pt x="510" y="359"/>
                  </a:lnTo>
                  <a:lnTo>
                    <a:pt x="505" y="370"/>
                  </a:lnTo>
                  <a:lnTo>
                    <a:pt x="503" y="377"/>
                  </a:lnTo>
                  <a:lnTo>
                    <a:pt x="503" y="382"/>
                  </a:lnTo>
                  <a:lnTo>
                    <a:pt x="503" y="386"/>
                  </a:lnTo>
                  <a:lnTo>
                    <a:pt x="505" y="389"/>
                  </a:lnTo>
                  <a:lnTo>
                    <a:pt x="508" y="389"/>
                  </a:lnTo>
                  <a:lnTo>
                    <a:pt x="512" y="389"/>
                  </a:lnTo>
                  <a:lnTo>
                    <a:pt x="517" y="389"/>
                  </a:lnTo>
                  <a:lnTo>
                    <a:pt x="522" y="386"/>
                  </a:lnTo>
                  <a:lnTo>
                    <a:pt x="527" y="382"/>
                  </a:lnTo>
                  <a:lnTo>
                    <a:pt x="530" y="379"/>
                  </a:lnTo>
                  <a:lnTo>
                    <a:pt x="533" y="379"/>
                  </a:lnTo>
                  <a:lnTo>
                    <a:pt x="535" y="380"/>
                  </a:lnTo>
                  <a:lnTo>
                    <a:pt x="537" y="384"/>
                  </a:lnTo>
                  <a:lnTo>
                    <a:pt x="538" y="389"/>
                  </a:lnTo>
                  <a:lnTo>
                    <a:pt x="537" y="394"/>
                  </a:lnTo>
                  <a:lnTo>
                    <a:pt x="537" y="402"/>
                  </a:lnTo>
                  <a:lnTo>
                    <a:pt x="535" y="426"/>
                  </a:lnTo>
                  <a:lnTo>
                    <a:pt x="532" y="451"/>
                  </a:lnTo>
                  <a:lnTo>
                    <a:pt x="535" y="461"/>
                  </a:lnTo>
                  <a:lnTo>
                    <a:pt x="538" y="468"/>
                  </a:lnTo>
                  <a:lnTo>
                    <a:pt x="542" y="473"/>
                  </a:lnTo>
                  <a:lnTo>
                    <a:pt x="545" y="475"/>
                  </a:lnTo>
                  <a:lnTo>
                    <a:pt x="550" y="475"/>
                  </a:lnTo>
                  <a:lnTo>
                    <a:pt x="554" y="470"/>
                  </a:lnTo>
                  <a:lnTo>
                    <a:pt x="559" y="465"/>
                  </a:lnTo>
                  <a:lnTo>
                    <a:pt x="565" y="455"/>
                  </a:lnTo>
                  <a:lnTo>
                    <a:pt x="574" y="443"/>
                  </a:lnTo>
                  <a:lnTo>
                    <a:pt x="582" y="429"/>
                  </a:lnTo>
                  <a:lnTo>
                    <a:pt x="591" y="416"/>
                  </a:lnTo>
                  <a:lnTo>
                    <a:pt x="599" y="404"/>
                  </a:lnTo>
                  <a:lnTo>
                    <a:pt x="611" y="382"/>
                  </a:lnTo>
                  <a:lnTo>
                    <a:pt x="623" y="365"/>
                  </a:lnTo>
                  <a:lnTo>
                    <a:pt x="629" y="360"/>
                  </a:lnTo>
                  <a:lnTo>
                    <a:pt x="634" y="355"/>
                  </a:lnTo>
                  <a:lnTo>
                    <a:pt x="641" y="352"/>
                  </a:lnTo>
                  <a:lnTo>
                    <a:pt x="646" y="350"/>
                  </a:lnTo>
                  <a:lnTo>
                    <a:pt x="658" y="347"/>
                  </a:lnTo>
                  <a:lnTo>
                    <a:pt x="670" y="343"/>
                  </a:lnTo>
                  <a:lnTo>
                    <a:pt x="671" y="347"/>
                  </a:lnTo>
                  <a:lnTo>
                    <a:pt x="680" y="350"/>
                  </a:lnTo>
                  <a:lnTo>
                    <a:pt x="692" y="342"/>
                  </a:lnTo>
                  <a:lnTo>
                    <a:pt x="695" y="332"/>
                  </a:lnTo>
                  <a:lnTo>
                    <a:pt x="705" y="327"/>
                  </a:lnTo>
                  <a:close/>
                </a:path>
              </a:pathLst>
            </a:custGeom>
            <a:solidFill>
              <a:srgbClr val="CCECFF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333024" name="Freeform 15"/>
            <p:cNvSpPr>
              <a:spLocks noChangeAspect="1"/>
            </p:cNvSpPr>
            <p:nvPr/>
          </p:nvSpPr>
          <p:spPr bwMode="auto">
            <a:xfrm>
              <a:off x="3920" y="2535"/>
              <a:ext cx="69" cy="59"/>
            </a:xfrm>
            <a:custGeom>
              <a:avLst/>
              <a:gdLst>
                <a:gd name="T0" fmla="*/ 26 w 69"/>
                <a:gd name="T1" fmla="*/ 44 h 59"/>
                <a:gd name="T2" fmla="*/ 20 w 69"/>
                <a:gd name="T3" fmla="*/ 49 h 59"/>
                <a:gd name="T4" fmla="*/ 13 w 69"/>
                <a:gd name="T5" fmla="*/ 54 h 59"/>
                <a:gd name="T6" fmla="*/ 6 w 69"/>
                <a:gd name="T7" fmla="*/ 59 h 59"/>
                <a:gd name="T8" fmla="*/ 3 w 69"/>
                <a:gd name="T9" fmla="*/ 59 h 59"/>
                <a:gd name="T10" fmla="*/ 0 w 69"/>
                <a:gd name="T11" fmla="*/ 56 h 59"/>
                <a:gd name="T12" fmla="*/ 1 w 69"/>
                <a:gd name="T13" fmla="*/ 47 h 59"/>
                <a:gd name="T14" fmla="*/ 3 w 69"/>
                <a:gd name="T15" fmla="*/ 32 h 59"/>
                <a:gd name="T16" fmla="*/ 5 w 69"/>
                <a:gd name="T17" fmla="*/ 19 h 59"/>
                <a:gd name="T18" fmla="*/ 6 w 69"/>
                <a:gd name="T19" fmla="*/ 12 h 59"/>
                <a:gd name="T20" fmla="*/ 8 w 69"/>
                <a:gd name="T21" fmla="*/ 9 h 59"/>
                <a:gd name="T22" fmla="*/ 13 w 69"/>
                <a:gd name="T23" fmla="*/ 4 h 59"/>
                <a:gd name="T24" fmla="*/ 18 w 69"/>
                <a:gd name="T25" fmla="*/ 0 h 59"/>
                <a:gd name="T26" fmla="*/ 43 w 69"/>
                <a:gd name="T27" fmla="*/ 5 h 59"/>
                <a:gd name="T28" fmla="*/ 69 w 69"/>
                <a:gd name="T29" fmla="*/ 10 h 59"/>
                <a:gd name="T30" fmla="*/ 55 w 69"/>
                <a:gd name="T31" fmla="*/ 24 h 59"/>
                <a:gd name="T32" fmla="*/ 45 w 69"/>
                <a:gd name="T33" fmla="*/ 36 h 59"/>
                <a:gd name="T34" fmla="*/ 40 w 69"/>
                <a:gd name="T35" fmla="*/ 41 h 59"/>
                <a:gd name="T36" fmla="*/ 35 w 69"/>
                <a:gd name="T37" fmla="*/ 42 h 59"/>
                <a:gd name="T38" fmla="*/ 30 w 69"/>
                <a:gd name="T39" fmla="*/ 44 h 59"/>
                <a:gd name="T40" fmla="*/ 26 w 69"/>
                <a:gd name="T41" fmla="*/ 44 h 59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69"/>
                <a:gd name="T64" fmla="*/ 0 h 59"/>
                <a:gd name="T65" fmla="*/ 69 w 69"/>
                <a:gd name="T66" fmla="*/ 59 h 59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69" h="59">
                  <a:moveTo>
                    <a:pt x="26" y="44"/>
                  </a:moveTo>
                  <a:lnTo>
                    <a:pt x="20" y="49"/>
                  </a:lnTo>
                  <a:lnTo>
                    <a:pt x="13" y="54"/>
                  </a:lnTo>
                  <a:lnTo>
                    <a:pt x="6" y="59"/>
                  </a:lnTo>
                  <a:lnTo>
                    <a:pt x="3" y="59"/>
                  </a:lnTo>
                  <a:lnTo>
                    <a:pt x="0" y="56"/>
                  </a:lnTo>
                  <a:lnTo>
                    <a:pt x="1" y="47"/>
                  </a:lnTo>
                  <a:lnTo>
                    <a:pt x="3" y="32"/>
                  </a:lnTo>
                  <a:lnTo>
                    <a:pt x="5" y="19"/>
                  </a:lnTo>
                  <a:lnTo>
                    <a:pt x="6" y="12"/>
                  </a:lnTo>
                  <a:lnTo>
                    <a:pt x="8" y="9"/>
                  </a:lnTo>
                  <a:lnTo>
                    <a:pt x="13" y="4"/>
                  </a:lnTo>
                  <a:lnTo>
                    <a:pt x="18" y="0"/>
                  </a:lnTo>
                  <a:lnTo>
                    <a:pt x="43" y="5"/>
                  </a:lnTo>
                  <a:lnTo>
                    <a:pt x="69" y="10"/>
                  </a:lnTo>
                  <a:lnTo>
                    <a:pt x="55" y="24"/>
                  </a:lnTo>
                  <a:lnTo>
                    <a:pt x="45" y="36"/>
                  </a:lnTo>
                  <a:lnTo>
                    <a:pt x="40" y="41"/>
                  </a:lnTo>
                  <a:lnTo>
                    <a:pt x="35" y="42"/>
                  </a:lnTo>
                  <a:lnTo>
                    <a:pt x="30" y="44"/>
                  </a:lnTo>
                  <a:lnTo>
                    <a:pt x="26" y="44"/>
                  </a:lnTo>
                </a:path>
              </a:pathLst>
            </a:custGeom>
            <a:solidFill>
              <a:srgbClr val="CCECFF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</p:grpSp>
      <p:sp>
        <p:nvSpPr>
          <p:cNvPr id="332905" name="Freeform 16"/>
          <p:cNvSpPr>
            <a:spLocks noChangeAspect="1"/>
          </p:cNvSpPr>
          <p:nvPr>
            <p:custDataLst>
              <p:tags r:id="rId11"/>
            </p:custDataLst>
          </p:nvPr>
        </p:nvSpPr>
        <p:spPr bwMode="auto">
          <a:xfrm>
            <a:off x="6991350" y="2366963"/>
            <a:ext cx="1193800" cy="969962"/>
          </a:xfrm>
          <a:custGeom>
            <a:avLst/>
            <a:gdLst>
              <a:gd name="T0" fmla="*/ 2147483647 w 754"/>
              <a:gd name="T1" fmla="*/ 2147483647 h 610"/>
              <a:gd name="T2" fmla="*/ 2147483647 w 754"/>
              <a:gd name="T3" fmla="*/ 2147483647 h 610"/>
              <a:gd name="T4" fmla="*/ 2147483647 w 754"/>
              <a:gd name="T5" fmla="*/ 2147483647 h 610"/>
              <a:gd name="T6" fmla="*/ 2147483647 w 754"/>
              <a:gd name="T7" fmla="*/ 2147483647 h 610"/>
              <a:gd name="T8" fmla="*/ 2147483647 w 754"/>
              <a:gd name="T9" fmla="*/ 2147483647 h 610"/>
              <a:gd name="T10" fmla="*/ 2147483647 w 754"/>
              <a:gd name="T11" fmla="*/ 2147483647 h 610"/>
              <a:gd name="T12" fmla="*/ 2147483647 w 754"/>
              <a:gd name="T13" fmla="*/ 2147483647 h 610"/>
              <a:gd name="T14" fmla="*/ 2147483647 w 754"/>
              <a:gd name="T15" fmla="*/ 2147483647 h 610"/>
              <a:gd name="T16" fmla="*/ 2147483647 w 754"/>
              <a:gd name="T17" fmla="*/ 2147483647 h 610"/>
              <a:gd name="T18" fmla="*/ 2147483647 w 754"/>
              <a:gd name="T19" fmla="*/ 2147483647 h 610"/>
              <a:gd name="T20" fmla="*/ 2147483647 w 754"/>
              <a:gd name="T21" fmla="*/ 2147483647 h 610"/>
              <a:gd name="T22" fmla="*/ 2147483647 w 754"/>
              <a:gd name="T23" fmla="*/ 2147483647 h 610"/>
              <a:gd name="T24" fmla="*/ 2147483647 w 754"/>
              <a:gd name="T25" fmla="*/ 2147483647 h 610"/>
              <a:gd name="T26" fmla="*/ 2147483647 w 754"/>
              <a:gd name="T27" fmla="*/ 2147483647 h 610"/>
              <a:gd name="T28" fmla="*/ 2147483647 w 754"/>
              <a:gd name="T29" fmla="*/ 2147483647 h 610"/>
              <a:gd name="T30" fmla="*/ 2147483647 w 754"/>
              <a:gd name="T31" fmla="*/ 2147483647 h 610"/>
              <a:gd name="T32" fmla="*/ 2147483647 w 754"/>
              <a:gd name="T33" fmla="*/ 2147483647 h 610"/>
              <a:gd name="T34" fmla="*/ 2147483647 w 754"/>
              <a:gd name="T35" fmla="*/ 2147483647 h 610"/>
              <a:gd name="T36" fmla="*/ 2147483647 w 754"/>
              <a:gd name="T37" fmla="*/ 2147483647 h 610"/>
              <a:gd name="T38" fmla="*/ 2147483647 w 754"/>
              <a:gd name="T39" fmla="*/ 2147483647 h 610"/>
              <a:gd name="T40" fmla="*/ 2147483647 w 754"/>
              <a:gd name="T41" fmla="*/ 2147483647 h 610"/>
              <a:gd name="T42" fmla="*/ 2147483647 w 754"/>
              <a:gd name="T43" fmla="*/ 2147483647 h 610"/>
              <a:gd name="T44" fmla="*/ 2147483647 w 754"/>
              <a:gd name="T45" fmla="*/ 2147483647 h 610"/>
              <a:gd name="T46" fmla="*/ 2147483647 w 754"/>
              <a:gd name="T47" fmla="*/ 2147483647 h 610"/>
              <a:gd name="T48" fmla="*/ 2147483647 w 754"/>
              <a:gd name="T49" fmla="*/ 2147483647 h 610"/>
              <a:gd name="T50" fmla="*/ 2147483647 w 754"/>
              <a:gd name="T51" fmla="*/ 2147483647 h 610"/>
              <a:gd name="T52" fmla="*/ 2147483647 w 754"/>
              <a:gd name="T53" fmla="*/ 2147483647 h 610"/>
              <a:gd name="T54" fmla="*/ 2147483647 w 754"/>
              <a:gd name="T55" fmla="*/ 2147483647 h 610"/>
              <a:gd name="T56" fmla="*/ 2147483647 w 754"/>
              <a:gd name="T57" fmla="*/ 2147483647 h 610"/>
              <a:gd name="T58" fmla="*/ 2147483647 w 754"/>
              <a:gd name="T59" fmla="*/ 2147483647 h 610"/>
              <a:gd name="T60" fmla="*/ 2147483647 w 754"/>
              <a:gd name="T61" fmla="*/ 2147483647 h 610"/>
              <a:gd name="T62" fmla="*/ 2147483647 w 754"/>
              <a:gd name="T63" fmla="*/ 2147483647 h 610"/>
              <a:gd name="T64" fmla="*/ 2147483647 w 754"/>
              <a:gd name="T65" fmla="*/ 2147483647 h 610"/>
              <a:gd name="T66" fmla="*/ 2147483647 w 754"/>
              <a:gd name="T67" fmla="*/ 2147483647 h 610"/>
              <a:gd name="T68" fmla="*/ 2147483647 w 754"/>
              <a:gd name="T69" fmla="*/ 2147483647 h 610"/>
              <a:gd name="T70" fmla="*/ 2147483647 w 754"/>
              <a:gd name="T71" fmla="*/ 2147483647 h 610"/>
              <a:gd name="T72" fmla="*/ 2147483647 w 754"/>
              <a:gd name="T73" fmla="*/ 2147483647 h 610"/>
              <a:gd name="T74" fmla="*/ 2147483647 w 754"/>
              <a:gd name="T75" fmla="*/ 2147483647 h 610"/>
              <a:gd name="T76" fmla="*/ 2147483647 w 754"/>
              <a:gd name="T77" fmla="*/ 2147483647 h 610"/>
              <a:gd name="T78" fmla="*/ 2147483647 w 754"/>
              <a:gd name="T79" fmla="*/ 2147483647 h 610"/>
              <a:gd name="T80" fmla="*/ 2147483647 w 754"/>
              <a:gd name="T81" fmla="*/ 2147483647 h 610"/>
              <a:gd name="T82" fmla="*/ 2147483647 w 754"/>
              <a:gd name="T83" fmla="*/ 2147483647 h 610"/>
              <a:gd name="T84" fmla="*/ 2147483647 w 754"/>
              <a:gd name="T85" fmla="*/ 2147483647 h 610"/>
              <a:gd name="T86" fmla="*/ 2147483647 w 754"/>
              <a:gd name="T87" fmla="*/ 2147483647 h 610"/>
              <a:gd name="T88" fmla="*/ 2147483647 w 754"/>
              <a:gd name="T89" fmla="*/ 2147483647 h 610"/>
              <a:gd name="T90" fmla="*/ 2147483647 w 754"/>
              <a:gd name="T91" fmla="*/ 2147483647 h 610"/>
              <a:gd name="T92" fmla="*/ 2147483647 w 754"/>
              <a:gd name="T93" fmla="*/ 2147483647 h 610"/>
              <a:gd name="T94" fmla="*/ 2147483647 w 754"/>
              <a:gd name="T95" fmla="*/ 2147483647 h 610"/>
              <a:gd name="T96" fmla="*/ 2147483647 w 754"/>
              <a:gd name="T97" fmla="*/ 2147483647 h 610"/>
              <a:gd name="T98" fmla="*/ 2147483647 w 754"/>
              <a:gd name="T99" fmla="*/ 2147483647 h 610"/>
              <a:gd name="T100" fmla="*/ 2147483647 w 754"/>
              <a:gd name="T101" fmla="*/ 2147483647 h 610"/>
              <a:gd name="T102" fmla="*/ 2147483647 w 754"/>
              <a:gd name="T103" fmla="*/ 2147483647 h 610"/>
              <a:gd name="T104" fmla="*/ 2147483647 w 754"/>
              <a:gd name="T105" fmla="*/ 2147483647 h 610"/>
              <a:gd name="T106" fmla="*/ 2147483647 w 754"/>
              <a:gd name="T107" fmla="*/ 2147483647 h 610"/>
              <a:gd name="T108" fmla="*/ 2147483647 w 754"/>
              <a:gd name="T109" fmla="*/ 2147483647 h 610"/>
              <a:gd name="T110" fmla="*/ 2147483647 w 754"/>
              <a:gd name="T111" fmla="*/ 2147483647 h 610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754"/>
              <a:gd name="T169" fmla="*/ 0 h 610"/>
              <a:gd name="T170" fmla="*/ 754 w 754"/>
              <a:gd name="T171" fmla="*/ 610 h 610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754" h="610">
                <a:moveTo>
                  <a:pt x="52" y="125"/>
                </a:moveTo>
                <a:lnTo>
                  <a:pt x="62" y="148"/>
                </a:lnTo>
                <a:lnTo>
                  <a:pt x="72" y="174"/>
                </a:lnTo>
                <a:lnTo>
                  <a:pt x="64" y="179"/>
                </a:lnTo>
                <a:lnTo>
                  <a:pt x="56" y="182"/>
                </a:lnTo>
                <a:lnTo>
                  <a:pt x="56" y="190"/>
                </a:lnTo>
                <a:lnTo>
                  <a:pt x="56" y="197"/>
                </a:lnTo>
                <a:lnTo>
                  <a:pt x="54" y="204"/>
                </a:lnTo>
                <a:lnTo>
                  <a:pt x="52" y="211"/>
                </a:lnTo>
                <a:lnTo>
                  <a:pt x="59" y="217"/>
                </a:lnTo>
                <a:lnTo>
                  <a:pt x="66" y="224"/>
                </a:lnTo>
                <a:lnTo>
                  <a:pt x="69" y="226"/>
                </a:lnTo>
                <a:lnTo>
                  <a:pt x="74" y="226"/>
                </a:lnTo>
                <a:lnTo>
                  <a:pt x="77" y="226"/>
                </a:lnTo>
                <a:lnTo>
                  <a:pt x="81" y="224"/>
                </a:lnTo>
                <a:lnTo>
                  <a:pt x="89" y="222"/>
                </a:lnTo>
                <a:lnTo>
                  <a:pt x="98" y="222"/>
                </a:lnTo>
                <a:lnTo>
                  <a:pt x="106" y="224"/>
                </a:lnTo>
                <a:lnTo>
                  <a:pt x="113" y="226"/>
                </a:lnTo>
                <a:lnTo>
                  <a:pt x="118" y="229"/>
                </a:lnTo>
                <a:lnTo>
                  <a:pt x="123" y="234"/>
                </a:lnTo>
                <a:lnTo>
                  <a:pt x="125" y="241"/>
                </a:lnTo>
                <a:lnTo>
                  <a:pt x="128" y="249"/>
                </a:lnTo>
                <a:lnTo>
                  <a:pt x="130" y="265"/>
                </a:lnTo>
                <a:lnTo>
                  <a:pt x="135" y="276"/>
                </a:lnTo>
                <a:lnTo>
                  <a:pt x="136" y="281"/>
                </a:lnTo>
                <a:lnTo>
                  <a:pt x="140" y="285"/>
                </a:lnTo>
                <a:lnTo>
                  <a:pt x="145" y="286"/>
                </a:lnTo>
                <a:lnTo>
                  <a:pt x="148" y="288"/>
                </a:lnTo>
                <a:lnTo>
                  <a:pt x="153" y="278"/>
                </a:lnTo>
                <a:lnTo>
                  <a:pt x="158" y="270"/>
                </a:lnTo>
                <a:lnTo>
                  <a:pt x="163" y="263"/>
                </a:lnTo>
                <a:lnTo>
                  <a:pt x="168" y="259"/>
                </a:lnTo>
                <a:lnTo>
                  <a:pt x="163" y="251"/>
                </a:lnTo>
                <a:lnTo>
                  <a:pt x="158" y="243"/>
                </a:lnTo>
                <a:lnTo>
                  <a:pt x="165" y="239"/>
                </a:lnTo>
                <a:lnTo>
                  <a:pt x="172" y="236"/>
                </a:lnTo>
                <a:lnTo>
                  <a:pt x="182" y="234"/>
                </a:lnTo>
                <a:lnTo>
                  <a:pt x="192" y="236"/>
                </a:lnTo>
                <a:lnTo>
                  <a:pt x="192" y="248"/>
                </a:lnTo>
                <a:lnTo>
                  <a:pt x="194" y="259"/>
                </a:lnTo>
                <a:lnTo>
                  <a:pt x="202" y="266"/>
                </a:lnTo>
                <a:lnTo>
                  <a:pt x="209" y="273"/>
                </a:lnTo>
                <a:lnTo>
                  <a:pt x="215" y="270"/>
                </a:lnTo>
                <a:lnTo>
                  <a:pt x="219" y="266"/>
                </a:lnTo>
                <a:lnTo>
                  <a:pt x="222" y="263"/>
                </a:lnTo>
                <a:lnTo>
                  <a:pt x="226" y="258"/>
                </a:lnTo>
                <a:lnTo>
                  <a:pt x="226" y="251"/>
                </a:lnTo>
                <a:lnTo>
                  <a:pt x="226" y="244"/>
                </a:lnTo>
                <a:lnTo>
                  <a:pt x="224" y="238"/>
                </a:lnTo>
                <a:lnTo>
                  <a:pt x="222" y="229"/>
                </a:lnTo>
                <a:lnTo>
                  <a:pt x="215" y="229"/>
                </a:lnTo>
                <a:lnTo>
                  <a:pt x="210" y="226"/>
                </a:lnTo>
                <a:lnTo>
                  <a:pt x="207" y="222"/>
                </a:lnTo>
                <a:lnTo>
                  <a:pt x="205" y="216"/>
                </a:lnTo>
                <a:lnTo>
                  <a:pt x="190" y="216"/>
                </a:lnTo>
                <a:lnTo>
                  <a:pt x="173" y="217"/>
                </a:lnTo>
                <a:lnTo>
                  <a:pt x="158" y="217"/>
                </a:lnTo>
                <a:lnTo>
                  <a:pt x="143" y="217"/>
                </a:lnTo>
                <a:lnTo>
                  <a:pt x="143" y="212"/>
                </a:lnTo>
                <a:lnTo>
                  <a:pt x="145" y="206"/>
                </a:lnTo>
                <a:lnTo>
                  <a:pt x="148" y="201"/>
                </a:lnTo>
                <a:lnTo>
                  <a:pt x="152" y="194"/>
                </a:lnTo>
                <a:lnTo>
                  <a:pt x="163" y="182"/>
                </a:lnTo>
                <a:lnTo>
                  <a:pt x="177" y="172"/>
                </a:lnTo>
                <a:lnTo>
                  <a:pt x="170" y="165"/>
                </a:lnTo>
                <a:lnTo>
                  <a:pt x="165" y="158"/>
                </a:lnTo>
                <a:lnTo>
                  <a:pt x="163" y="150"/>
                </a:lnTo>
                <a:lnTo>
                  <a:pt x="165" y="140"/>
                </a:lnTo>
                <a:lnTo>
                  <a:pt x="155" y="130"/>
                </a:lnTo>
                <a:lnTo>
                  <a:pt x="148" y="121"/>
                </a:lnTo>
                <a:lnTo>
                  <a:pt x="143" y="115"/>
                </a:lnTo>
                <a:lnTo>
                  <a:pt x="141" y="108"/>
                </a:lnTo>
                <a:lnTo>
                  <a:pt x="140" y="96"/>
                </a:lnTo>
                <a:lnTo>
                  <a:pt x="136" y="86"/>
                </a:lnTo>
                <a:lnTo>
                  <a:pt x="121" y="86"/>
                </a:lnTo>
                <a:lnTo>
                  <a:pt x="104" y="88"/>
                </a:lnTo>
                <a:lnTo>
                  <a:pt x="104" y="81"/>
                </a:lnTo>
                <a:lnTo>
                  <a:pt x="104" y="74"/>
                </a:lnTo>
                <a:lnTo>
                  <a:pt x="91" y="78"/>
                </a:lnTo>
                <a:lnTo>
                  <a:pt x="77" y="81"/>
                </a:lnTo>
                <a:lnTo>
                  <a:pt x="66" y="79"/>
                </a:lnTo>
                <a:lnTo>
                  <a:pt x="56" y="78"/>
                </a:lnTo>
                <a:lnTo>
                  <a:pt x="56" y="76"/>
                </a:lnTo>
                <a:lnTo>
                  <a:pt x="57" y="73"/>
                </a:lnTo>
                <a:lnTo>
                  <a:pt x="61" y="71"/>
                </a:lnTo>
                <a:lnTo>
                  <a:pt x="66" y="69"/>
                </a:lnTo>
                <a:lnTo>
                  <a:pt x="76" y="64"/>
                </a:lnTo>
                <a:lnTo>
                  <a:pt x="91" y="59"/>
                </a:lnTo>
                <a:lnTo>
                  <a:pt x="125" y="51"/>
                </a:lnTo>
                <a:lnTo>
                  <a:pt x="162" y="41"/>
                </a:lnTo>
                <a:lnTo>
                  <a:pt x="163" y="32"/>
                </a:lnTo>
                <a:lnTo>
                  <a:pt x="165" y="24"/>
                </a:lnTo>
                <a:lnTo>
                  <a:pt x="173" y="27"/>
                </a:lnTo>
                <a:lnTo>
                  <a:pt x="187" y="27"/>
                </a:lnTo>
                <a:lnTo>
                  <a:pt x="202" y="27"/>
                </a:lnTo>
                <a:lnTo>
                  <a:pt x="217" y="27"/>
                </a:lnTo>
                <a:lnTo>
                  <a:pt x="224" y="36"/>
                </a:lnTo>
                <a:lnTo>
                  <a:pt x="231" y="42"/>
                </a:lnTo>
                <a:lnTo>
                  <a:pt x="236" y="44"/>
                </a:lnTo>
                <a:lnTo>
                  <a:pt x="239" y="44"/>
                </a:lnTo>
                <a:lnTo>
                  <a:pt x="242" y="44"/>
                </a:lnTo>
                <a:lnTo>
                  <a:pt x="246" y="42"/>
                </a:lnTo>
                <a:lnTo>
                  <a:pt x="247" y="47"/>
                </a:lnTo>
                <a:lnTo>
                  <a:pt x="251" y="51"/>
                </a:lnTo>
                <a:lnTo>
                  <a:pt x="254" y="54"/>
                </a:lnTo>
                <a:lnTo>
                  <a:pt x="258" y="57"/>
                </a:lnTo>
                <a:lnTo>
                  <a:pt x="266" y="61"/>
                </a:lnTo>
                <a:lnTo>
                  <a:pt x="276" y="62"/>
                </a:lnTo>
                <a:lnTo>
                  <a:pt x="285" y="61"/>
                </a:lnTo>
                <a:lnTo>
                  <a:pt x="293" y="59"/>
                </a:lnTo>
                <a:lnTo>
                  <a:pt x="300" y="54"/>
                </a:lnTo>
                <a:lnTo>
                  <a:pt x="305" y="47"/>
                </a:lnTo>
                <a:lnTo>
                  <a:pt x="311" y="44"/>
                </a:lnTo>
                <a:lnTo>
                  <a:pt x="320" y="44"/>
                </a:lnTo>
                <a:lnTo>
                  <a:pt x="323" y="42"/>
                </a:lnTo>
                <a:lnTo>
                  <a:pt x="327" y="41"/>
                </a:lnTo>
                <a:lnTo>
                  <a:pt x="327" y="36"/>
                </a:lnTo>
                <a:lnTo>
                  <a:pt x="327" y="29"/>
                </a:lnTo>
                <a:lnTo>
                  <a:pt x="310" y="29"/>
                </a:lnTo>
                <a:lnTo>
                  <a:pt x="293" y="27"/>
                </a:lnTo>
                <a:lnTo>
                  <a:pt x="278" y="25"/>
                </a:lnTo>
                <a:lnTo>
                  <a:pt x="261" y="25"/>
                </a:lnTo>
                <a:lnTo>
                  <a:pt x="253" y="22"/>
                </a:lnTo>
                <a:lnTo>
                  <a:pt x="249" y="20"/>
                </a:lnTo>
                <a:lnTo>
                  <a:pt x="253" y="19"/>
                </a:lnTo>
                <a:lnTo>
                  <a:pt x="259" y="15"/>
                </a:lnTo>
                <a:lnTo>
                  <a:pt x="286" y="15"/>
                </a:lnTo>
                <a:lnTo>
                  <a:pt x="313" y="17"/>
                </a:lnTo>
                <a:lnTo>
                  <a:pt x="340" y="17"/>
                </a:lnTo>
                <a:lnTo>
                  <a:pt x="367" y="17"/>
                </a:lnTo>
                <a:lnTo>
                  <a:pt x="374" y="9"/>
                </a:lnTo>
                <a:lnTo>
                  <a:pt x="380" y="0"/>
                </a:lnTo>
                <a:lnTo>
                  <a:pt x="396" y="2"/>
                </a:lnTo>
                <a:lnTo>
                  <a:pt x="411" y="4"/>
                </a:lnTo>
                <a:lnTo>
                  <a:pt x="416" y="4"/>
                </a:lnTo>
                <a:lnTo>
                  <a:pt x="419" y="4"/>
                </a:lnTo>
                <a:lnTo>
                  <a:pt x="421" y="5"/>
                </a:lnTo>
                <a:lnTo>
                  <a:pt x="423" y="7"/>
                </a:lnTo>
                <a:lnTo>
                  <a:pt x="424" y="12"/>
                </a:lnTo>
                <a:lnTo>
                  <a:pt x="423" y="19"/>
                </a:lnTo>
                <a:lnTo>
                  <a:pt x="424" y="25"/>
                </a:lnTo>
                <a:lnTo>
                  <a:pt x="426" y="30"/>
                </a:lnTo>
                <a:lnTo>
                  <a:pt x="428" y="34"/>
                </a:lnTo>
                <a:lnTo>
                  <a:pt x="433" y="36"/>
                </a:lnTo>
                <a:lnTo>
                  <a:pt x="441" y="39"/>
                </a:lnTo>
                <a:lnTo>
                  <a:pt x="453" y="41"/>
                </a:lnTo>
                <a:lnTo>
                  <a:pt x="460" y="41"/>
                </a:lnTo>
                <a:lnTo>
                  <a:pt x="466" y="41"/>
                </a:lnTo>
                <a:lnTo>
                  <a:pt x="470" y="41"/>
                </a:lnTo>
                <a:lnTo>
                  <a:pt x="473" y="42"/>
                </a:lnTo>
                <a:lnTo>
                  <a:pt x="476" y="46"/>
                </a:lnTo>
                <a:lnTo>
                  <a:pt x="476" y="49"/>
                </a:lnTo>
                <a:lnTo>
                  <a:pt x="476" y="54"/>
                </a:lnTo>
                <a:lnTo>
                  <a:pt x="476" y="59"/>
                </a:lnTo>
                <a:lnTo>
                  <a:pt x="475" y="62"/>
                </a:lnTo>
                <a:lnTo>
                  <a:pt x="476" y="66"/>
                </a:lnTo>
                <a:lnTo>
                  <a:pt x="480" y="69"/>
                </a:lnTo>
                <a:lnTo>
                  <a:pt x="483" y="71"/>
                </a:lnTo>
                <a:lnTo>
                  <a:pt x="495" y="78"/>
                </a:lnTo>
                <a:lnTo>
                  <a:pt x="508" y="81"/>
                </a:lnTo>
                <a:lnTo>
                  <a:pt x="522" y="83"/>
                </a:lnTo>
                <a:lnTo>
                  <a:pt x="537" y="88"/>
                </a:lnTo>
                <a:lnTo>
                  <a:pt x="552" y="93"/>
                </a:lnTo>
                <a:lnTo>
                  <a:pt x="567" y="99"/>
                </a:lnTo>
                <a:lnTo>
                  <a:pt x="589" y="115"/>
                </a:lnTo>
                <a:lnTo>
                  <a:pt x="609" y="130"/>
                </a:lnTo>
                <a:lnTo>
                  <a:pt x="625" y="130"/>
                </a:lnTo>
                <a:lnTo>
                  <a:pt x="636" y="131"/>
                </a:lnTo>
                <a:lnTo>
                  <a:pt x="648" y="133"/>
                </a:lnTo>
                <a:lnTo>
                  <a:pt x="658" y="135"/>
                </a:lnTo>
                <a:lnTo>
                  <a:pt x="667" y="140"/>
                </a:lnTo>
                <a:lnTo>
                  <a:pt x="675" y="143"/>
                </a:lnTo>
                <a:lnTo>
                  <a:pt x="682" y="150"/>
                </a:lnTo>
                <a:lnTo>
                  <a:pt x="688" y="155"/>
                </a:lnTo>
                <a:lnTo>
                  <a:pt x="704" y="153"/>
                </a:lnTo>
                <a:lnTo>
                  <a:pt x="717" y="153"/>
                </a:lnTo>
                <a:lnTo>
                  <a:pt x="731" y="155"/>
                </a:lnTo>
                <a:lnTo>
                  <a:pt x="744" y="160"/>
                </a:lnTo>
                <a:lnTo>
                  <a:pt x="751" y="172"/>
                </a:lnTo>
                <a:lnTo>
                  <a:pt x="754" y="184"/>
                </a:lnTo>
                <a:lnTo>
                  <a:pt x="754" y="192"/>
                </a:lnTo>
                <a:lnTo>
                  <a:pt x="752" y="201"/>
                </a:lnTo>
                <a:lnTo>
                  <a:pt x="737" y="197"/>
                </a:lnTo>
                <a:lnTo>
                  <a:pt x="724" y="197"/>
                </a:lnTo>
                <a:lnTo>
                  <a:pt x="717" y="199"/>
                </a:lnTo>
                <a:lnTo>
                  <a:pt x="712" y="201"/>
                </a:lnTo>
                <a:lnTo>
                  <a:pt x="707" y="206"/>
                </a:lnTo>
                <a:lnTo>
                  <a:pt x="704" y="211"/>
                </a:lnTo>
                <a:lnTo>
                  <a:pt x="694" y="233"/>
                </a:lnTo>
                <a:lnTo>
                  <a:pt x="683" y="253"/>
                </a:lnTo>
                <a:lnTo>
                  <a:pt x="672" y="270"/>
                </a:lnTo>
                <a:lnTo>
                  <a:pt x="658" y="286"/>
                </a:lnTo>
                <a:lnTo>
                  <a:pt x="667" y="285"/>
                </a:lnTo>
                <a:lnTo>
                  <a:pt x="677" y="281"/>
                </a:lnTo>
                <a:lnTo>
                  <a:pt x="677" y="298"/>
                </a:lnTo>
                <a:lnTo>
                  <a:pt x="678" y="313"/>
                </a:lnTo>
                <a:lnTo>
                  <a:pt x="680" y="318"/>
                </a:lnTo>
                <a:lnTo>
                  <a:pt x="683" y="323"/>
                </a:lnTo>
                <a:lnTo>
                  <a:pt x="687" y="327"/>
                </a:lnTo>
                <a:lnTo>
                  <a:pt x="692" y="329"/>
                </a:lnTo>
                <a:lnTo>
                  <a:pt x="694" y="340"/>
                </a:lnTo>
                <a:lnTo>
                  <a:pt x="694" y="349"/>
                </a:lnTo>
                <a:lnTo>
                  <a:pt x="692" y="354"/>
                </a:lnTo>
                <a:lnTo>
                  <a:pt x="687" y="359"/>
                </a:lnTo>
                <a:lnTo>
                  <a:pt x="682" y="361"/>
                </a:lnTo>
                <a:lnTo>
                  <a:pt x="675" y="362"/>
                </a:lnTo>
                <a:lnTo>
                  <a:pt x="667" y="362"/>
                </a:lnTo>
                <a:lnTo>
                  <a:pt x="658" y="362"/>
                </a:lnTo>
                <a:lnTo>
                  <a:pt x="658" y="357"/>
                </a:lnTo>
                <a:lnTo>
                  <a:pt x="657" y="352"/>
                </a:lnTo>
                <a:lnTo>
                  <a:pt x="633" y="352"/>
                </a:lnTo>
                <a:lnTo>
                  <a:pt x="609" y="352"/>
                </a:lnTo>
                <a:lnTo>
                  <a:pt x="606" y="344"/>
                </a:lnTo>
                <a:lnTo>
                  <a:pt x="603" y="335"/>
                </a:lnTo>
                <a:lnTo>
                  <a:pt x="589" y="332"/>
                </a:lnTo>
                <a:lnTo>
                  <a:pt x="577" y="329"/>
                </a:lnTo>
                <a:lnTo>
                  <a:pt x="564" y="325"/>
                </a:lnTo>
                <a:lnTo>
                  <a:pt x="552" y="322"/>
                </a:lnTo>
                <a:lnTo>
                  <a:pt x="561" y="332"/>
                </a:lnTo>
                <a:lnTo>
                  <a:pt x="569" y="340"/>
                </a:lnTo>
                <a:lnTo>
                  <a:pt x="574" y="344"/>
                </a:lnTo>
                <a:lnTo>
                  <a:pt x="579" y="347"/>
                </a:lnTo>
                <a:lnTo>
                  <a:pt x="584" y="349"/>
                </a:lnTo>
                <a:lnTo>
                  <a:pt x="591" y="350"/>
                </a:lnTo>
                <a:lnTo>
                  <a:pt x="591" y="357"/>
                </a:lnTo>
                <a:lnTo>
                  <a:pt x="591" y="366"/>
                </a:lnTo>
                <a:lnTo>
                  <a:pt x="601" y="364"/>
                </a:lnTo>
                <a:lnTo>
                  <a:pt x="609" y="362"/>
                </a:lnTo>
                <a:lnTo>
                  <a:pt x="613" y="366"/>
                </a:lnTo>
                <a:lnTo>
                  <a:pt x="618" y="367"/>
                </a:lnTo>
                <a:lnTo>
                  <a:pt x="626" y="367"/>
                </a:lnTo>
                <a:lnTo>
                  <a:pt x="641" y="366"/>
                </a:lnTo>
                <a:lnTo>
                  <a:pt x="646" y="382"/>
                </a:lnTo>
                <a:lnTo>
                  <a:pt x="651" y="399"/>
                </a:lnTo>
                <a:lnTo>
                  <a:pt x="651" y="404"/>
                </a:lnTo>
                <a:lnTo>
                  <a:pt x="651" y="409"/>
                </a:lnTo>
                <a:lnTo>
                  <a:pt x="651" y="413"/>
                </a:lnTo>
                <a:lnTo>
                  <a:pt x="650" y="416"/>
                </a:lnTo>
                <a:lnTo>
                  <a:pt x="646" y="418"/>
                </a:lnTo>
                <a:lnTo>
                  <a:pt x="641" y="418"/>
                </a:lnTo>
                <a:lnTo>
                  <a:pt x="633" y="416"/>
                </a:lnTo>
                <a:lnTo>
                  <a:pt x="623" y="413"/>
                </a:lnTo>
                <a:lnTo>
                  <a:pt x="611" y="411"/>
                </a:lnTo>
                <a:lnTo>
                  <a:pt x="599" y="411"/>
                </a:lnTo>
                <a:lnTo>
                  <a:pt x="589" y="414"/>
                </a:lnTo>
                <a:lnTo>
                  <a:pt x="581" y="419"/>
                </a:lnTo>
                <a:lnTo>
                  <a:pt x="564" y="435"/>
                </a:lnTo>
                <a:lnTo>
                  <a:pt x="549" y="446"/>
                </a:lnTo>
                <a:lnTo>
                  <a:pt x="544" y="451"/>
                </a:lnTo>
                <a:lnTo>
                  <a:pt x="537" y="453"/>
                </a:lnTo>
                <a:lnTo>
                  <a:pt x="530" y="455"/>
                </a:lnTo>
                <a:lnTo>
                  <a:pt x="525" y="455"/>
                </a:lnTo>
                <a:lnTo>
                  <a:pt x="520" y="455"/>
                </a:lnTo>
                <a:lnTo>
                  <a:pt x="518" y="453"/>
                </a:lnTo>
                <a:lnTo>
                  <a:pt x="520" y="451"/>
                </a:lnTo>
                <a:lnTo>
                  <a:pt x="522" y="451"/>
                </a:lnTo>
                <a:lnTo>
                  <a:pt x="527" y="450"/>
                </a:lnTo>
                <a:lnTo>
                  <a:pt x="529" y="450"/>
                </a:lnTo>
                <a:lnTo>
                  <a:pt x="545" y="443"/>
                </a:lnTo>
                <a:lnTo>
                  <a:pt x="545" y="435"/>
                </a:lnTo>
                <a:lnTo>
                  <a:pt x="539" y="433"/>
                </a:lnTo>
                <a:lnTo>
                  <a:pt x="532" y="440"/>
                </a:lnTo>
                <a:lnTo>
                  <a:pt x="524" y="438"/>
                </a:lnTo>
                <a:lnTo>
                  <a:pt x="518" y="433"/>
                </a:lnTo>
                <a:lnTo>
                  <a:pt x="512" y="435"/>
                </a:lnTo>
                <a:lnTo>
                  <a:pt x="507" y="445"/>
                </a:lnTo>
                <a:lnTo>
                  <a:pt x="495" y="441"/>
                </a:lnTo>
                <a:lnTo>
                  <a:pt x="487" y="438"/>
                </a:lnTo>
                <a:lnTo>
                  <a:pt x="488" y="428"/>
                </a:lnTo>
                <a:lnTo>
                  <a:pt x="481" y="426"/>
                </a:lnTo>
                <a:lnTo>
                  <a:pt x="473" y="419"/>
                </a:lnTo>
                <a:lnTo>
                  <a:pt x="475" y="414"/>
                </a:lnTo>
                <a:lnTo>
                  <a:pt x="471" y="408"/>
                </a:lnTo>
                <a:lnTo>
                  <a:pt x="465" y="411"/>
                </a:lnTo>
                <a:lnTo>
                  <a:pt x="458" y="413"/>
                </a:lnTo>
                <a:lnTo>
                  <a:pt x="451" y="413"/>
                </a:lnTo>
                <a:lnTo>
                  <a:pt x="449" y="413"/>
                </a:lnTo>
                <a:lnTo>
                  <a:pt x="443" y="421"/>
                </a:lnTo>
                <a:lnTo>
                  <a:pt x="428" y="416"/>
                </a:lnTo>
                <a:lnTo>
                  <a:pt x="409" y="426"/>
                </a:lnTo>
                <a:lnTo>
                  <a:pt x="431" y="428"/>
                </a:lnTo>
                <a:lnTo>
                  <a:pt x="434" y="440"/>
                </a:lnTo>
                <a:lnTo>
                  <a:pt x="471" y="436"/>
                </a:lnTo>
                <a:lnTo>
                  <a:pt x="473" y="453"/>
                </a:lnTo>
                <a:lnTo>
                  <a:pt x="485" y="457"/>
                </a:lnTo>
                <a:lnTo>
                  <a:pt x="493" y="462"/>
                </a:lnTo>
                <a:lnTo>
                  <a:pt x="495" y="472"/>
                </a:lnTo>
                <a:lnTo>
                  <a:pt x="485" y="470"/>
                </a:lnTo>
                <a:lnTo>
                  <a:pt x="476" y="472"/>
                </a:lnTo>
                <a:lnTo>
                  <a:pt x="480" y="478"/>
                </a:lnTo>
                <a:lnTo>
                  <a:pt x="468" y="482"/>
                </a:lnTo>
                <a:lnTo>
                  <a:pt x="456" y="485"/>
                </a:lnTo>
                <a:lnTo>
                  <a:pt x="451" y="487"/>
                </a:lnTo>
                <a:lnTo>
                  <a:pt x="444" y="490"/>
                </a:lnTo>
                <a:lnTo>
                  <a:pt x="439" y="495"/>
                </a:lnTo>
                <a:lnTo>
                  <a:pt x="433" y="500"/>
                </a:lnTo>
                <a:lnTo>
                  <a:pt x="421" y="517"/>
                </a:lnTo>
                <a:lnTo>
                  <a:pt x="409" y="539"/>
                </a:lnTo>
                <a:lnTo>
                  <a:pt x="401" y="551"/>
                </a:lnTo>
                <a:lnTo>
                  <a:pt x="392" y="564"/>
                </a:lnTo>
                <a:lnTo>
                  <a:pt x="384" y="578"/>
                </a:lnTo>
                <a:lnTo>
                  <a:pt x="375" y="590"/>
                </a:lnTo>
                <a:lnTo>
                  <a:pt x="369" y="600"/>
                </a:lnTo>
                <a:lnTo>
                  <a:pt x="364" y="605"/>
                </a:lnTo>
                <a:lnTo>
                  <a:pt x="360" y="610"/>
                </a:lnTo>
                <a:lnTo>
                  <a:pt x="355" y="610"/>
                </a:lnTo>
                <a:lnTo>
                  <a:pt x="352" y="608"/>
                </a:lnTo>
                <a:lnTo>
                  <a:pt x="348" y="603"/>
                </a:lnTo>
                <a:lnTo>
                  <a:pt x="345" y="596"/>
                </a:lnTo>
                <a:lnTo>
                  <a:pt x="342" y="586"/>
                </a:lnTo>
                <a:lnTo>
                  <a:pt x="345" y="561"/>
                </a:lnTo>
                <a:lnTo>
                  <a:pt x="347" y="537"/>
                </a:lnTo>
                <a:lnTo>
                  <a:pt x="347" y="529"/>
                </a:lnTo>
                <a:lnTo>
                  <a:pt x="348" y="524"/>
                </a:lnTo>
                <a:lnTo>
                  <a:pt x="347" y="519"/>
                </a:lnTo>
                <a:lnTo>
                  <a:pt x="345" y="515"/>
                </a:lnTo>
                <a:lnTo>
                  <a:pt x="343" y="514"/>
                </a:lnTo>
                <a:lnTo>
                  <a:pt x="340" y="514"/>
                </a:lnTo>
                <a:lnTo>
                  <a:pt x="337" y="517"/>
                </a:lnTo>
                <a:lnTo>
                  <a:pt x="332" y="521"/>
                </a:lnTo>
                <a:lnTo>
                  <a:pt x="327" y="524"/>
                </a:lnTo>
                <a:lnTo>
                  <a:pt x="322" y="524"/>
                </a:lnTo>
                <a:lnTo>
                  <a:pt x="318" y="524"/>
                </a:lnTo>
                <a:lnTo>
                  <a:pt x="315" y="524"/>
                </a:lnTo>
                <a:lnTo>
                  <a:pt x="313" y="521"/>
                </a:lnTo>
                <a:lnTo>
                  <a:pt x="313" y="517"/>
                </a:lnTo>
                <a:lnTo>
                  <a:pt x="313" y="512"/>
                </a:lnTo>
                <a:lnTo>
                  <a:pt x="315" y="505"/>
                </a:lnTo>
                <a:lnTo>
                  <a:pt x="320" y="494"/>
                </a:lnTo>
                <a:lnTo>
                  <a:pt x="323" y="482"/>
                </a:lnTo>
                <a:lnTo>
                  <a:pt x="320" y="480"/>
                </a:lnTo>
                <a:lnTo>
                  <a:pt x="316" y="477"/>
                </a:lnTo>
                <a:lnTo>
                  <a:pt x="313" y="473"/>
                </a:lnTo>
                <a:lnTo>
                  <a:pt x="310" y="470"/>
                </a:lnTo>
                <a:lnTo>
                  <a:pt x="305" y="460"/>
                </a:lnTo>
                <a:lnTo>
                  <a:pt x="300" y="448"/>
                </a:lnTo>
                <a:lnTo>
                  <a:pt x="291" y="446"/>
                </a:lnTo>
                <a:lnTo>
                  <a:pt x="285" y="445"/>
                </a:lnTo>
                <a:lnTo>
                  <a:pt x="279" y="443"/>
                </a:lnTo>
                <a:lnTo>
                  <a:pt x="274" y="440"/>
                </a:lnTo>
                <a:lnTo>
                  <a:pt x="269" y="431"/>
                </a:lnTo>
                <a:lnTo>
                  <a:pt x="268" y="423"/>
                </a:lnTo>
                <a:lnTo>
                  <a:pt x="258" y="423"/>
                </a:lnTo>
                <a:lnTo>
                  <a:pt x="247" y="421"/>
                </a:lnTo>
                <a:lnTo>
                  <a:pt x="241" y="416"/>
                </a:lnTo>
                <a:lnTo>
                  <a:pt x="234" y="409"/>
                </a:lnTo>
                <a:lnTo>
                  <a:pt x="227" y="399"/>
                </a:lnTo>
                <a:lnTo>
                  <a:pt x="224" y="387"/>
                </a:lnTo>
                <a:lnTo>
                  <a:pt x="221" y="372"/>
                </a:lnTo>
                <a:lnTo>
                  <a:pt x="219" y="354"/>
                </a:lnTo>
                <a:lnTo>
                  <a:pt x="215" y="345"/>
                </a:lnTo>
                <a:lnTo>
                  <a:pt x="214" y="337"/>
                </a:lnTo>
                <a:lnTo>
                  <a:pt x="210" y="334"/>
                </a:lnTo>
                <a:lnTo>
                  <a:pt x="209" y="330"/>
                </a:lnTo>
                <a:lnTo>
                  <a:pt x="205" y="332"/>
                </a:lnTo>
                <a:lnTo>
                  <a:pt x="204" y="334"/>
                </a:lnTo>
                <a:lnTo>
                  <a:pt x="200" y="339"/>
                </a:lnTo>
                <a:lnTo>
                  <a:pt x="199" y="345"/>
                </a:lnTo>
                <a:lnTo>
                  <a:pt x="192" y="349"/>
                </a:lnTo>
                <a:lnTo>
                  <a:pt x="187" y="354"/>
                </a:lnTo>
                <a:lnTo>
                  <a:pt x="184" y="362"/>
                </a:lnTo>
                <a:lnTo>
                  <a:pt x="182" y="374"/>
                </a:lnTo>
                <a:lnTo>
                  <a:pt x="180" y="398"/>
                </a:lnTo>
                <a:lnTo>
                  <a:pt x="178" y="423"/>
                </a:lnTo>
                <a:lnTo>
                  <a:pt x="177" y="431"/>
                </a:lnTo>
                <a:lnTo>
                  <a:pt x="177" y="438"/>
                </a:lnTo>
                <a:lnTo>
                  <a:pt x="177" y="443"/>
                </a:lnTo>
                <a:lnTo>
                  <a:pt x="178" y="446"/>
                </a:lnTo>
                <a:lnTo>
                  <a:pt x="182" y="448"/>
                </a:lnTo>
                <a:lnTo>
                  <a:pt x="185" y="448"/>
                </a:lnTo>
                <a:lnTo>
                  <a:pt x="190" y="446"/>
                </a:lnTo>
                <a:lnTo>
                  <a:pt x="197" y="443"/>
                </a:lnTo>
                <a:lnTo>
                  <a:pt x="205" y="438"/>
                </a:lnTo>
                <a:lnTo>
                  <a:pt x="212" y="436"/>
                </a:lnTo>
                <a:lnTo>
                  <a:pt x="217" y="436"/>
                </a:lnTo>
                <a:lnTo>
                  <a:pt x="221" y="440"/>
                </a:lnTo>
                <a:lnTo>
                  <a:pt x="221" y="445"/>
                </a:lnTo>
                <a:lnTo>
                  <a:pt x="219" y="451"/>
                </a:lnTo>
                <a:lnTo>
                  <a:pt x="215" y="458"/>
                </a:lnTo>
                <a:lnTo>
                  <a:pt x="210" y="465"/>
                </a:lnTo>
                <a:lnTo>
                  <a:pt x="190" y="490"/>
                </a:lnTo>
                <a:lnTo>
                  <a:pt x="168" y="515"/>
                </a:lnTo>
                <a:lnTo>
                  <a:pt x="163" y="522"/>
                </a:lnTo>
                <a:lnTo>
                  <a:pt x="157" y="526"/>
                </a:lnTo>
                <a:lnTo>
                  <a:pt x="153" y="526"/>
                </a:lnTo>
                <a:lnTo>
                  <a:pt x="148" y="524"/>
                </a:lnTo>
                <a:lnTo>
                  <a:pt x="143" y="521"/>
                </a:lnTo>
                <a:lnTo>
                  <a:pt x="138" y="515"/>
                </a:lnTo>
                <a:lnTo>
                  <a:pt x="131" y="504"/>
                </a:lnTo>
                <a:lnTo>
                  <a:pt x="123" y="495"/>
                </a:lnTo>
                <a:lnTo>
                  <a:pt x="114" y="487"/>
                </a:lnTo>
                <a:lnTo>
                  <a:pt x="106" y="478"/>
                </a:lnTo>
                <a:lnTo>
                  <a:pt x="89" y="467"/>
                </a:lnTo>
                <a:lnTo>
                  <a:pt x="72" y="457"/>
                </a:lnTo>
                <a:lnTo>
                  <a:pt x="64" y="457"/>
                </a:lnTo>
                <a:lnTo>
                  <a:pt x="59" y="458"/>
                </a:lnTo>
                <a:lnTo>
                  <a:pt x="54" y="457"/>
                </a:lnTo>
                <a:lnTo>
                  <a:pt x="52" y="455"/>
                </a:lnTo>
                <a:lnTo>
                  <a:pt x="51" y="450"/>
                </a:lnTo>
                <a:lnTo>
                  <a:pt x="52" y="445"/>
                </a:lnTo>
                <a:lnTo>
                  <a:pt x="57" y="436"/>
                </a:lnTo>
                <a:lnTo>
                  <a:pt x="62" y="428"/>
                </a:lnTo>
                <a:lnTo>
                  <a:pt x="66" y="419"/>
                </a:lnTo>
                <a:lnTo>
                  <a:pt x="67" y="413"/>
                </a:lnTo>
                <a:lnTo>
                  <a:pt x="67" y="408"/>
                </a:lnTo>
                <a:lnTo>
                  <a:pt x="64" y="403"/>
                </a:lnTo>
                <a:lnTo>
                  <a:pt x="57" y="399"/>
                </a:lnTo>
                <a:lnTo>
                  <a:pt x="51" y="396"/>
                </a:lnTo>
                <a:lnTo>
                  <a:pt x="40" y="393"/>
                </a:lnTo>
                <a:lnTo>
                  <a:pt x="27" y="391"/>
                </a:lnTo>
                <a:lnTo>
                  <a:pt x="22" y="394"/>
                </a:lnTo>
                <a:lnTo>
                  <a:pt x="17" y="394"/>
                </a:lnTo>
                <a:lnTo>
                  <a:pt x="14" y="396"/>
                </a:lnTo>
                <a:lnTo>
                  <a:pt x="10" y="394"/>
                </a:lnTo>
                <a:lnTo>
                  <a:pt x="8" y="389"/>
                </a:lnTo>
                <a:lnTo>
                  <a:pt x="8" y="382"/>
                </a:lnTo>
                <a:lnTo>
                  <a:pt x="10" y="374"/>
                </a:lnTo>
                <a:lnTo>
                  <a:pt x="14" y="361"/>
                </a:lnTo>
                <a:lnTo>
                  <a:pt x="20" y="354"/>
                </a:lnTo>
                <a:lnTo>
                  <a:pt x="25" y="347"/>
                </a:lnTo>
                <a:lnTo>
                  <a:pt x="29" y="339"/>
                </a:lnTo>
                <a:lnTo>
                  <a:pt x="32" y="330"/>
                </a:lnTo>
                <a:lnTo>
                  <a:pt x="34" y="320"/>
                </a:lnTo>
                <a:lnTo>
                  <a:pt x="34" y="308"/>
                </a:lnTo>
                <a:lnTo>
                  <a:pt x="34" y="297"/>
                </a:lnTo>
                <a:lnTo>
                  <a:pt x="30" y="283"/>
                </a:lnTo>
                <a:lnTo>
                  <a:pt x="27" y="276"/>
                </a:lnTo>
                <a:lnTo>
                  <a:pt x="24" y="271"/>
                </a:lnTo>
                <a:lnTo>
                  <a:pt x="24" y="266"/>
                </a:lnTo>
                <a:lnTo>
                  <a:pt x="24" y="261"/>
                </a:lnTo>
                <a:lnTo>
                  <a:pt x="25" y="251"/>
                </a:lnTo>
                <a:lnTo>
                  <a:pt x="27" y="243"/>
                </a:lnTo>
                <a:lnTo>
                  <a:pt x="24" y="222"/>
                </a:lnTo>
                <a:lnTo>
                  <a:pt x="22" y="202"/>
                </a:lnTo>
                <a:lnTo>
                  <a:pt x="20" y="184"/>
                </a:lnTo>
                <a:lnTo>
                  <a:pt x="22" y="167"/>
                </a:lnTo>
                <a:lnTo>
                  <a:pt x="25" y="165"/>
                </a:lnTo>
                <a:lnTo>
                  <a:pt x="29" y="163"/>
                </a:lnTo>
                <a:lnTo>
                  <a:pt x="30" y="160"/>
                </a:lnTo>
                <a:lnTo>
                  <a:pt x="32" y="158"/>
                </a:lnTo>
                <a:lnTo>
                  <a:pt x="30" y="155"/>
                </a:lnTo>
                <a:lnTo>
                  <a:pt x="29" y="152"/>
                </a:lnTo>
                <a:lnTo>
                  <a:pt x="25" y="150"/>
                </a:lnTo>
                <a:lnTo>
                  <a:pt x="20" y="148"/>
                </a:lnTo>
                <a:lnTo>
                  <a:pt x="10" y="140"/>
                </a:lnTo>
                <a:lnTo>
                  <a:pt x="0" y="135"/>
                </a:lnTo>
                <a:lnTo>
                  <a:pt x="2" y="130"/>
                </a:lnTo>
                <a:lnTo>
                  <a:pt x="3" y="125"/>
                </a:lnTo>
                <a:lnTo>
                  <a:pt x="27" y="125"/>
                </a:lnTo>
                <a:lnTo>
                  <a:pt x="52" y="125"/>
                </a:lnTo>
              </a:path>
            </a:pathLst>
          </a:custGeom>
          <a:solidFill>
            <a:srgbClr val="CCECFF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332906" name="Freeform 17"/>
          <p:cNvSpPr>
            <a:spLocks noChangeAspect="1"/>
          </p:cNvSpPr>
          <p:nvPr>
            <p:custDataLst>
              <p:tags r:id="rId12"/>
            </p:custDataLst>
          </p:nvPr>
        </p:nvSpPr>
        <p:spPr bwMode="auto">
          <a:xfrm>
            <a:off x="1673225" y="1662113"/>
            <a:ext cx="2560638" cy="2606675"/>
          </a:xfrm>
          <a:custGeom>
            <a:avLst/>
            <a:gdLst>
              <a:gd name="T0" fmla="*/ 2147483647 w 1615"/>
              <a:gd name="T1" fmla="*/ 2147483647 h 1632"/>
              <a:gd name="T2" fmla="*/ 2147483647 w 1615"/>
              <a:gd name="T3" fmla="*/ 2147483647 h 1632"/>
              <a:gd name="T4" fmla="*/ 2147483647 w 1615"/>
              <a:gd name="T5" fmla="*/ 2147483647 h 1632"/>
              <a:gd name="T6" fmla="*/ 2147483647 w 1615"/>
              <a:gd name="T7" fmla="*/ 2147483647 h 1632"/>
              <a:gd name="T8" fmla="*/ 2147483647 w 1615"/>
              <a:gd name="T9" fmla="*/ 2147483647 h 1632"/>
              <a:gd name="T10" fmla="*/ 2147483647 w 1615"/>
              <a:gd name="T11" fmla="*/ 2147483647 h 1632"/>
              <a:gd name="T12" fmla="*/ 2147483647 w 1615"/>
              <a:gd name="T13" fmla="*/ 2147483647 h 1632"/>
              <a:gd name="T14" fmla="*/ 2147483647 w 1615"/>
              <a:gd name="T15" fmla="*/ 2147483647 h 1632"/>
              <a:gd name="T16" fmla="*/ 2147483647 w 1615"/>
              <a:gd name="T17" fmla="*/ 2147483647 h 1632"/>
              <a:gd name="T18" fmla="*/ 2147483647 w 1615"/>
              <a:gd name="T19" fmla="*/ 2147483647 h 1632"/>
              <a:gd name="T20" fmla="*/ 2147483647 w 1615"/>
              <a:gd name="T21" fmla="*/ 2147483647 h 1632"/>
              <a:gd name="T22" fmla="*/ 2147483647 w 1615"/>
              <a:gd name="T23" fmla="*/ 2147483647 h 1632"/>
              <a:gd name="T24" fmla="*/ 2147483647 w 1615"/>
              <a:gd name="T25" fmla="*/ 2147483647 h 1632"/>
              <a:gd name="T26" fmla="*/ 2147483647 w 1615"/>
              <a:gd name="T27" fmla="*/ 2147483647 h 1632"/>
              <a:gd name="T28" fmla="*/ 2147483647 w 1615"/>
              <a:gd name="T29" fmla="*/ 2147483647 h 1632"/>
              <a:gd name="T30" fmla="*/ 2147483647 w 1615"/>
              <a:gd name="T31" fmla="*/ 2147483647 h 1632"/>
              <a:gd name="T32" fmla="*/ 2147483647 w 1615"/>
              <a:gd name="T33" fmla="*/ 2147483647 h 1632"/>
              <a:gd name="T34" fmla="*/ 2147483647 w 1615"/>
              <a:gd name="T35" fmla="*/ 2147483647 h 1632"/>
              <a:gd name="T36" fmla="*/ 2147483647 w 1615"/>
              <a:gd name="T37" fmla="*/ 2147483647 h 1632"/>
              <a:gd name="T38" fmla="*/ 2147483647 w 1615"/>
              <a:gd name="T39" fmla="*/ 2147483647 h 1632"/>
              <a:gd name="T40" fmla="*/ 2147483647 w 1615"/>
              <a:gd name="T41" fmla="*/ 2147483647 h 1632"/>
              <a:gd name="T42" fmla="*/ 2147483647 w 1615"/>
              <a:gd name="T43" fmla="*/ 2147483647 h 1632"/>
              <a:gd name="T44" fmla="*/ 2147483647 w 1615"/>
              <a:gd name="T45" fmla="*/ 2147483647 h 1632"/>
              <a:gd name="T46" fmla="*/ 2147483647 w 1615"/>
              <a:gd name="T47" fmla="*/ 2147483647 h 1632"/>
              <a:gd name="T48" fmla="*/ 2147483647 w 1615"/>
              <a:gd name="T49" fmla="*/ 2147483647 h 1632"/>
              <a:gd name="T50" fmla="*/ 2147483647 w 1615"/>
              <a:gd name="T51" fmla="*/ 2147483647 h 1632"/>
              <a:gd name="T52" fmla="*/ 2147483647 w 1615"/>
              <a:gd name="T53" fmla="*/ 2147483647 h 1632"/>
              <a:gd name="T54" fmla="*/ 2147483647 w 1615"/>
              <a:gd name="T55" fmla="*/ 2147483647 h 1632"/>
              <a:gd name="T56" fmla="*/ 2147483647 w 1615"/>
              <a:gd name="T57" fmla="*/ 2147483647 h 1632"/>
              <a:gd name="T58" fmla="*/ 2147483647 w 1615"/>
              <a:gd name="T59" fmla="*/ 2147483647 h 1632"/>
              <a:gd name="T60" fmla="*/ 2147483647 w 1615"/>
              <a:gd name="T61" fmla="*/ 2147483647 h 1632"/>
              <a:gd name="T62" fmla="*/ 2147483647 w 1615"/>
              <a:gd name="T63" fmla="*/ 2147483647 h 1632"/>
              <a:gd name="T64" fmla="*/ 2147483647 w 1615"/>
              <a:gd name="T65" fmla="*/ 2147483647 h 1632"/>
              <a:gd name="T66" fmla="*/ 2147483647 w 1615"/>
              <a:gd name="T67" fmla="*/ 2147483647 h 1632"/>
              <a:gd name="T68" fmla="*/ 2147483647 w 1615"/>
              <a:gd name="T69" fmla="*/ 2147483647 h 1632"/>
              <a:gd name="T70" fmla="*/ 2147483647 w 1615"/>
              <a:gd name="T71" fmla="*/ 2147483647 h 1632"/>
              <a:gd name="T72" fmla="*/ 2147483647 w 1615"/>
              <a:gd name="T73" fmla="*/ 2147483647 h 1632"/>
              <a:gd name="T74" fmla="*/ 2147483647 w 1615"/>
              <a:gd name="T75" fmla="*/ 2147483647 h 1632"/>
              <a:gd name="T76" fmla="*/ 2147483647 w 1615"/>
              <a:gd name="T77" fmla="*/ 2147483647 h 1632"/>
              <a:gd name="T78" fmla="*/ 2147483647 w 1615"/>
              <a:gd name="T79" fmla="*/ 2147483647 h 1632"/>
              <a:gd name="T80" fmla="*/ 2147483647 w 1615"/>
              <a:gd name="T81" fmla="*/ 2147483647 h 1632"/>
              <a:gd name="T82" fmla="*/ 2147483647 w 1615"/>
              <a:gd name="T83" fmla="*/ 2147483647 h 1632"/>
              <a:gd name="T84" fmla="*/ 2147483647 w 1615"/>
              <a:gd name="T85" fmla="*/ 2147483647 h 1632"/>
              <a:gd name="T86" fmla="*/ 2147483647 w 1615"/>
              <a:gd name="T87" fmla="*/ 2147483647 h 1632"/>
              <a:gd name="T88" fmla="*/ 2147483647 w 1615"/>
              <a:gd name="T89" fmla="*/ 2147483647 h 1632"/>
              <a:gd name="T90" fmla="*/ 2147483647 w 1615"/>
              <a:gd name="T91" fmla="*/ 2147483647 h 1632"/>
              <a:gd name="T92" fmla="*/ 2147483647 w 1615"/>
              <a:gd name="T93" fmla="*/ 2147483647 h 1632"/>
              <a:gd name="T94" fmla="*/ 2147483647 w 1615"/>
              <a:gd name="T95" fmla="*/ 2147483647 h 1632"/>
              <a:gd name="T96" fmla="*/ 2147483647 w 1615"/>
              <a:gd name="T97" fmla="*/ 2147483647 h 1632"/>
              <a:gd name="T98" fmla="*/ 2147483647 w 1615"/>
              <a:gd name="T99" fmla="*/ 2147483647 h 1632"/>
              <a:gd name="T100" fmla="*/ 2147483647 w 1615"/>
              <a:gd name="T101" fmla="*/ 2147483647 h 1632"/>
              <a:gd name="T102" fmla="*/ 2147483647 w 1615"/>
              <a:gd name="T103" fmla="*/ 2147483647 h 1632"/>
              <a:gd name="T104" fmla="*/ 2147483647 w 1615"/>
              <a:gd name="T105" fmla="*/ 2147483647 h 1632"/>
              <a:gd name="T106" fmla="*/ 2147483647 w 1615"/>
              <a:gd name="T107" fmla="*/ 2147483647 h 1632"/>
              <a:gd name="T108" fmla="*/ 2147483647 w 1615"/>
              <a:gd name="T109" fmla="*/ 2147483647 h 1632"/>
              <a:gd name="T110" fmla="*/ 2147483647 w 1615"/>
              <a:gd name="T111" fmla="*/ 2147483647 h 1632"/>
              <a:gd name="T112" fmla="*/ 2147483647 w 1615"/>
              <a:gd name="T113" fmla="*/ 2147483647 h 1632"/>
              <a:gd name="T114" fmla="*/ 2147483647 w 1615"/>
              <a:gd name="T115" fmla="*/ 2147483647 h 1632"/>
              <a:gd name="T116" fmla="*/ 2147483647 w 1615"/>
              <a:gd name="T117" fmla="*/ 2147483647 h 1632"/>
              <a:gd name="T118" fmla="*/ 2147483647 w 1615"/>
              <a:gd name="T119" fmla="*/ 2147483647 h 1632"/>
              <a:gd name="T120" fmla="*/ 2147483647 w 1615"/>
              <a:gd name="T121" fmla="*/ 2147483647 h 1632"/>
              <a:gd name="T122" fmla="*/ 2147483647 w 1615"/>
              <a:gd name="T123" fmla="*/ 2147483647 h 1632"/>
              <a:gd name="T124" fmla="*/ 2147483647 w 1615"/>
              <a:gd name="T125" fmla="*/ 2147483647 h 1632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1615"/>
              <a:gd name="T190" fmla="*/ 0 h 1632"/>
              <a:gd name="T191" fmla="*/ 1615 w 1615"/>
              <a:gd name="T192" fmla="*/ 1632 h 1632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1615" h="1632">
                <a:moveTo>
                  <a:pt x="930" y="1609"/>
                </a:moveTo>
                <a:lnTo>
                  <a:pt x="923" y="1602"/>
                </a:lnTo>
                <a:lnTo>
                  <a:pt x="918" y="1592"/>
                </a:lnTo>
                <a:lnTo>
                  <a:pt x="911" y="1585"/>
                </a:lnTo>
                <a:lnTo>
                  <a:pt x="904" y="1580"/>
                </a:lnTo>
                <a:lnTo>
                  <a:pt x="899" y="1577"/>
                </a:lnTo>
                <a:lnTo>
                  <a:pt x="896" y="1578"/>
                </a:lnTo>
                <a:lnTo>
                  <a:pt x="893" y="1580"/>
                </a:lnTo>
                <a:lnTo>
                  <a:pt x="891" y="1587"/>
                </a:lnTo>
                <a:lnTo>
                  <a:pt x="889" y="1595"/>
                </a:lnTo>
                <a:lnTo>
                  <a:pt x="889" y="1605"/>
                </a:lnTo>
                <a:lnTo>
                  <a:pt x="889" y="1617"/>
                </a:lnTo>
                <a:lnTo>
                  <a:pt x="888" y="1624"/>
                </a:lnTo>
                <a:lnTo>
                  <a:pt x="884" y="1629"/>
                </a:lnTo>
                <a:lnTo>
                  <a:pt x="879" y="1632"/>
                </a:lnTo>
                <a:lnTo>
                  <a:pt x="874" y="1632"/>
                </a:lnTo>
                <a:lnTo>
                  <a:pt x="867" y="1631"/>
                </a:lnTo>
                <a:lnTo>
                  <a:pt x="861" y="1627"/>
                </a:lnTo>
                <a:lnTo>
                  <a:pt x="852" y="1622"/>
                </a:lnTo>
                <a:lnTo>
                  <a:pt x="837" y="1605"/>
                </a:lnTo>
                <a:lnTo>
                  <a:pt x="824" y="1589"/>
                </a:lnTo>
                <a:lnTo>
                  <a:pt x="808" y="1575"/>
                </a:lnTo>
                <a:lnTo>
                  <a:pt x="793" y="1560"/>
                </a:lnTo>
                <a:lnTo>
                  <a:pt x="787" y="1558"/>
                </a:lnTo>
                <a:lnTo>
                  <a:pt x="781" y="1557"/>
                </a:lnTo>
                <a:lnTo>
                  <a:pt x="776" y="1557"/>
                </a:lnTo>
                <a:lnTo>
                  <a:pt x="771" y="1557"/>
                </a:lnTo>
                <a:lnTo>
                  <a:pt x="763" y="1560"/>
                </a:lnTo>
                <a:lnTo>
                  <a:pt x="755" y="1567"/>
                </a:lnTo>
                <a:lnTo>
                  <a:pt x="739" y="1568"/>
                </a:lnTo>
                <a:lnTo>
                  <a:pt x="726" y="1568"/>
                </a:lnTo>
                <a:lnTo>
                  <a:pt x="719" y="1567"/>
                </a:lnTo>
                <a:lnTo>
                  <a:pt x="714" y="1563"/>
                </a:lnTo>
                <a:lnTo>
                  <a:pt x="707" y="1560"/>
                </a:lnTo>
                <a:lnTo>
                  <a:pt x="702" y="1557"/>
                </a:lnTo>
                <a:lnTo>
                  <a:pt x="697" y="1553"/>
                </a:lnTo>
                <a:lnTo>
                  <a:pt x="691" y="1553"/>
                </a:lnTo>
                <a:lnTo>
                  <a:pt x="684" y="1555"/>
                </a:lnTo>
                <a:lnTo>
                  <a:pt x="677" y="1558"/>
                </a:lnTo>
                <a:lnTo>
                  <a:pt x="665" y="1568"/>
                </a:lnTo>
                <a:lnTo>
                  <a:pt x="652" y="1580"/>
                </a:lnTo>
                <a:lnTo>
                  <a:pt x="654" y="1594"/>
                </a:lnTo>
                <a:lnTo>
                  <a:pt x="652" y="1605"/>
                </a:lnTo>
                <a:lnTo>
                  <a:pt x="650" y="1612"/>
                </a:lnTo>
                <a:lnTo>
                  <a:pt x="647" y="1617"/>
                </a:lnTo>
                <a:lnTo>
                  <a:pt x="643" y="1621"/>
                </a:lnTo>
                <a:lnTo>
                  <a:pt x="638" y="1622"/>
                </a:lnTo>
                <a:lnTo>
                  <a:pt x="633" y="1622"/>
                </a:lnTo>
                <a:lnTo>
                  <a:pt x="630" y="1624"/>
                </a:lnTo>
                <a:lnTo>
                  <a:pt x="616" y="1624"/>
                </a:lnTo>
                <a:lnTo>
                  <a:pt x="603" y="1626"/>
                </a:lnTo>
                <a:lnTo>
                  <a:pt x="590" y="1626"/>
                </a:lnTo>
                <a:lnTo>
                  <a:pt x="576" y="1626"/>
                </a:lnTo>
                <a:lnTo>
                  <a:pt x="566" y="1624"/>
                </a:lnTo>
                <a:lnTo>
                  <a:pt x="559" y="1619"/>
                </a:lnTo>
                <a:lnTo>
                  <a:pt x="558" y="1615"/>
                </a:lnTo>
                <a:lnTo>
                  <a:pt x="556" y="1612"/>
                </a:lnTo>
                <a:lnTo>
                  <a:pt x="556" y="1609"/>
                </a:lnTo>
                <a:lnTo>
                  <a:pt x="556" y="1604"/>
                </a:lnTo>
                <a:lnTo>
                  <a:pt x="554" y="1599"/>
                </a:lnTo>
                <a:lnTo>
                  <a:pt x="551" y="1595"/>
                </a:lnTo>
                <a:lnTo>
                  <a:pt x="544" y="1594"/>
                </a:lnTo>
                <a:lnTo>
                  <a:pt x="537" y="1594"/>
                </a:lnTo>
                <a:lnTo>
                  <a:pt x="522" y="1592"/>
                </a:lnTo>
                <a:lnTo>
                  <a:pt x="512" y="1590"/>
                </a:lnTo>
                <a:lnTo>
                  <a:pt x="504" y="1587"/>
                </a:lnTo>
                <a:lnTo>
                  <a:pt x="497" y="1583"/>
                </a:lnTo>
                <a:lnTo>
                  <a:pt x="482" y="1580"/>
                </a:lnTo>
                <a:lnTo>
                  <a:pt x="470" y="1575"/>
                </a:lnTo>
                <a:lnTo>
                  <a:pt x="460" y="1572"/>
                </a:lnTo>
                <a:lnTo>
                  <a:pt x="452" y="1567"/>
                </a:lnTo>
                <a:lnTo>
                  <a:pt x="445" y="1562"/>
                </a:lnTo>
                <a:lnTo>
                  <a:pt x="441" y="1557"/>
                </a:lnTo>
                <a:lnTo>
                  <a:pt x="440" y="1551"/>
                </a:lnTo>
                <a:lnTo>
                  <a:pt x="441" y="1545"/>
                </a:lnTo>
                <a:lnTo>
                  <a:pt x="438" y="1533"/>
                </a:lnTo>
                <a:lnTo>
                  <a:pt x="436" y="1519"/>
                </a:lnTo>
                <a:lnTo>
                  <a:pt x="430" y="1506"/>
                </a:lnTo>
                <a:lnTo>
                  <a:pt x="425" y="1496"/>
                </a:lnTo>
                <a:lnTo>
                  <a:pt x="420" y="1491"/>
                </a:lnTo>
                <a:lnTo>
                  <a:pt x="413" y="1488"/>
                </a:lnTo>
                <a:lnTo>
                  <a:pt x="384" y="1469"/>
                </a:lnTo>
                <a:lnTo>
                  <a:pt x="364" y="1454"/>
                </a:lnTo>
                <a:lnTo>
                  <a:pt x="347" y="1450"/>
                </a:lnTo>
                <a:lnTo>
                  <a:pt x="334" y="1450"/>
                </a:lnTo>
                <a:lnTo>
                  <a:pt x="322" y="1452"/>
                </a:lnTo>
                <a:lnTo>
                  <a:pt x="312" y="1454"/>
                </a:lnTo>
                <a:lnTo>
                  <a:pt x="303" y="1454"/>
                </a:lnTo>
                <a:lnTo>
                  <a:pt x="295" y="1454"/>
                </a:lnTo>
                <a:lnTo>
                  <a:pt x="290" y="1452"/>
                </a:lnTo>
                <a:lnTo>
                  <a:pt x="283" y="1449"/>
                </a:lnTo>
                <a:lnTo>
                  <a:pt x="280" y="1445"/>
                </a:lnTo>
                <a:lnTo>
                  <a:pt x="275" y="1440"/>
                </a:lnTo>
                <a:lnTo>
                  <a:pt x="273" y="1435"/>
                </a:lnTo>
                <a:lnTo>
                  <a:pt x="270" y="1430"/>
                </a:lnTo>
                <a:lnTo>
                  <a:pt x="260" y="1408"/>
                </a:lnTo>
                <a:lnTo>
                  <a:pt x="248" y="1386"/>
                </a:lnTo>
                <a:lnTo>
                  <a:pt x="244" y="1381"/>
                </a:lnTo>
                <a:lnTo>
                  <a:pt x="241" y="1378"/>
                </a:lnTo>
                <a:lnTo>
                  <a:pt x="239" y="1375"/>
                </a:lnTo>
                <a:lnTo>
                  <a:pt x="239" y="1370"/>
                </a:lnTo>
                <a:lnTo>
                  <a:pt x="239" y="1363"/>
                </a:lnTo>
                <a:lnTo>
                  <a:pt x="241" y="1354"/>
                </a:lnTo>
                <a:lnTo>
                  <a:pt x="238" y="1346"/>
                </a:lnTo>
                <a:lnTo>
                  <a:pt x="236" y="1339"/>
                </a:lnTo>
                <a:lnTo>
                  <a:pt x="233" y="1334"/>
                </a:lnTo>
                <a:lnTo>
                  <a:pt x="228" y="1329"/>
                </a:lnTo>
                <a:lnTo>
                  <a:pt x="224" y="1326"/>
                </a:lnTo>
                <a:lnTo>
                  <a:pt x="219" y="1324"/>
                </a:lnTo>
                <a:lnTo>
                  <a:pt x="214" y="1324"/>
                </a:lnTo>
                <a:lnTo>
                  <a:pt x="209" y="1324"/>
                </a:lnTo>
                <a:lnTo>
                  <a:pt x="184" y="1302"/>
                </a:lnTo>
                <a:lnTo>
                  <a:pt x="165" y="1289"/>
                </a:lnTo>
                <a:lnTo>
                  <a:pt x="154" y="1280"/>
                </a:lnTo>
                <a:lnTo>
                  <a:pt x="147" y="1277"/>
                </a:lnTo>
                <a:lnTo>
                  <a:pt x="138" y="1275"/>
                </a:lnTo>
                <a:lnTo>
                  <a:pt x="128" y="1272"/>
                </a:lnTo>
                <a:lnTo>
                  <a:pt x="110" y="1258"/>
                </a:lnTo>
                <a:lnTo>
                  <a:pt x="93" y="1245"/>
                </a:lnTo>
                <a:lnTo>
                  <a:pt x="83" y="1238"/>
                </a:lnTo>
                <a:lnTo>
                  <a:pt x="78" y="1230"/>
                </a:lnTo>
                <a:lnTo>
                  <a:pt x="78" y="1225"/>
                </a:lnTo>
                <a:lnTo>
                  <a:pt x="78" y="1221"/>
                </a:lnTo>
                <a:lnTo>
                  <a:pt x="78" y="1216"/>
                </a:lnTo>
                <a:lnTo>
                  <a:pt x="81" y="1213"/>
                </a:lnTo>
                <a:lnTo>
                  <a:pt x="88" y="1193"/>
                </a:lnTo>
                <a:lnTo>
                  <a:pt x="96" y="1173"/>
                </a:lnTo>
                <a:lnTo>
                  <a:pt x="105" y="1157"/>
                </a:lnTo>
                <a:lnTo>
                  <a:pt x="115" y="1142"/>
                </a:lnTo>
                <a:lnTo>
                  <a:pt x="123" y="1127"/>
                </a:lnTo>
                <a:lnTo>
                  <a:pt x="132" y="1112"/>
                </a:lnTo>
                <a:lnTo>
                  <a:pt x="135" y="1107"/>
                </a:lnTo>
                <a:lnTo>
                  <a:pt x="137" y="1102"/>
                </a:lnTo>
                <a:lnTo>
                  <a:pt x="137" y="1098"/>
                </a:lnTo>
                <a:lnTo>
                  <a:pt x="137" y="1095"/>
                </a:lnTo>
                <a:lnTo>
                  <a:pt x="133" y="1090"/>
                </a:lnTo>
                <a:lnTo>
                  <a:pt x="127" y="1085"/>
                </a:lnTo>
                <a:lnTo>
                  <a:pt x="113" y="1080"/>
                </a:lnTo>
                <a:lnTo>
                  <a:pt x="100" y="1073"/>
                </a:lnTo>
                <a:lnTo>
                  <a:pt x="90" y="1066"/>
                </a:lnTo>
                <a:lnTo>
                  <a:pt x="81" y="1056"/>
                </a:lnTo>
                <a:lnTo>
                  <a:pt x="68" y="1048"/>
                </a:lnTo>
                <a:lnTo>
                  <a:pt x="56" y="1040"/>
                </a:lnTo>
                <a:lnTo>
                  <a:pt x="48" y="1031"/>
                </a:lnTo>
                <a:lnTo>
                  <a:pt x="42" y="1023"/>
                </a:lnTo>
                <a:lnTo>
                  <a:pt x="39" y="1016"/>
                </a:lnTo>
                <a:lnTo>
                  <a:pt x="37" y="1008"/>
                </a:lnTo>
                <a:lnTo>
                  <a:pt x="41" y="999"/>
                </a:lnTo>
                <a:lnTo>
                  <a:pt x="48" y="991"/>
                </a:lnTo>
                <a:lnTo>
                  <a:pt x="66" y="969"/>
                </a:lnTo>
                <a:lnTo>
                  <a:pt x="85" y="945"/>
                </a:lnTo>
                <a:lnTo>
                  <a:pt x="90" y="930"/>
                </a:lnTo>
                <a:lnTo>
                  <a:pt x="96" y="920"/>
                </a:lnTo>
                <a:lnTo>
                  <a:pt x="100" y="917"/>
                </a:lnTo>
                <a:lnTo>
                  <a:pt x="105" y="913"/>
                </a:lnTo>
                <a:lnTo>
                  <a:pt x="108" y="912"/>
                </a:lnTo>
                <a:lnTo>
                  <a:pt x="113" y="910"/>
                </a:lnTo>
                <a:lnTo>
                  <a:pt x="113" y="896"/>
                </a:lnTo>
                <a:lnTo>
                  <a:pt x="113" y="885"/>
                </a:lnTo>
                <a:lnTo>
                  <a:pt x="112" y="871"/>
                </a:lnTo>
                <a:lnTo>
                  <a:pt x="112" y="858"/>
                </a:lnTo>
                <a:lnTo>
                  <a:pt x="100" y="837"/>
                </a:lnTo>
                <a:lnTo>
                  <a:pt x="88" y="816"/>
                </a:lnTo>
                <a:lnTo>
                  <a:pt x="73" y="800"/>
                </a:lnTo>
                <a:lnTo>
                  <a:pt x="56" y="787"/>
                </a:lnTo>
                <a:lnTo>
                  <a:pt x="41" y="772"/>
                </a:lnTo>
                <a:lnTo>
                  <a:pt x="26" y="757"/>
                </a:lnTo>
                <a:lnTo>
                  <a:pt x="14" y="745"/>
                </a:lnTo>
                <a:lnTo>
                  <a:pt x="7" y="733"/>
                </a:lnTo>
                <a:lnTo>
                  <a:pt x="5" y="728"/>
                </a:lnTo>
                <a:lnTo>
                  <a:pt x="5" y="721"/>
                </a:lnTo>
                <a:lnTo>
                  <a:pt x="5" y="716"/>
                </a:lnTo>
                <a:lnTo>
                  <a:pt x="7" y="709"/>
                </a:lnTo>
                <a:lnTo>
                  <a:pt x="7" y="699"/>
                </a:lnTo>
                <a:lnTo>
                  <a:pt x="7" y="689"/>
                </a:lnTo>
                <a:lnTo>
                  <a:pt x="4" y="679"/>
                </a:lnTo>
                <a:lnTo>
                  <a:pt x="0" y="669"/>
                </a:lnTo>
                <a:lnTo>
                  <a:pt x="0" y="651"/>
                </a:lnTo>
                <a:lnTo>
                  <a:pt x="2" y="634"/>
                </a:lnTo>
                <a:lnTo>
                  <a:pt x="5" y="622"/>
                </a:lnTo>
                <a:lnTo>
                  <a:pt x="11" y="610"/>
                </a:lnTo>
                <a:lnTo>
                  <a:pt x="17" y="602"/>
                </a:lnTo>
                <a:lnTo>
                  <a:pt x="24" y="595"/>
                </a:lnTo>
                <a:lnTo>
                  <a:pt x="32" y="590"/>
                </a:lnTo>
                <a:lnTo>
                  <a:pt x="42" y="587"/>
                </a:lnTo>
                <a:lnTo>
                  <a:pt x="61" y="593"/>
                </a:lnTo>
                <a:lnTo>
                  <a:pt x="78" y="600"/>
                </a:lnTo>
                <a:lnTo>
                  <a:pt x="80" y="597"/>
                </a:lnTo>
                <a:lnTo>
                  <a:pt x="80" y="592"/>
                </a:lnTo>
                <a:lnTo>
                  <a:pt x="78" y="588"/>
                </a:lnTo>
                <a:lnTo>
                  <a:pt x="76" y="585"/>
                </a:lnTo>
                <a:lnTo>
                  <a:pt x="66" y="576"/>
                </a:lnTo>
                <a:lnTo>
                  <a:pt x="54" y="568"/>
                </a:lnTo>
                <a:lnTo>
                  <a:pt x="56" y="551"/>
                </a:lnTo>
                <a:lnTo>
                  <a:pt x="59" y="536"/>
                </a:lnTo>
                <a:lnTo>
                  <a:pt x="63" y="531"/>
                </a:lnTo>
                <a:lnTo>
                  <a:pt x="68" y="526"/>
                </a:lnTo>
                <a:lnTo>
                  <a:pt x="73" y="523"/>
                </a:lnTo>
                <a:lnTo>
                  <a:pt x="78" y="519"/>
                </a:lnTo>
                <a:lnTo>
                  <a:pt x="83" y="507"/>
                </a:lnTo>
                <a:lnTo>
                  <a:pt x="88" y="497"/>
                </a:lnTo>
                <a:lnTo>
                  <a:pt x="93" y="489"/>
                </a:lnTo>
                <a:lnTo>
                  <a:pt x="100" y="482"/>
                </a:lnTo>
                <a:lnTo>
                  <a:pt x="105" y="477"/>
                </a:lnTo>
                <a:lnTo>
                  <a:pt x="112" y="472"/>
                </a:lnTo>
                <a:lnTo>
                  <a:pt x="118" y="470"/>
                </a:lnTo>
                <a:lnTo>
                  <a:pt x="127" y="469"/>
                </a:lnTo>
                <a:lnTo>
                  <a:pt x="145" y="472"/>
                </a:lnTo>
                <a:lnTo>
                  <a:pt x="165" y="470"/>
                </a:lnTo>
                <a:lnTo>
                  <a:pt x="175" y="470"/>
                </a:lnTo>
                <a:lnTo>
                  <a:pt x="184" y="467"/>
                </a:lnTo>
                <a:lnTo>
                  <a:pt x="194" y="464"/>
                </a:lnTo>
                <a:lnTo>
                  <a:pt x="202" y="460"/>
                </a:lnTo>
                <a:lnTo>
                  <a:pt x="216" y="454"/>
                </a:lnTo>
                <a:lnTo>
                  <a:pt x="229" y="448"/>
                </a:lnTo>
                <a:lnTo>
                  <a:pt x="236" y="448"/>
                </a:lnTo>
                <a:lnTo>
                  <a:pt x="244" y="448"/>
                </a:lnTo>
                <a:lnTo>
                  <a:pt x="253" y="450"/>
                </a:lnTo>
                <a:lnTo>
                  <a:pt x="263" y="454"/>
                </a:lnTo>
                <a:lnTo>
                  <a:pt x="276" y="450"/>
                </a:lnTo>
                <a:lnTo>
                  <a:pt x="290" y="447"/>
                </a:lnTo>
                <a:lnTo>
                  <a:pt x="305" y="445"/>
                </a:lnTo>
                <a:lnTo>
                  <a:pt x="319" y="442"/>
                </a:lnTo>
                <a:lnTo>
                  <a:pt x="344" y="448"/>
                </a:lnTo>
                <a:lnTo>
                  <a:pt x="366" y="452"/>
                </a:lnTo>
                <a:lnTo>
                  <a:pt x="383" y="452"/>
                </a:lnTo>
                <a:lnTo>
                  <a:pt x="396" y="450"/>
                </a:lnTo>
                <a:lnTo>
                  <a:pt x="418" y="440"/>
                </a:lnTo>
                <a:lnTo>
                  <a:pt x="438" y="432"/>
                </a:lnTo>
                <a:lnTo>
                  <a:pt x="443" y="427"/>
                </a:lnTo>
                <a:lnTo>
                  <a:pt x="450" y="422"/>
                </a:lnTo>
                <a:lnTo>
                  <a:pt x="457" y="418"/>
                </a:lnTo>
                <a:lnTo>
                  <a:pt x="463" y="416"/>
                </a:lnTo>
                <a:lnTo>
                  <a:pt x="470" y="415"/>
                </a:lnTo>
                <a:lnTo>
                  <a:pt x="478" y="416"/>
                </a:lnTo>
                <a:lnTo>
                  <a:pt x="485" y="418"/>
                </a:lnTo>
                <a:lnTo>
                  <a:pt x="494" y="422"/>
                </a:lnTo>
                <a:lnTo>
                  <a:pt x="512" y="422"/>
                </a:lnTo>
                <a:lnTo>
                  <a:pt x="531" y="425"/>
                </a:lnTo>
                <a:lnTo>
                  <a:pt x="541" y="427"/>
                </a:lnTo>
                <a:lnTo>
                  <a:pt x="547" y="430"/>
                </a:lnTo>
                <a:lnTo>
                  <a:pt x="556" y="433"/>
                </a:lnTo>
                <a:lnTo>
                  <a:pt x="563" y="438"/>
                </a:lnTo>
                <a:lnTo>
                  <a:pt x="569" y="445"/>
                </a:lnTo>
                <a:lnTo>
                  <a:pt x="576" y="448"/>
                </a:lnTo>
                <a:lnTo>
                  <a:pt x="583" y="452"/>
                </a:lnTo>
                <a:lnTo>
                  <a:pt x="588" y="454"/>
                </a:lnTo>
                <a:lnTo>
                  <a:pt x="593" y="454"/>
                </a:lnTo>
                <a:lnTo>
                  <a:pt x="598" y="450"/>
                </a:lnTo>
                <a:lnTo>
                  <a:pt x="601" y="445"/>
                </a:lnTo>
                <a:lnTo>
                  <a:pt x="605" y="437"/>
                </a:lnTo>
                <a:lnTo>
                  <a:pt x="603" y="423"/>
                </a:lnTo>
                <a:lnTo>
                  <a:pt x="603" y="411"/>
                </a:lnTo>
                <a:lnTo>
                  <a:pt x="603" y="401"/>
                </a:lnTo>
                <a:lnTo>
                  <a:pt x="605" y="393"/>
                </a:lnTo>
                <a:lnTo>
                  <a:pt x="608" y="384"/>
                </a:lnTo>
                <a:lnTo>
                  <a:pt x="611" y="379"/>
                </a:lnTo>
                <a:lnTo>
                  <a:pt x="618" y="376"/>
                </a:lnTo>
                <a:lnTo>
                  <a:pt x="625" y="373"/>
                </a:lnTo>
                <a:lnTo>
                  <a:pt x="622" y="354"/>
                </a:lnTo>
                <a:lnTo>
                  <a:pt x="618" y="336"/>
                </a:lnTo>
                <a:lnTo>
                  <a:pt x="613" y="322"/>
                </a:lnTo>
                <a:lnTo>
                  <a:pt x="610" y="312"/>
                </a:lnTo>
                <a:lnTo>
                  <a:pt x="610" y="304"/>
                </a:lnTo>
                <a:lnTo>
                  <a:pt x="611" y="299"/>
                </a:lnTo>
                <a:lnTo>
                  <a:pt x="615" y="295"/>
                </a:lnTo>
                <a:lnTo>
                  <a:pt x="620" y="294"/>
                </a:lnTo>
                <a:lnTo>
                  <a:pt x="627" y="294"/>
                </a:lnTo>
                <a:lnTo>
                  <a:pt x="633" y="297"/>
                </a:lnTo>
                <a:lnTo>
                  <a:pt x="627" y="277"/>
                </a:lnTo>
                <a:lnTo>
                  <a:pt x="618" y="256"/>
                </a:lnTo>
                <a:lnTo>
                  <a:pt x="611" y="245"/>
                </a:lnTo>
                <a:lnTo>
                  <a:pt x="608" y="233"/>
                </a:lnTo>
                <a:lnTo>
                  <a:pt x="605" y="224"/>
                </a:lnTo>
                <a:lnTo>
                  <a:pt x="605" y="214"/>
                </a:lnTo>
                <a:lnTo>
                  <a:pt x="606" y="208"/>
                </a:lnTo>
                <a:lnTo>
                  <a:pt x="608" y="201"/>
                </a:lnTo>
                <a:lnTo>
                  <a:pt x="613" y="196"/>
                </a:lnTo>
                <a:lnTo>
                  <a:pt x="618" y="191"/>
                </a:lnTo>
                <a:lnTo>
                  <a:pt x="628" y="179"/>
                </a:lnTo>
                <a:lnTo>
                  <a:pt x="638" y="167"/>
                </a:lnTo>
                <a:lnTo>
                  <a:pt x="625" y="149"/>
                </a:lnTo>
                <a:lnTo>
                  <a:pt x="613" y="130"/>
                </a:lnTo>
                <a:lnTo>
                  <a:pt x="610" y="128"/>
                </a:lnTo>
                <a:lnTo>
                  <a:pt x="608" y="125"/>
                </a:lnTo>
                <a:lnTo>
                  <a:pt x="606" y="118"/>
                </a:lnTo>
                <a:lnTo>
                  <a:pt x="606" y="112"/>
                </a:lnTo>
                <a:lnTo>
                  <a:pt x="606" y="105"/>
                </a:lnTo>
                <a:lnTo>
                  <a:pt x="606" y="95"/>
                </a:lnTo>
                <a:lnTo>
                  <a:pt x="603" y="85"/>
                </a:lnTo>
                <a:lnTo>
                  <a:pt x="600" y="75"/>
                </a:lnTo>
                <a:lnTo>
                  <a:pt x="598" y="66"/>
                </a:lnTo>
                <a:lnTo>
                  <a:pt x="595" y="59"/>
                </a:lnTo>
                <a:lnTo>
                  <a:pt x="593" y="51"/>
                </a:lnTo>
                <a:lnTo>
                  <a:pt x="593" y="44"/>
                </a:lnTo>
                <a:lnTo>
                  <a:pt x="595" y="38"/>
                </a:lnTo>
                <a:lnTo>
                  <a:pt x="600" y="32"/>
                </a:lnTo>
                <a:lnTo>
                  <a:pt x="606" y="29"/>
                </a:lnTo>
                <a:lnTo>
                  <a:pt x="618" y="27"/>
                </a:lnTo>
                <a:lnTo>
                  <a:pt x="632" y="19"/>
                </a:lnTo>
                <a:lnTo>
                  <a:pt x="637" y="17"/>
                </a:lnTo>
                <a:lnTo>
                  <a:pt x="640" y="21"/>
                </a:lnTo>
                <a:lnTo>
                  <a:pt x="648" y="29"/>
                </a:lnTo>
                <a:lnTo>
                  <a:pt x="655" y="32"/>
                </a:lnTo>
                <a:lnTo>
                  <a:pt x="662" y="34"/>
                </a:lnTo>
                <a:lnTo>
                  <a:pt x="670" y="32"/>
                </a:lnTo>
                <a:lnTo>
                  <a:pt x="677" y="29"/>
                </a:lnTo>
                <a:lnTo>
                  <a:pt x="697" y="21"/>
                </a:lnTo>
                <a:lnTo>
                  <a:pt x="717" y="12"/>
                </a:lnTo>
                <a:lnTo>
                  <a:pt x="724" y="19"/>
                </a:lnTo>
                <a:lnTo>
                  <a:pt x="731" y="24"/>
                </a:lnTo>
                <a:lnTo>
                  <a:pt x="738" y="27"/>
                </a:lnTo>
                <a:lnTo>
                  <a:pt x="746" y="29"/>
                </a:lnTo>
                <a:lnTo>
                  <a:pt x="755" y="29"/>
                </a:lnTo>
                <a:lnTo>
                  <a:pt x="763" y="26"/>
                </a:lnTo>
                <a:lnTo>
                  <a:pt x="773" y="22"/>
                </a:lnTo>
                <a:lnTo>
                  <a:pt x="783" y="14"/>
                </a:lnTo>
                <a:lnTo>
                  <a:pt x="785" y="9"/>
                </a:lnTo>
                <a:lnTo>
                  <a:pt x="787" y="4"/>
                </a:lnTo>
                <a:lnTo>
                  <a:pt x="790" y="2"/>
                </a:lnTo>
                <a:lnTo>
                  <a:pt x="793" y="0"/>
                </a:lnTo>
                <a:lnTo>
                  <a:pt x="797" y="0"/>
                </a:lnTo>
                <a:lnTo>
                  <a:pt x="800" y="2"/>
                </a:lnTo>
                <a:lnTo>
                  <a:pt x="805" y="6"/>
                </a:lnTo>
                <a:lnTo>
                  <a:pt x="812" y="11"/>
                </a:lnTo>
                <a:lnTo>
                  <a:pt x="810" y="16"/>
                </a:lnTo>
                <a:lnTo>
                  <a:pt x="810" y="21"/>
                </a:lnTo>
                <a:lnTo>
                  <a:pt x="810" y="26"/>
                </a:lnTo>
                <a:lnTo>
                  <a:pt x="812" y="29"/>
                </a:lnTo>
                <a:lnTo>
                  <a:pt x="815" y="31"/>
                </a:lnTo>
                <a:lnTo>
                  <a:pt x="818" y="32"/>
                </a:lnTo>
                <a:lnTo>
                  <a:pt x="822" y="34"/>
                </a:lnTo>
                <a:lnTo>
                  <a:pt x="827" y="34"/>
                </a:lnTo>
                <a:lnTo>
                  <a:pt x="830" y="41"/>
                </a:lnTo>
                <a:lnTo>
                  <a:pt x="835" y="48"/>
                </a:lnTo>
                <a:lnTo>
                  <a:pt x="840" y="53"/>
                </a:lnTo>
                <a:lnTo>
                  <a:pt x="847" y="58"/>
                </a:lnTo>
                <a:lnTo>
                  <a:pt x="854" y="59"/>
                </a:lnTo>
                <a:lnTo>
                  <a:pt x="862" y="63"/>
                </a:lnTo>
                <a:lnTo>
                  <a:pt x="872" y="63"/>
                </a:lnTo>
                <a:lnTo>
                  <a:pt x="881" y="63"/>
                </a:lnTo>
                <a:lnTo>
                  <a:pt x="911" y="59"/>
                </a:lnTo>
                <a:lnTo>
                  <a:pt x="941" y="59"/>
                </a:lnTo>
                <a:lnTo>
                  <a:pt x="957" y="59"/>
                </a:lnTo>
                <a:lnTo>
                  <a:pt x="972" y="61"/>
                </a:lnTo>
                <a:lnTo>
                  <a:pt x="988" y="64"/>
                </a:lnTo>
                <a:lnTo>
                  <a:pt x="1004" y="68"/>
                </a:lnTo>
                <a:lnTo>
                  <a:pt x="1010" y="73"/>
                </a:lnTo>
                <a:lnTo>
                  <a:pt x="1017" y="78"/>
                </a:lnTo>
                <a:lnTo>
                  <a:pt x="1026" y="81"/>
                </a:lnTo>
                <a:lnTo>
                  <a:pt x="1034" y="83"/>
                </a:lnTo>
                <a:lnTo>
                  <a:pt x="1042" y="85"/>
                </a:lnTo>
                <a:lnTo>
                  <a:pt x="1054" y="86"/>
                </a:lnTo>
                <a:lnTo>
                  <a:pt x="1064" y="86"/>
                </a:lnTo>
                <a:lnTo>
                  <a:pt x="1078" y="85"/>
                </a:lnTo>
                <a:lnTo>
                  <a:pt x="1086" y="83"/>
                </a:lnTo>
                <a:lnTo>
                  <a:pt x="1093" y="81"/>
                </a:lnTo>
                <a:lnTo>
                  <a:pt x="1096" y="83"/>
                </a:lnTo>
                <a:lnTo>
                  <a:pt x="1098" y="85"/>
                </a:lnTo>
                <a:lnTo>
                  <a:pt x="1100" y="86"/>
                </a:lnTo>
                <a:lnTo>
                  <a:pt x="1100" y="90"/>
                </a:lnTo>
                <a:lnTo>
                  <a:pt x="1103" y="95"/>
                </a:lnTo>
                <a:lnTo>
                  <a:pt x="1106" y="96"/>
                </a:lnTo>
                <a:lnTo>
                  <a:pt x="1110" y="98"/>
                </a:lnTo>
                <a:lnTo>
                  <a:pt x="1113" y="98"/>
                </a:lnTo>
                <a:lnTo>
                  <a:pt x="1121" y="95"/>
                </a:lnTo>
                <a:lnTo>
                  <a:pt x="1128" y="90"/>
                </a:lnTo>
                <a:lnTo>
                  <a:pt x="1140" y="80"/>
                </a:lnTo>
                <a:lnTo>
                  <a:pt x="1153" y="68"/>
                </a:lnTo>
                <a:lnTo>
                  <a:pt x="1160" y="80"/>
                </a:lnTo>
                <a:lnTo>
                  <a:pt x="1169" y="93"/>
                </a:lnTo>
                <a:lnTo>
                  <a:pt x="1175" y="102"/>
                </a:lnTo>
                <a:lnTo>
                  <a:pt x="1179" y="110"/>
                </a:lnTo>
                <a:lnTo>
                  <a:pt x="1180" y="118"/>
                </a:lnTo>
                <a:lnTo>
                  <a:pt x="1180" y="128"/>
                </a:lnTo>
                <a:lnTo>
                  <a:pt x="1177" y="139"/>
                </a:lnTo>
                <a:lnTo>
                  <a:pt x="1174" y="147"/>
                </a:lnTo>
                <a:lnTo>
                  <a:pt x="1167" y="157"/>
                </a:lnTo>
                <a:lnTo>
                  <a:pt x="1159" y="167"/>
                </a:lnTo>
                <a:lnTo>
                  <a:pt x="1148" y="179"/>
                </a:lnTo>
                <a:lnTo>
                  <a:pt x="1140" y="187"/>
                </a:lnTo>
                <a:lnTo>
                  <a:pt x="1135" y="196"/>
                </a:lnTo>
                <a:lnTo>
                  <a:pt x="1133" y="203"/>
                </a:lnTo>
                <a:lnTo>
                  <a:pt x="1133" y="208"/>
                </a:lnTo>
                <a:lnTo>
                  <a:pt x="1137" y="211"/>
                </a:lnTo>
                <a:lnTo>
                  <a:pt x="1143" y="213"/>
                </a:lnTo>
                <a:lnTo>
                  <a:pt x="1152" y="213"/>
                </a:lnTo>
                <a:lnTo>
                  <a:pt x="1160" y="230"/>
                </a:lnTo>
                <a:lnTo>
                  <a:pt x="1170" y="246"/>
                </a:lnTo>
                <a:lnTo>
                  <a:pt x="1179" y="263"/>
                </a:lnTo>
                <a:lnTo>
                  <a:pt x="1187" y="278"/>
                </a:lnTo>
                <a:lnTo>
                  <a:pt x="1190" y="290"/>
                </a:lnTo>
                <a:lnTo>
                  <a:pt x="1192" y="299"/>
                </a:lnTo>
                <a:lnTo>
                  <a:pt x="1192" y="307"/>
                </a:lnTo>
                <a:lnTo>
                  <a:pt x="1190" y="314"/>
                </a:lnTo>
                <a:lnTo>
                  <a:pt x="1189" y="319"/>
                </a:lnTo>
                <a:lnTo>
                  <a:pt x="1184" y="324"/>
                </a:lnTo>
                <a:lnTo>
                  <a:pt x="1180" y="327"/>
                </a:lnTo>
                <a:lnTo>
                  <a:pt x="1175" y="331"/>
                </a:lnTo>
                <a:lnTo>
                  <a:pt x="1169" y="339"/>
                </a:lnTo>
                <a:lnTo>
                  <a:pt x="1164" y="347"/>
                </a:lnTo>
                <a:lnTo>
                  <a:pt x="1160" y="356"/>
                </a:lnTo>
                <a:lnTo>
                  <a:pt x="1157" y="364"/>
                </a:lnTo>
                <a:lnTo>
                  <a:pt x="1155" y="373"/>
                </a:lnTo>
                <a:lnTo>
                  <a:pt x="1155" y="381"/>
                </a:lnTo>
                <a:lnTo>
                  <a:pt x="1155" y="390"/>
                </a:lnTo>
                <a:lnTo>
                  <a:pt x="1155" y="398"/>
                </a:lnTo>
                <a:lnTo>
                  <a:pt x="1153" y="411"/>
                </a:lnTo>
                <a:lnTo>
                  <a:pt x="1152" y="422"/>
                </a:lnTo>
                <a:lnTo>
                  <a:pt x="1153" y="430"/>
                </a:lnTo>
                <a:lnTo>
                  <a:pt x="1159" y="435"/>
                </a:lnTo>
                <a:lnTo>
                  <a:pt x="1164" y="437"/>
                </a:lnTo>
                <a:lnTo>
                  <a:pt x="1170" y="438"/>
                </a:lnTo>
                <a:lnTo>
                  <a:pt x="1179" y="438"/>
                </a:lnTo>
                <a:lnTo>
                  <a:pt x="1187" y="438"/>
                </a:lnTo>
                <a:lnTo>
                  <a:pt x="1202" y="435"/>
                </a:lnTo>
                <a:lnTo>
                  <a:pt x="1216" y="433"/>
                </a:lnTo>
                <a:lnTo>
                  <a:pt x="1219" y="435"/>
                </a:lnTo>
                <a:lnTo>
                  <a:pt x="1221" y="437"/>
                </a:lnTo>
                <a:lnTo>
                  <a:pt x="1221" y="440"/>
                </a:lnTo>
                <a:lnTo>
                  <a:pt x="1217" y="445"/>
                </a:lnTo>
                <a:lnTo>
                  <a:pt x="1206" y="459"/>
                </a:lnTo>
                <a:lnTo>
                  <a:pt x="1197" y="470"/>
                </a:lnTo>
                <a:lnTo>
                  <a:pt x="1192" y="477"/>
                </a:lnTo>
                <a:lnTo>
                  <a:pt x="1190" y="482"/>
                </a:lnTo>
                <a:lnTo>
                  <a:pt x="1189" y="489"/>
                </a:lnTo>
                <a:lnTo>
                  <a:pt x="1189" y="496"/>
                </a:lnTo>
                <a:lnTo>
                  <a:pt x="1184" y="509"/>
                </a:lnTo>
                <a:lnTo>
                  <a:pt x="1180" y="521"/>
                </a:lnTo>
                <a:lnTo>
                  <a:pt x="1182" y="533"/>
                </a:lnTo>
                <a:lnTo>
                  <a:pt x="1184" y="543"/>
                </a:lnTo>
                <a:lnTo>
                  <a:pt x="1189" y="551"/>
                </a:lnTo>
                <a:lnTo>
                  <a:pt x="1194" y="560"/>
                </a:lnTo>
                <a:lnTo>
                  <a:pt x="1202" y="568"/>
                </a:lnTo>
                <a:lnTo>
                  <a:pt x="1209" y="576"/>
                </a:lnTo>
                <a:lnTo>
                  <a:pt x="1216" y="590"/>
                </a:lnTo>
                <a:lnTo>
                  <a:pt x="1222" y="602"/>
                </a:lnTo>
                <a:lnTo>
                  <a:pt x="1226" y="605"/>
                </a:lnTo>
                <a:lnTo>
                  <a:pt x="1231" y="608"/>
                </a:lnTo>
                <a:lnTo>
                  <a:pt x="1234" y="612"/>
                </a:lnTo>
                <a:lnTo>
                  <a:pt x="1241" y="612"/>
                </a:lnTo>
                <a:lnTo>
                  <a:pt x="1248" y="624"/>
                </a:lnTo>
                <a:lnTo>
                  <a:pt x="1256" y="632"/>
                </a:lnTo>
                <a:lnTo>
                  <a:pt x="1263" y="640"/>
                </a:lnTo>
                <a:lnTo>
                  <a:pt x="1271" y="647"/>
                </a:lnTo>
                <a:lnTo>
                  <a:pt x="1280" y="654"/>
                </a:lnTo>
                <a:lnTo>
                  <a:pt x="1290" y="657"/>
                </a:lnTo>
                <a:lnTo>
                  <a:pt x="1300" y="661"/>
                </a:lnTo>
                <a:lnTo>
                  <a:pt x="1310" y="664"/>
                </a:lnTo>
                <a:lnTo>
                  <a:pt x="1312" y="666"/>
                </a:lnTo>
                <a:lnTo>
                  <a:pt x="1315" y="669"/>
                </a:lnTo>
                <a:lnTo>
                  <a:pt x="1320" y="671"/>
                </a:lnTo>
                <a:lnTo>
                  <a:pt x="1323" y="671"/>
                </a:lnTo>
                <a:lnTo>
                  <a:pt x="1334" y="671"/>
                </a:lnTo>
                <a:lnTo>
                  <a:pt x="1345" y="666"/>
                </a:lnTo>
                <a:lnTo>
                  <a:pt x="1357" y="664"/>
                </a:lnTo>
                <a:lnTo>
                  <a:pt x="1364" y="664"/>
                </a:lnTo>
                <a:lnTo>
                  <a:pt x="1367" y="664"/>
                </a:lnTo>
                <a:lnTo>
                  <a:pt x="1369" y="666"/>
                </a:lnTo>
                <a:lnTo>
                  <a:pt x="1369" y="667"/>
                </a:lnTo>
                <a:lnTo>
                  <a:pt x="1371" y="669"/>
                </a:lnTo>
                <a:lnTo>
                  <a:pt x="1384" y="681"/>
                </a:lnTo>
                <a:lnTo>
                  <a:pt x="1399" y="691"/>
                </a:lnTo>
                <a:lnTo>
                  <a:pt x="1413" y="698"/>
                </a:lnTo>
                <a:lnTo>
                  <a:pt x="1426" y="701"/>
                </a:lnTo>
                <a:lnTo>
                  <a:pt x="1438" y="704"/>
                </a:lnTo>
                <a:lnTo>
                  <a:pt x="1451" y="704"/>
                </a:lnTo>
                <a:lnTo>
                  <a:pt x="1463" y="703"/>
                </a:lnTo>
                <a:lnTo>
                  <a:pt x="1475" y="701"/>
                </a:lnTo>
                <a:lnTo>
                  <a:pt x="1482" y="698"/>
                </a:lnTo>
                <a:lnTo>
                  <a:pt x="1488" y="698"/>
                </a:lnTo>
                <a:lnTo>
                  <a:pt x="1495" y="699"/>
                </a:lnTo>
                <a:lnTo>
                  <a:pt x="1500" y="703"/>
                </a:lnTo>
                <a:lnTo>
                  <a:pt x="1504" y="708"/>
                </a:lnTo>
                <a:lnTo>
                  <a:pt x="1507" y="716"/>
                </a:lnTo>
                <a:lnTo>
                  <a:pt x="1509" y="725"/>
                </a:lnTo>
                <a:lnTo>
                  <a:pt x="1509" y="736"/>
                </a:lnTo>
                <a:lnTo>
                  <a:pt x="1536" y="758"/>
                </a:lnTo>
                <a:lnTo>
                  <a:pt x="1562" y="780"/>
                </a:lnTo>
                <a:lnTo>
                  <a:pt x="1588" y="800"/>
                </a:lnTo>
                <a:lnTo>
                  <a:pt x="1615" y="822"/>
                </a:lnTo>
                <a:lnTo>
                  <a:pt x="1615" y="824"/>
                </a:lnTo>
                <a:lnTo>
                  <a:pt x="1615" y="827"/>
                </a:lnTo>
                <a:lnTo>
                  <a:pt x="1600" y="837"/>
                </a:lnTo>
                <a:lnTo>
                  <a:pt x="1586" y="844"/>
                </a:lnTo>
                <a:lnTo>
                  <a:pt x="1573" y="848"/>
                </a:lnTo>
                <a:lnTo>
                  <a:pt x="1559" y="849"/>
                </a:lnTo>
                <a:lnTo>
                  <a:pt x="1554" y="854"/>
                </a:lnTo>
                <a:lnTo>
                  <a:pt x="1551" y="859"/>
                </a:lnTo>
                <a:lnTo>
                  <a:pt x="1549" y="864"/>
                </a:lnTo>
                <a:lnTo>
                  <a:pt x="1549" y="868"/>
                </a:lnTo>
                <a:lnTo>
                  <a:pt x="1551" y="871"/>
                </a:lnTo>
                <a:lnTo>
                  <a:pt x="1554" y="875"/>
                </a:lnTo>
                <a:lnTo>
                  <a:pt x="1561" y="878"/>
                </a:lnTo>
                <a:lnTo>
                  <a:pt x="1568" y="880"/>
                </a:lnTo>
                <a:lnTo>
                  <a:pt x="1578" y="883"/>
                </a:lnTo>
                <a:lnTo>
                  <a:pt x="1588" y="886"/>
                </a:lnTo>
                <a:lnTo>
                  <a:pt x="1596" y="888"/>
                </a:lnTo>
                <a:lnTo>
                  <a:pt x="1601" y="890"/>
                </a:lnTo>
                <a:lnTo>
                  <a:pt x="1603" y="893"/>
                </a:lnTo>
                <a:lnTo>
                  <a:pt x="1603" y="895"/>
                </a:lnTo>
                <a:lnTo>
                  <a:pt x="1601" y="896"/>
                </a:lnTo>
                <a:lnTo>
                  <a:pt x="1596" y="900"/>
                </a:lnTo>
                <a:lnTo>
                  <a:pt x="1588" y="903"/>
                </a:lnTo>
                <a:lnTo>
                  <a:pt x="1578" y="905"/>
                </a:lnTo>
                <a:lnTo>
                  <a:pt x="1568" y="905"/>
                </a:lnTo>
                <a:lnTo>
                  <a:pt x="1556" y="905"/>
                </a:lnTo>
                <a:lnTo>
                  <a:pt x="1546" y="907"/>
                </a:lnTo>
                <a:lnTo>
                  <a:pt x="1534" y="912"/>
                </a:lnTo>
                <a:lnTo>
                  <a:pt x="1524" y="915"/>
                </a:lnTo>
                <a:lnTo>
                  <a:pt x="1514" y="918"/>
                </a:lnTo>
                <a:lnTo>
                  <a:pt x="1493" y="920"/>
                </a:lnTo>
                <a:lnTo>
                  <a:pt x="1473" y="922"/>
                </a:lnTo>
                <a:lnTo>
                  <a:pt x="1467" y="922"/>
                </a:lnTo>
                <a:lnTo>
                  <a:pt x="1461" y="923"/>
                </a:lnTo>
                <a:lnTo>
                  <a:pt x="1455" y="925"/>
                </a:lnTo>
                <a:lnTo>
                  <a:pt x="1448" y="930"/>
                </a:lnTo>
                <a:lnTo>
                  <a:pt x="1431" y="942"/>
                </a:lnTo>
                <a:lnTo>
                  <a:pt x="1413" y="954"/>
                </a:lnTo>
                <a:lnTo>
                  <a:pt x="1394" y="965"/>
                </a:lnTo>
                <a:lnTo>
                  <a:pt x="1377" y="976"/>
                </a:lnTo>
                <a:lnTo>
                  <a:pt x="1381" y="987"/>
                </a:lnTo>
                <a:lnTo>
                  <a:pt x="1382" y="997"/>
                </a:lnTo>
                <a:lnTo>
                  <a:pt x="1382" y="1006"/>
                </a:lnTo>
                <a:lnTo>
                  <a:pt x="1381" y="1014"/>
                </a:lnTo>
                <a:lnTo>
                  <a:pt x="1379" y="1021"/>
                </a:lnTo>
                <a:lnTo>
                  <a:pt x="1376" y="1028"/>
                </a:lnTo>
                <a:lnTo>
                  <a:pt x="1372" y="1033"/>
                </a:lnTo>
                <a:lnTo>
                  <a:pt x="1367" y="1038"/>
                </a:lnTo>
                <a:lnTo>
                  <a:pt x="1357" y="1046"/>
                </a:lnTo>
                <a:lnTo>
                  <a:pt x="1344" y="1055"/>
                </a:lnTo>
                <a:lnTo>
                  <a:pt x="1330" y="1060"/>
                </a:lnTo>
                <a:lnTo>
                  <a:pt x="1315" y="1066"/>
                </a:lnTo>
                <a:lnTo>
                  <a:pt x="1307" y="1068"/>
                </a:lnTo>
                <a:lnTo>
                  <a:pt x="1298" y="1072"/>
                </a:lnTo>
                <a:lnTo>
                  <a:pt x="1291" y="1077"/>
                </a:lnTo>
                <a:lnTo>
                  <a:pt x="1283" y="1082"/>
                </a:lnTo>
                <a:lnTo>
                  <a:pt x="1271" y="1092"/>
                </a:lnTo>
                <a:lnTo>
                  <a:pt x="1260" y="1105"/>
                </a:lnTo>
                <a:lnTo>
                  <a:pt x="1253" y="1110"/>
                </a:lnTo>
                <a:lnTo>
                  <a:pt x="1246" y="1115"/>
                </a:lnTo>
                <a:lnTo>
                  <a:pt x="1238" y="1119"/>
                </a:lnTo>
                <a:lnTo>
                  <a:pt x="1231" y="1120"/>
                </a:lnTo>
                <a:lnTo>
                  <a:pt x="1214" y="1120"/>
                </a:lnTo>
                <a:lnTo>
                  <a:pt x="1199" y="1119"/>
                </a:lnTo>
                <a:lnTo>
                  <a:pt x="1187" y="1117"/>
                </a:lnTo>
                <a:lnTo>
                  <a:pt x="1179" y="1115"/>
                </a:lnTo>
                <a:lnTo>
                  <a:pt x="1170" y="1117"/>
                </a:lnTo>
                <a:lnTo>
                  <a:pt x="1165" y="1119"/>
                </a:lnTo>
                <a:lnTo>
                  <a:pt x="1159" y="1122"/>
                </a:lnTo>
                <a:lnTo>
                  <a:pt x="1155" y="1127"/>
                </a:lnTo>
                <a:lnTo>
                  <a:pt x="1150" y="1132"/>
                </a:lnTo>
                <a:lnTo>
                  <a:pt x="1147" y="1139"/>
                </a:lnTo>
                <a:lnTo>
                  <a:pt x="1142" y="1149"/>
                </a:lnTo>
                <a:lnTo>
                  <a:pt x="1137" y="1154"/>
                </a:lnTo>
                <a:lnTo>
                  <a:pt x="1130" y="1157"/>
                </a:lnTo>
                <a:lnTo>
                  <a:pt x="1125" y="1157"/>
                </a:lnTo>
                <a:lnTo>
                  <a:pt x="1120" y="1156"/>
                </a:lnTo>
                <a:lnTo>
                  <a:pt x="1113" y="1151"/>
                </a:lnTo>
                <a:lnTo>
                  <a:pt x="1108" y="1146"/>
                </a:lnTo>
                <a:lnTo>
                  <a:pt x="1103" y="1139"/>
                </a:lnTo>
                <a:lnTo>
                  <a:pt x="1089" y="1129"/>
                </a:lnTo>
                <a:lnTo>
                  <a:pt x="1079" y="1122"/>
                </a:lnTo>
                <a:lnTo>
                  <a:pt x="1074" y="1120"/>
                </a:lnTo>
                <a:lnTo>
                  <a:pt x="1069" y="1120"/>
                </a:lnTo>
                <a:lnTo>
                  <a:pt x="1066" y="1120"/>
                </a:lnTo>
                <a:lnTo>
                  <a:pt x="1063" y="1122"/>
                </a:lnTo>
                <a:lnTo>
                  <a:pt x="1054" y="1127"/>
                </a:lnTo>
                <a:lnTo>
                  <a:pt x="1049" y="1136"/>
                </a:lnTo>
                <a:lnTo>
                  <a:pt x="1044" y="1146"/>
                </a:lnTo>
                <a:lnTo>
                  <a:pt x="1039" y="1159"/>
                </a:lnTo>
                <a:lnTo>
                  <a:pt x="1031" y="1186"/>
                </a:lnTo>
                <a:lnTo>
                  <a:pt x="1020" y="1213"/>
                </a:lnTo>
                <a:lnTo>
                  <a:pt x="1012" y="1240"/>
                </a:lnTo>
                <a:lnTo>
                  <a:pt x="1002" y="1267"/>
                </a:lnTo>
                <a:lnTo>
                  <a:pt x="997" y="1280"/>
                </a:lnTo>
                <a:lnTo>
                  <a:pt x="990" y="1292"/>
                </a:lnTo>
                <a:lnTo>
                  <a:pt x="985" y="1296"/>
                </a:lnTo>
                <a:lnTo>
                  <a:pt x="980" y="1299"/>
                </a:lnTo>
                <a:lnTo>
                  <a:pt x="973" y="1301"/>
                </a:lnTo>
                <a:lnTo>
                  <a:pt x="967" y="1302"/>
                </a:lnTo>
                <a:lnTo>
                  <a:pt x="951" y="1307"/>
                </a:lnTo>
                <a:lnTo>
                  <a:pt x="941" y="1312"/>
                </a:lnTo>
                <a:lnTo>
                  <a:pt x="936" y="1317"/>
                </a:lnTo>
                <a:lnTo>
                  <a:pt x="933" y="1321"/>
                </a:lnTo>
                <a:lnTo>
                  <a:pt x="933" y="1324"/>
                </a:lnTo>
                <a:lnTo>
                  <a:pt x="936" y="1328"/>
                </a:lnTo>
                <a:lnTo>
                  <a:pt x="943" y="1329"/>
                </a:lnTo>
                <a:lnTo>
                  <a:pt x="955" y="1331"/>
                </a:lnTo>
                <a:lnTo>
                  <a:pt x="963" y="1334"/>
                </a:lnTo>
                <a:lnTo>
                  <a:pt x="972" y="1339"/>
                </a:lnTo>
                <a:lnTo>
                  <a:pt x="978" y="1344"/>
                </a:lnTo>
                <a:lnTo>
                  <a:pt x="982" y="1349"/>
                </a:lnTo>
                <a:lnTo>
                  <a:pt x="983" y="1358"/>
                </a:lnTo>
                <a:lnTo>
                  <a:pt x="983" y="1366"/>
                </a:lnTo>
                <a:lnTo>
                  <a:pt x="980" y="1378"/>
                </a:lnTo>
                <a:lnTo>
                  <a:pt x="975" y="1390"/>
                </a:lnTo>
                <a:lnTo>
                  <a:pt x="968" y="1407"/>
                </a:lnTo>
                <a:lnTo>
                  <a:pt x="960" y="1420"/>
                </a:lnTo>
                <a:lnTo>
                  <a:pt x="957" y="1425"/>
                </a:lnTo>
                <a:lnTo>
                  <a:pt x="951" y="1430"/>
                </a:lnTo>
                <a:lnTo>
                  <a:pt x="946" y="1435"/>
                </a:lnTo>
                <a:lnTo>
                  <a:pt x="941" y="1437"/>
                </a:lnTo>
                <a:lnTo>
                  <a:pt x="936" y="1439"/>
                </a:lnTo>
                <a:lnTo>
                  <a:pt x="931" y="1444"/>
                </a:lnTo>
                <a:lnTo>
                  <a:pt x="930" y="1450"/>
                </a:lnTo>
                <a:lnTo>
                  <a:pt x="928" y="1461"/>
                </a:lnTo>
                <a:lnTo>
                  <a:pt x="925" y="1466"/>
                </a:lnTo>
                <a:lnTo>
                  <a:pt x="925" y="1471"/>
                </a:lnTo>
                <a:lnTo>
                  <a:pt x="925" y="1474"/>
                </a:lnTo>
                <a:lnTo>
                  <a:pt x="925" y="1477"/>
                </a:lnTo>
                <a:lnTo>
                  <a:pt x="928" y="1477"/>
                </a:lnTo>
                <a:lnTo>
                  <a:pt x="931" y="1477"/>
                </a:lnTo>
                <a:lnTo>
                  <a:pt x="935" y="1476"/>
                </a:lnTo>
                <a:lnTo>
                  <a:pt x="941" y="1474"/>
                </a:lnTo>
                <a:lnTo>
                  <a:pt x="948" y="1471"/>
                </a:lnTo>
                <a:lnTo>
                  <a:pt x="953" y="1469"/>
                </a:lnTo>
                <a:lnTo>
                  <a:pt x="958" y="1469"/>
                </a:lnTo>
                <a:lnTo>
                  <a:pt x="962" y="1472"/>
                </a:lnTo>
                <a:lnTo>
                  <a:pt x="965" y="1477"/>
                </a:lnTo>
                <a:lnTo>
                  <a:pt x="965" y="1482"/>
                </a:lnTo>
                <a:lnTo>
                  <a:pt x="963" y="1489"/>
                </a:lnTo>
                <a:lnTo>
                  <a:pt x="962" y="1496"/>
                </a:lnTo>
                <a:lnTo>
                  <a:pt x="951" y="1513"/>
                </a:lnTo>
                <a:lnTo>
                  <a:pt x="943" y="1530"/>
                </a:lnTo>
                <a:lnTo>
                  <a:pt x="935" y="1545"/>
                </a:lnTo>
                <a:lnTo>
                  <a:pt x="925" y="1558"/>
                </a:lnTo>
                <a:lnTo>
                  <a:pt x="930" y="1575"/>
                </a:lnTo>
                <a:lnTo>
                  <a:pt x="931" y="1583"/>
                </a:lnTo>
                <a:lnTo>
                  <a:pt x="931" y="1594"/>
                </a:lnTo>
                <a:lnTo>
                  <a:pt x="930" y="1609"/>
                </a:lnTo>
              </a:path>
            </a:pathLst>
          </a:custGeom>
          <a:solidFill>
            <a:srgbClr val="CCECFF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332907" name="Freeform 18"/>
          <p:cNvSpPr>
            <a:spLocks noChangeAspect="1"/>
          </p:cNvSpPr>
          <p:nvPr>
            <p:custDataLst>
              <p:tags r:id="rId13"/>
            </p:custDataLst>
          </p:nvPr>
        </p:nvSpPr>
        <p:spPr bwMode="auto">
          <a:xfrm>
            <a:off x="3590925" y="1539875"/>
            <a:ext cx="301625" cy="230188"/>
          </a:xfrm>
          <a:custGeom>
            <a:avLst/>
            <a:gdLst>
              <a:gd name="T0" fmla="*/ 0 w 190"/>
              <a:gd name="T1" fmla="*/ 2147483647 h 144"/>
              <a:gd name="T2" fmla="*/ 2147483647 w 190"/>
              <a:gd name="T3" fmla="*/ 2147483647 h 144"/>
              <a:gd name="T4" fmla="*/ 2147483647 w 190"/>
              <a:gd name="T5" fmla="*/ 2147483647 h 144"/>
              <a:gd name="T6" fmla="*/ 2147483647 w 190"/>
              <a:gd name="T7" fmla="*/ 2147483647 h 144"/>
              <a:gd name="T8" fmla="*/ 2147483647 w 190"/>
              <a:gd name="T9" fmla="*/ 2147483647 h 144"/>
              <a:gd name="T10" fmla="*/ 2147483647 w 190"/>
              <a:gd name="T11" fmla="*/ 2147483647 h 144"/>
              <a:gd name="T12" fmla="*/ 2147483647 w 190"/>
              <a:gd name="T13" fmla="*/ 2147483647 h 144"/>
              <a:gd name="T14" fmla="*/ 2147483647 w 190"/>
              <a:gd name="T15" fmla="*/ 2147483647 h 144"/>
              <a:gd name="T16" fmla="*/ 2147483647 w 190"/>
              <a:gd name="T17" fmla="*/ 2147483647 h 144"/>
              <a:gd name="T18" fmla="*/ 2147483647 w 190"/>
              <a:gd name="T19" fmla="*/ 2147483647 h 144"/>
              <a:gd name="T20" fmla="*/ 2147483647 w 190"/>
              <a:gd name="T21" fmla="*/ 0 h 144"/>
              <a:gd name="T22" fmla="*/ 2147483647 w 190"/>
              <a:gd name="T23" fmla="*/ 2147483647 h 144"/>
              <a:gd name="T24" fmla="*/ 2147483647 w 190"/>
              <a:gd name="T25" fmla="*/ 2147483647 h 144"/>
              <a:gd name="T26" fmla="*/ 2147483647 w 190"/>
              <a:gd name="T27" fmla="*/ 2147483647 h 144"/>
              <a:gd name="T28" fmla="*/ 2147483647 w 190"/>
              <a:gd name="T29" fmla="*/ 2147483647 h 144"/>
              <a:gd name="T30" fmla="*/ 2147483647 w 190"/>
              <a:gd name="T31" fmla="*/ 2147483647 h 144"/>
              <a:gd name="T32" fmla="*/ 2147483647 w 190"/>
              <a:gd name="T33" fmla="*/ 2147483647 h 144"/>
              <a:gd name="T34" fmla="*/ 2147483647 w 190"/>
              <a:gd name="T35" fmla="*/ 2147483647 h 144"/>
              <a:gd name="T36" fmla="*/ 2147483647 w 190"/>
              <a:gd name="T37" fmla="*/ 2147483647 h 144"/>
              <a:gd name="T38" fmla="*/ 2147483647 w 190"/>
              <a:gd name="T39" fmla="*/ 2147483647 h 144"/>
              <a:gd name="T40" fmla="*/ 2147483647 w 190"/>
              <a:gd name="T41" fmla="*/ 2147483647 h 144"/>
              <a:gd name="T42" fmla="*/ 2147483647 w 190"/>
              <a:gd name="T43" fmla="*/ 2147483647 h 144"/>
              <a:gd name="T44" fmla="*/ 2147483647 w 190"/>
              <a:gd name="T45" fmla="*/ 2147483647 h 144"/>
              <a:gd name="T46" fmla="*/ 2147483647 w 190"/>
              <a:gd name="T47" fmla="*/ 2147483647 h 144"/>
              <a:gd name="T48" fmla="*/ 2147483647 w 190"/>
              <a:gd name="T49" fmla="*/ 2147483647 h 144"/>
              <a:gd name="T50" fmla="*/ 2147483647 w 190"/>
              <a:gd name="T51" fmla="*/ 2147483647 h 144"/>
              <a:gd name="T52" fmla="*/ 2147483647 w 190"/>
              <a:gd name="T53" fmla="*/ 2147483647 h 144"/>
              <a:gd name="T54" fmla="*/ 2147483647 w 190"/>
              <a:gd name="T55" fmla="*/ 2147483647 h 144"/>
              <a:gd name="T56" fmla="*/ 2147483647 w 190"/>
              <a:gd name="T57" fmla="*/ 2147483647 h 144"/>
              <a:gd name="T58" fmla="*/ 2147483647 w 190"/>
              <a:gd name="T59" fmla="*/ 2147483647 h 144"/>
              <a:gd name="T60" fmla="*/ 2147483647 w 190"/>
              <a:gd name="T61" fmla="*/ 2147483647 h 144"/>
              <a:gd name="T62" fmla="*/ 2147483647 w 190"/>
              <a:gd name="T63" fmla="*/ 2147483647 h 144"/>
              <a:gd name="T64" fmla="*/ 2147483647 w 190"/>
              <a:gd name="T65" fmla="*/ 2147483647 h 144"/>
              <a:gd name="T66" fmla="*/ 2147483647 w 190"/>
              <a:gd name="T67" fmla="*/ 2147483647 h 144"/>
              <a:gd name="T68" fmla="*/ 2147483647 w 190"/>
              <a:gd name="T69" fmla="*/ 2147483647 h 144"/>
              <a:gd name="T70" fmla="*/ 2147483647 w 190"/>
              <a:gd name="T71" fmla="*/ 2147483647 h 144"/>
              <a:gd name="T72" fmla="*/ 2147483647 w 190"/>
              <a:gd name="T73" fmla="*/ 2147483647 h 144"/>
              <a:gd name="T74" fmla="*/ 2147483647 w 190"/>
              <a:gd name="T75" fmla="*/ 2147483647 h 144"/>
              <a:gd name="T76" fmla="*/ 2147483647 w 190"/>
              <a:gd name="T77" fmla="*/ 2147483647 h 144"/>
              <a:gd name="T78" fmla="*/ 2147483647 w 190"/>
              <a:gd name="T79" fmla="*/ 2147483647 h 144"/>
              <a:gd name="T80" fmla="*/ 2147483647 w 190"/>
              <a:gd name="T81" fmla="*/ 2147483647 h 144"/>
              <a:gd name="T82" fmla="*/ 2147483647 w 190"/>
              <a:gd name="T83" fmla="*/ 2147483647 h 144"/>
              <a:gd name="T84" fmla="*/ 2147483647 w 190"/>
              <a:gd name="T85" fmla="*/ 2147483647 h 144"/>
              <a:gd name="T86" fmla="*/ 2147483647 w 190"/>
              <a:gd name="T87" fmla="*/ 2147483647 h 144"/>
              <a:gd name="T88" fmla="*/ 2147483647 w 190"/>
              <a:gd name="T89" fmla="*/ 2147483647 h 144"/>
              <a:gd name="T90" fmla="*/ 2147483647 w 190"/>
              <a:gd name="T91" fmla="*/ 2147483647 h 144"/>
              <a:gd name="T92" fmla="*/ 0 w 190"/>
              <a:gd name="T93" fmla="*/ 2147483647 h 144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w 190"/>
              <a:gd name="T142" fmla="*/ 0 h 144"/>
              <a:gd name="T143" fmla="*/ 190 w 190"/>
              <a:gd name="T144" fmla="*/ 144 h 144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T141" t="T142" r="T143" b="T144"/>
            <a:pathLst>
              <a:path w="190" h="144">
                <a:moveTo>
                  <a:pt x="0" y="67"/>
                </a:moveTo>
                <a:lnTo>
                  <a:pt x="7" y="49"/>
                </a:lnTo>
                <a:lnTo>
                  <a:pt x="15" y="33"/>
                </a:lnTo>
                <a:lnTo>
                  <a:pt x="20" y="27"/>
                </a:lnTo>
                <a:lnTo>
                  <a:pt x="25" y="22"/>
                </a:lnTo>
                <a:lnTo>
                  <a:pt x="30" y="17"/>
                </a:lnTo>
                <a:lnTo>
                  <a:pt x="35" y="13"/>
                </a:lnTo>
                <a:lnTo>
                  <a:pt x="59" y="10"/>
                </a:lnTo>
                <a:lnTo>
                  <a:pt x="77" y="6"/>
                </a:lnTo>
                <a:lnTo>
                  <a:pt x="79" y="3"/>
                </a:lnTo>
                <a:lnTo>
                  <a:pt x="79" y="0"/>
                </a:lnTo>
                <a:lnTo>
                  <a:pt x="89" y="3"/>
                </a:lnTo>
                <a:lnTo>
                  <a:pt x="98" y="6"/>
                </a:lnTo>
                <a:lnTo>
                  <a:pt x="106" y="13"/>
                </a:lnTo>
                <a:lnTo>
                  <a:pt x="116" y="23"/>
                </a:lnTo>
                <a:lnTo>
                  <a:pt x="131" y="28"/>
                </a:lnTo>
                <a:lnTo>
                  <a:pt x="147" y="33"/>
                </a:lnTo>
                <a:lnTo>
                  <a:pt x="162" y="38"/>
                </a:lnTo>
                <a:lnTo>
                  <a:pt x="177" y="43"/>
                </a:lnTo>
                <a:lnTo>
                  <a:pt x="184" y="49"/>
                </a:lnTo>
                <a:lnTo>
                  <a:pt x="189" y="54"/>
                </a:lnTo>
                <a:lnTo>
                  <a:pt x="190" y="60"/>
                </a:lnTo>
                <a:lnTo>
                  <a:pt x="189" y="67"/>
                </a:lnTo>
                <a:lnTo>
                  <a:pt x="187" y="72"/>
                </a:lnTo>
                <a:lnTo>
                  <a:pt x="184" y="77"/>
                </a:lnTo>
                <a:lnTo>
                  <a:pt x="178" y="79"/>
                </a:lnTo>
                <a:lnTo>
                  <a:pt x="173" y="77"/>
                </a:lnTo>
                <a:lnTo>
                  <a:pt x="172" y="99"/>
                </a:lnTo>
                <a:lnTo>
                  <a:pt x="170" y="119"/>
                </a:lnTo>
                <a:lnTo>
                  <a:pt x="172" y="126"/>
                </a:lnTo>
                <a:lnTo>
                  <a:pt x="172" y="133"/>
                </a:lnTo>
                <a:lnTo>
                  <a:pt x="170" y="138"/>
                </a:lnTo>
                <a:lnTo>
                  <a:pt x="167" y="141"/>
                </a:lnTo>
                <a:lnTo>
                  <a:pt x="162" y="143"/>
                </a:lnTo>
                <a:lnTo>
                  <a:pt x="155" y="144"/>
                </a:lnTo>
                <a:lnTo>
                  <a:pt x="147" y="144"/>
                </a:lnTo>
                <a:lnTo>
                  <a:pt x="136" y="144"/>
                </a:lnTo>
                <a:lnTo>
                  <a:pt x="121" y="143"/>
                </a:lnTo>
                <a:lnTo>
                  <a:pt x="106" y="139"/>
                </a:lnTo>
                <a:lnTo>
                  <a:pt x="91" y="134"/>
                </a:lnTo>
                <a:lnTo>
                  <a:pt x="77" y="128"/>
                </a:lnTo>
                <a:lnTo>
                  <a:pt x="66" y="119"/>
                </a:lnTo>
                <a:lnTo>
                  <a:pt x="54" y="111"/>
                </a:lnTo>
                <a:lnTo>
                  <a:pt x="44" y="99"/>
                </a:lnTo>
                <a:lnTo>
                  <a:pt x="35" y="86"/>
                </a:lnTo>
                <a:lnTo>
                  <a:pt x="17" y="75"/>
                </a:lnTo>
                <a:lnTo>
                  <a:pt x="0" y="67"/>
                </a:lnTo>
              </a:path>
            </a:pathLst>
          </a:custGeom>
          <a:solidFill>
            <a:srgbClr val="CCECFF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332908" name="Freeform 19"/>
          <p:cNvSpPr>
            <a:spLocks noChangeAspect="1"/>
          </p:cNvSpPr>
          <p:nvPr>
            <p:custDataLst>
              <p:tags r:id="rId14"/>
            </p:custDataLst>
          </p:nvPr>
        </p:nvSpPr>
        <p:spPr bwMode="auto">
          <a:xfrm>
            <a:off x="4575175" y="1473200"/>
            <a:ext cx="1819275" cy="1201738"/>
          </a:xfrm>
          <a:custGeom>
            <a:avLst/>
            <a:gdLst>
              <a:gd name="T0" fmla="*/ 2147483647 w 1146"/>
              <a:gd name="T1" fmla="*/ 2147483647 h 755"/>
              <a:gd name="T2" fmla="*/ 2147483647 w 1146"/>
              <a:gd name="T3" fmla="*/ 2147483647 h 755"/>
              <a:gd name="T4" fmla="*/ 2147483647 w 1146"/>
              <a:gd name="T5" fmla="*/ 2147483647 h 755"/>
              <a:gd name="T6" fmla="*/ 2147483647 w 1146"/>
              <a:gd name="T7" fmla="*/ 2147483647 h 755"/>
              <a:gd name="T8" fmla="*/ 2147483647 w 1146"/>
              <a:gd name="T9" fmla="*/ 2147483647 h 755"/>
              <a:gd name="T10" fmla="*/ 2147483647 w 1146"/>
              <a:gd name="T11" fmla="*/ 2147483647 h 755"/>
              <a:gd name="T12" fmla="*/ 2147483647 w 1146"/>
              <a:gd name="T13" fmla="*/ 2147483647 h 755"/>
              <a:gd name="T14" fmla="*/ 2147483647 w 1146"/>
              <a:gd name="T15" fmla="*/ 2147483647 h 755"/>
              <a:gd name="T16" fmla="*/ 2147483647 w 1146"/>
              <a:gd name="T17" fmla="*/ 2147483647 h 755"/>
              <a:gd name="T18" fmla="*/ 2147483647 w 1146"/>
              <a:gd name="T19" fmla="*/ 2147483647 h 755"/>
              <a:gd name="T20" fmla="*/ 2147483647 w 1146"/>
              <a:gd name="T21" fmla="*/ 2147483647 h 755"/>
              <a:gd name="T22" fmla="*/ 2147483647 w 1146"/>
              <a:gd name="T23" fmla="*/ 2147483647 h 755"/>
              <a:gd name="T24" fmla="*/ 2147483647 w 1146"/>
              <a:gd name="T25" fmla="*/ 2147483647 h 755"/>
              <a:gd name="T26" fmla="*/ 2147483647 w 1146"/>
              <a:gd name="T27" fmla="*/ 2147483647 h 755"/>
              <a:gd name="T28" fmla="*/ 2147483647 w 1146"/>
              <a:gd name="T29" fmla="*/ 2147483647 h 755"/>
              <a:gd name="T30" fmla="*/ 2147483647 w 1146"/>
              <a:gd name="T31" fmla="*/ 2147483647 h 755"/>
              <a:gd name="T32" fmla="*/ 2147483647 w 1146"/>
              <a:gd name="T33" fmla="*/ 2147483647 h 755"/>
              <a:gd name="T34" fmla="*/ 2147483647 w 1146"/>
              <a:gd name="T35" fmla="*/ 2147483647 h 755"/>
              <a:gd name="T36" fmla="*/ 2147483647 w 1146"/>
              <a:gd name="T37" fmla="*/ 2147483647 h 755"/>
              <a:gd name="T38" fmla="*/ 2147483647 w 1146"/>
              <a:gd name="T39" fmla="*/ 2147483647 h 755"/>
              <a:gd name="T40" fmla="*/ 2147483647 w 1146"/>
              <a:gd name="T41" fmla="*/ 2147483647 h 755"/>
              <a:gd name="T42" fmla="*/ 2147483647 w 1146"/>
              <a:gd name="T43" fmla="*/ 2147483647 h 755"/>
              <a:gd name="T44" fmla="*/ 2147483647 w 1146"/>
              <a:gd name="T45" fmla="*/ 2147483647 h 755"/>
              <a:gd name="T46" fmla="*/ 2147483647 w 1146"/>
              <a:gd name="T47" fmla="*/ 2147483647 h 755"/>
              <a:gd name="T48" fmla="*/ 2147483647 w 1146"/>
              <a:gd name="T49" fmla="*/ 2147483647 h 755"/>
              <a:gd name="T50" fmla="*/ 2147483647 w 1146"/>
              <a:gd name="T51" fmla="*/ 2147483647 h 755"/>
              <a:gd name="T52" fmla="*/ 2147483647 w 1146"/>
              <a:gd name="T53" fmla="*/ 2147483647 h 755"/>
              <a:gd name="T54" fmla="*/ 2147483647 w 1146"/>
              <a:gd name="T55" fmla="*/ 2147483647 h 755"/>
              <a:gd name="T56" fmla="*/ 2147483647 w 1146"/>
              <a:gd name="T57" fmla="*/ 2147483647 h 755"/>
              <a:gd name="T58" fmla="*/ 2147483647 w 1146"/>
              <a:gd name="T59" fmla="*/ 2147483647 h 755"/>
              <a:gd name="T60" fmla="*/ 2147483647 w 1146"/>
              <a:gd name="T61" fmla="*/ 2147483647 h 755"/>
              <a:gd name="T62" fmla="*/ 2147483647 w 1146"/>
              <a:gd name="T63" fmla="*/ 2147483647 h 755"/>
              <a:gd name="T64" fmla="*/ 2147483647 w 1146"/>
              <a:gd name="T65" fmla="*/ 2147483647 h 755"/>
              <a:gd name="T66" fmla="*/ 2147483647 w 1146"/>
              <a:gd name="T67" fmla="*/ 2147483647 h 755"/>
              <a:gd name="T68" fmla="*/ 2147483647 w 1146"/>
              <a:gd name="T69" fmla="*/ 2147483647 h 755"/>
              <a:gd name="T70" fmla="*/ 2147483647 w 1146"/>
              <a:gd name="T71" fmla="*/ 2147483647 h 755"/>
              <a:gd name="T72" fmla="*/ 2147483647 w 1146"/>
              <a:gd name="T73" fmla="*/ 2147483647 h 755"/>
              <a:gd name="T74" fmla="*/ 2147483647 w 1146"/>
              <a:gd name="T75" fmla="*/ 2147483647 h 755"/>
              <a:gd name="T76" fmla="*/ 2147483647 w 1146"/>
              <a:gd name="T77" fmla="*/ 2147483647 h 755"/>
              <a:gd name="T78" fmla="*/ 2147483647 w 1146"/>
              <a:gd name="T79" fmla="*/ 2147483647 h 755"/>
              <a:gd name="T80" fmla="*/ 2147483647 w 1146"/>
              <a:gd name="T81" fmla="*/ 2147483647 h 755"/>
              <a:gd name="T82" fmla="*/ 2147483647 w 1146"/>
              <a:gd name="T83" fmla="*/ 2147483647 h 755"/>
              <a:gd name="T84" fmla="*/ 2147483647 w 1146"/>
              <a:gd name="T85" fmla="*/ 2147483647 h 755"/>
              <a:gd name="T86" fmla="*/ 2147483647 w 1146"/>
              <a:gd name="T87" fmla="*/ 2147483647 h 755"/>
              <a:gd name="T88" fmla="*/ 2147483647 w 1146"/>
              <a:gd name="T89" fmla="*/ 2147483647 h 755"/>
              <a:gd name="T90" fmla="*/ 2147483647 w 1146"/>
              <a:gd name="T91" fmla="*/ 2147483647 h 755"/>
              <a:gd name="T92" fmla="*/ 2147483647 w 1146"/>
              <a:gd name="T93" fmla="*/ 2147483647 h 755"/>
              <a:gd name="T94" fmla="*/ 2147483647 w 1146"/>
              <a:gd name="T95" fmla="*/ 2147483647 h 755"/>
              <a:gd name="T96" fmla="*/ 2147483647 w 1146"/>
              <a:gd name="T97" fmla="*/ 2147483647 h 755"/>
              <a:gd name="T98" fmla="*/ 2147483647 w 1146"/>
              <a:gd name="T99" fmla="*/ 2147483647 h 755"/>
              <a:gd name="T100" fmla="*/ 2147483647 w 1146"/>
              <a:gd name="T101" fmla="*/ 2147483647 h 755"/>
              <a:gd name="T102" fmla="*/ 2147483647 w 1146"/>
              <a:gd name="T103" fmla="*/ 2147483647 h 755"/>
              <a:gd name="T104" fmla="*/ 2147483647 w 1146"/>
              <a:gd name="T105" fmla="*/ 2147483647 h 755"/>
              <a:gd name="T106" fmla="*/ 2147483647 w 1146"/>
              <a:gd name="T107" fmla="*/ 2147483647 h 755"/>
              <a:gd name="T108" fmla="*/ 2147483647 w 1146"/>
              <a:gd name="T109" fmla="*/ 2147483647 h 755"/>
              <a:gd name="T110" fmla="*/ 2147483647 w 1146"/>
              <a:gd name="T111" fmla="*/ 2147483647 h 755"/>
              <a:gd name="T112" fmla="*/ 2147483647 w 1146"/>
              <a:gd name="T113" fmla="*/ 2147483647 h 755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1146"/>
              <a:gd name="T172" fmla="*/ 0 h 755"/>
              <a:gd name="T173" fmla="*/ 1146 w 1146"/>
              <a:gd name="T174" fmla="*/ 755 h 755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1146" h="755">
                <a:moveTo>
                  <a:pt x="25" y="59"/>
                </a:moveTo>
                <a:lnTo>
                  <a:pt x="14" y="47"/>
                </a:lnTo>
                <a:lnTo>
                  <a:pt x="2" y="34"/>
                </a:lnTo>
                <a:lnTo>
                  <a:pt x="0" y="31"/>
                </a:lnTo>
                <a:lnTo>
                  <a:pt x="0" y="27"/>
                </a:lnTo>
                <a:lnTo>
                  <a:pt x="2" y="26"/>
                </a:lnTo>
                <a:lnTo>
                  <a:pt x="3" y="22"/>
                </a:lnTo>
                <a:lnTo>
                  <a:pt x="12" y="19"/>
                </a:lnTo>
                <a:lnTo>
                  <a:pt x="24" y="17"/>
                </a:lnTo>
                <a:lnTo>
                  <a:pt x="39" y="37"/>
                </a:lnTo>
                <a:lnTo>
                  <a:pt x="54" y="56"/>
                </a:lnTo>
                <a:lnTo>
                  <a:pt x="71" y="46"/>
                </a:lnTo>
                <a:lnTo>
                  <a:pt x="86" y="34"/>
                </a:lnTo>
                <a:lnTo>
                  <a:pt x="94" y="32"/>
                </a:lnTo>
                <a:lnTo>
                  <a:pt x="104" y="31"/>
                </a:lnTo>
                <a:lnTo>
                  <a:pt x="113" y="32"/>
                </a:lnTo>
                <a:lnTo>
                  <a:pt x="123" y="34"/>
                </a:lnTo>
                <a:lnTo>
                  <a:pt x="145" y="34"/>
                </a:lnTo>
                <a:lnTo>
                  <a:pt x="168" y="32"/>
                </a:lnTo>
                <a:lnTo>
                  <a:pt x="192" y="32"/>
                </a:lnTo>
                <a:lnTo>
                  <a:pt x="214" y="31"/>
                </a:lnTo>
                <a:lnTo>
                  <a:pt x="222" y="22"/>
                </a:lnTo>
                <a:lnTo>
                  <a:pt x="231" y="17"/>
                </a:lnTo>
                <a:lnTo>
                  <a:pt x="242" y="12"/>
                </a:lnTo>
                <a:lnTo>
                  <a:pt x="258" y="7"/>
                </a:lnTo>
                <a:lnTo>
                  <a:pt x="264" y="4"/>
                </a:lnTo>
                <a:lnTo>
                  <a:pt x="273" y="0"/>
                </a:lnTo>
                <a:lnTo>
                  <a:pt x="281" y="0"/>
                </a:lnTo>
                <a:lnTo>
                  <a:pt x="293" y="2"/>
                </a:lnTo>
                <a:lnTo>
                  <a:pt x="301" y="4"/>
                </a:lnTo>
                <a:lnTo>
                  <a:pt x="310" y="5"/>
                </a:lnTo>
                <a:lnTo>
                  <a:pt x="317" y="10"/>
                </a:lnTo>
                <a:lnTo>
                  <a:pt x="322" y="17"/>
                </a:lnTo>
                <a:lnTo>
                  <a:pt x="332" y="27"/>
                </a:lnTo>
                <a:lnTo>
                  <a:pt x="342" y="36"/>
                </a:lnTo>
                <a:lnTo>
                  <a:pt x="354" y="42"/>
                </a:lnTo>
                <a:lnTo>
                  <a:pt x="365" y="46"/>
                </a:lnTo>
                <a:lnTo>
                  <a:pt x="374" y="53"/>
                </a:lnTo>
                <a:lnTo>
                  <a:pt x="381" y="58"/>
                </a:lnTo>
                <a:lnTo>
                  <a:pt x="389" y="61"/>
                </a:lnTo>
                <a:lnTo>
                  <a:pt x="397" y="64"/>
                </a:lnTo>
                <a:lnTo>
                  <a:pt x="406" y="66"/>
                </a:lnTo>
                <a:lnTo>
                  <a:pt x="414" y="68"/>
                </a:lnTo>
                <a:lnTo>
                  <a:pt x="421" y="68"/>
                </a:lnTo>
                <a:lnTo>
                  <a:pt x="429" y="68"/>
                </a:lnTo>
                <a:lnTo>
                  <a:pt x="453" y="64"/>
                </a:lnTo>
                <a:lnTo>
                  <a:pt x="471" y="66"/>
                </a:lnTo>
                <a:lnTo>
                  <a:pt x="480" y="68"/>
                </a:lnTo>
                <a:lnTo>
                  <a:pt x="488" y="69"/>
                </a:lnTo>
                <a:lnTo>
                  <a:pt x="495" y="74"/>
                </a:lnTo>
                <a:lnTo>
                  <a:pt x="500" y="79"/>
                </a:lnTo>
                <a:lnTo>
                  <a:pt x="517" y="88"/>
                </a:lnTo>
                <a:lnTo>
                  <a:pt x="534" y="95"/>
                </a:lnTo>
                <a:lnTo>
                  <a:pt x="549" y="98"/>
                </a:lnTo>
                <a:lnTo>
                  <a:pt x="564" y="98"/>
                </a:lnTo>
                <a:lnTo>
                  <a:pt x="571" y="93"/>
                </a:lnTo>
                <a:lnTo>
                  <a:pt x="579" y="90"/>
                </a:lnTo>
                <a:lnTo>
                  <a:pt x="588" y="88"/>
                </a:lnTo>
                <a:lnTo>
                  <a:pt x="598" y="90"/>
                </a:lnTo>
                <a:lnTo>
                  <a:pt x="620" y="96"/>
                </a:lnTo>
                <a:lnTo>
                  <a:pt x="641" y="106"/>
                </a:lnTo>
                <a:lnTo>
                  <a:pt x="668" y="120"/>
                </a:lnTo>
                <a:lnTo>
                  <a:pt x="694" y="133"/>
                </a:lnTo>
                <a:lnTo>
                  <a:pt x="715" y="150"/>
                </a:lnTo>
                <a:lnTo>
                  <a:pt x="736" y="167"/>
                </a:lnTo>
                <a:lnTo>
                  <a:pt x="749" y="177"/>
                </a:lnTo>
                <a:lnTo>
                  <a:pt x="764" y="189"/>
                </a:lnTo>
                <a:lnTo>
                  <a:pt x="778" y="199"/>
                </a:lnTo>
                <a:lnTo>
                  <a:pt x="791" y="209"/>
                </a:lnTo>
                <a:lnTo>
                  <a:pt x="806" y="212"/>
                </a:lnTo>
                <a:lnTo>
                  <a:pt x="818" y="218"/>
                </a:lnTo>
                <a:lnTo>
                  <a:pt x="823" y="221"/>
                </a:lnTo>
                <a:lnTo>
                  <a:pt x="827" y="224"/>
                </a:lnTo>
                <a:lnTo>
                  <a:pt x="830" y="229"/>
                </a:lnTo>
                <a:lnTo>
                  <a:pt x="832" y="234"/>
                </a:lnTo>
                <a:lnTo>
                  <a:pt x="842" y="233"/>
                </a:lnTo>
                <a:lnTo>
                  <a:pt x="854" y="228"/>
                </a:lnTo>
                <a:lnTo>
                  <a:pt x="862" y="223"/>
                </a:lnTo>
                <a:lnTo>
                  <a:pt x="870" y="218"/>
                </a:lnTo>
                <a:lnTo>
                  <a:pt x="874" y="216"/>
                </a:lnTo>
                <a:lnTo>
                  <a:pt x="877" y="214"/>
                </a:lnTo>
                <a:lnTo>
                  <a:pt x="880" y="214"/>
                </a:lnTo>
                <a:lnTo>
                  <a:pt x="884" y="216"/>
                </a:lnTo>
                <a:lnTo>
                  <a:pt x="891" y="223"/>
                </a:lnTo>
                <a:lnTo>
                  <a:pt x="899" y="234"/>
                </a:lnTo>
                <a:lnTo>
                  <a:pt x="916" y="243"/>
                </a:lnTo>
                <a:lnTo>
                  <a:pt x="924" y="248"/>
                </a:lnTo>
                <a:lnTo>
                  <a:pt x="934" y="253"/>
                </a:lnTo>
                <a:lnTo>
                  <a:pt x="944" y="256"/>
                </a:lnTo>
                <a:lnTo>
                  <a:pt x="951" y="261"/>
                </a:lnTo>
                <a:lnTo>
                  <a:pt x="958" y="266"/>
                </a:lnTo>
                <a:lnTo>
                  <a:pt x="961" y="273"/>
                </a:lnTo>
                <a:lnTo>
                  <a:pt x="965" y="280"/>
                </a:lnTo>
                <a:lnTo>
                  <a:pt x="966" y="287"/>
                </a:lnTo>
                <a:lnTo>
                  <a:pt x="966" y="293"/>
                </a:lnTo>
                <a:lnTo>
                  <a:pt x="968" y="305"/>
                </a:lnTo>
                <a:lnTo>
                  <a:pt x="971" y="314"/>
                </a:lnTo>
                <a:lnTo>
                  <a:pt x="973" y="315"/>
                </a:lnTo>
                <a:lnTo>
                  <a:pt x="978" y="317"/>
                </a:lnTo>
                <a:lnTo>
                  <a:pt x="983" y="317"/>
                </a:lnTo>
                <a:lnTo>
                  <a:pt x="990" y="315"/>
                </a:lnTo>
                <a:lnTo>
                  <a:pt x="1003" y="315"/>
                </a:lnTo>
                <a:lnTo>
                  <a:pt x="1012" y="317"/>
                </a:lnTo>
                <a:lnTo>
                  <a:pt x="1013" y="319"/>
                </a:lnTo>
                <a:lnTo>
                  <a:pt x="1015" y="320"/>
                </a:lnTo>
                <a:lnTo>
                  <a:pt x="1017" y="324"/>
                </a:lnTo>
                <a:lnTo>
                  <a:pt x="1015" y="327"/>
                </a:lnTo>
                <a:lnTo>
                  <a:pt x="1027" y="324"/>
                </a:lnTo>
                <a:lnTo>
                  <a:pt x="1037" y="322"/>
                </a:lnTo>
                <a:lnTo>
                  <a:pt x="1045" y="324"/>
                </a:lnTo>
                <a:lnTo>
                  <a:pt x="1052" y="327"/>
                </a:lnTo>
                <a:lnTo>
                  <a:pt x="1059" y="332"/>
                </a:lnTo>
                <a:lnTo>
                  <a:pt x="1064" y="339"/>
                </a:lnTo>
                <a:lnTo>
                  <a:pt x="1069" y="347"/>
                </a:lnTo>
                <a:lnTo>
                  <a:pt x="1074" y="357"/>
                </a:lnTo>
                <a:lnTo>
                  <a:pt x="1074" y="371"/>
                </a:lnTo>
                <a:lnTo>
                  <a:pt x="1074" y="383"/>
                </a:lnTo>
                <a:lnTo>
                  <a:pt x="1079" y="374"/>
                </a:lnTo>
                <a:lnTo>
                  <a:pt x="1086" y="366"/>
                </a:lnTo>
                <a:lnTo>
                  <a:pt x="1091" y="359"/>
                </a:lnTo>
                <a:lnTo>
                  <a:pt x="1099" y="354"/>
                </a:lnTo>
                <a:lnTo>
                  <a:pt x="1108" y="351"/>
                </a:lnTo>
                <a:lnTo>
                  <a:pt x="1113" y="352"/>
                </a:lnTo>
                <a:lnTo>
                  <a:pt x="1114" y="357"/>
                </a:lnTo>
                <a:lnTo>
                  <a:pt x="1114" y="366"/>
                </a:lnTo>
                <a:lnTo>
                  <a:pt x="1109" y="371"/>
                </a:lnTo>
                <a:lnTo>
                  <a:pt x="1103" y="378"/>
                </a:lnTo>
                <a:lnTo>
                  <a:pt x="1109" y="376"/>
                </a:lnTo>
                <a:lnTo>
                  <a:pt x="1116" y="376"/>
                </a:lnTo>
                <a:lnTo>
                  <a:pt x="1118" y="376"/>
                </a:lnTo>
                <a:lnTo>
                  <a:pt x="1118" y="378"/>
                </a:lnTo>
                <a:lnTo>
                  <a:pt x="1116" y="383"/>
                </a:lnTo>
                <a:lnTo>
                  <a:pt x="1113" y="386"/>
                </a:lnTo>
                <a:lnTo>
                  <a:pt x="1121" y="404"/>
                </a:lnTo>
                <a:lnTo>
                  <a:pt x="1131" y="425"/>
                </a:lnTo>
                <a:lnTo>
                  <a:pt x="1138" y="433"/>
                </a:lnTo>
                <a:lnTo>
                  <a:pt x="1145" y="442"/>
                </a:lnTo>
                <a:lnTo>
                  <a:pt x="1146" y="452"/>
                </a:lnTo>
                <a:lnTo>
                  <a:pt x="1146" y="462"/>
                </a:lnTo>
                <a:lnTo>
                  <a:pt x="1143" y="462"/>
                </a:lnTo>
                <a:lnTo>
                  <a:pt x="1138" y="463"/>
                </a:lnTo>
                <a:lnTo>
                  <a:pt x="1133" y="470"/>
                </a:lnTo>
                <a:lnTo>
                  <a:pt x="1130" y="477"/>
                </a:lnTo>
                <a:lnTo>
                  <a:pt x="1126" y="484"/>
                </a:lnTo>
                <a:lnTo>
                  <a:pt x="1123" y="490"/>
                </a:lnTo>
                <a:lnTo>
                  <a:pt x="1119" y="494"/>
                </a:lnTo>
                <a:lnTo>
                  <a:pt x="1114" y="494"/>
                </a:lnTo>
                <a:lnTo>
                  <a:pt x="1108" y="494"/>
                </a:lnTo>
                <a:lnTo>
                  <a:pt x="1101" y="492"/>
                </a:lnTo>
                <a:lnTo>
                  <a:pt x="1094" y="489"/>
                </a:lnTo>
                <a:lnTo>
                  <a:pt x="1086" y="484"/>
                </a:lnTo>
                <a:lnTo>
                  <a:pt x="1079" y="479"/>
                </a:lnTo>
                <a:lnTo>
                  <a:pt x="1071" y="472"/>
                </a:lnTo>
                <a:lnTo>
                  <a:pt x="1064" y="463"/>
                </a:lnTo>
                <a:lnTo>
                  <a:pt x="1056" y="455"/>
                </a:lnTo>
                <a:lnTo>
                  <a:pt x="1049" y="445"/>
                </a:lnTo>
                <a:lnTo>
                  <a:pt x="1044" y="435"/>
                </a:lnTo>
                <a:lnTo>
                  <a:pt x="1039" y="425"/>
                </a:lnTo>
                <a:lnTo>
                  <a:pt x="1034" y="413"/>
                </a:lnTo>
                <a:lnTo>
                  <a:pt x="1032" y="401"/>
                </a:lnTo>
                <a:lnTo>
                  <a:pt x="1030" y="388"/>
                </a:lnTo>
                <a:lnTo>
                  <a:pt x="1027" y="381"/>
                </a:lnTo>
                <a:lnTo>
                  <a:pt x="1020" y="378"/>
                </a:lnTo>
                <a:lnTo>
                  <a:pt x="1013" y="378"/>
                </a:lnTo>
                <a:lnTo>
                  <a:pt x="1007" y="379"/>
                </a:lnTo>
                <a:lnTo>
                  <a:pt x="988" y="381"/>
                </a:lnTo>
                <a:lnTo>
                  <a:pt x="971" y="381"/>
                </a:lnTo>
                <a:lnTo>
                  <a:pt x="955" y="381"/>
                </a:lnTo>
                <a:lnTo>
                  <a:pt x="936" y="383"/>
                </a:lnTo>
                <a:lnTo>
                  <a:pt x="926" y="383"/>
                </a:lnTo>
                <a:lnTo>
                  <a:pt x="917" y="384"/>
                </a:lnTo>
                <a:lnTo>
                  <a:pt x="912" y="389"/>
                </a:lnTo>
                <a:lnTo>
                  <a:pt x="907" y="394"/>
                </a:lnTo>
                <a:lnTo>
                  <a:pt x="904" y="403"/>
                </a:lnTo>
                <a:lnTo>
                  <a:pt x="901" y="411"/>
                </a:lnTo>
                <a:lnTo>
                  <a:pt x="899" y="421"/>
                </a:lnTo>
                <a:lnTo>
                  <a:pt x="899" y="431"/>
                </a:lnTo>
                <a:lnTo>
                  <a:pt x="897" y="445"/>
                </a:lnTo>
                <a:lnTo>
                  <a:pt x="897" y="460"/>
                </a:lnTo>
                <a:lnTo>
                  <a:pt x="897" y="475"/>
                </a:lnTo>
                <a:lnTo>
                  <a:pt x="897" y="490"/>
                </a:lnTo>
                <a:lnTo>
                  <a:pt x="907" y="500"/>
                </a:lnTo>
                <a:lnTo>
                  <a:pt x="919" y="511"/>
                </a:lnTo>
                <a:lnTo>
                  <a:pt x="926" y="516"/>
                </a:lnTo>
                <a:lnTo>
                  <a:pt x="933" y="519"/>
                </a:lnTo>
                <a:lnTo>
                  <a:pt x="943" y="521"/>
                </a:lnTo>
                <a:lnTo>
                  <a:pt x="953" y="522"/>
                </a:lnTo>
                <a:lnTo>
                  <a:pt x="963" y="526"/>
                </a:lnTo>
                <a:lnTo>
                  <a:pt x="968" y="531"/>
                </a:lnTo>
                <a:lnTo>
                  <a:pt x="970" y="532"/>
                </a:lnTo>
                <a:lnTo>
                  <a:pt x="970" y="536"/>
                </a:lnTo>
                <a:lnTo>
                  <a:pt x="968" y="539"/>
                </a:lnTo>
                <a:lnTo>
                  <a:pt x="965" y="543"/>
                </a:lnTo>
                <a:lnTo>
                  <a:pt x="960" y="556"/>
                </a:lnTo>
                <a:lnTo>
                  <a:pt x="955" y="568"/>
                </a:lnTo>
                <a:lnTo>
                  <a:pt x="960" y="575"/>
                </a:lnTo>
                <a:lnTo>
                  <a:pt x="961" y="580"/>
                </a:lnTo>
                <a:lnTo>
                  <a:pt x="961" y="583"/>
                </a:lnTo>
                <a:lnTo>
                  <a:pt x="960" y="586"/>
                </a:lnTo>
                <a:lnTo>
                  <a:pt x="956" y="588"/>
                </a:lnTo>
                <a:lnTo>
                  <a:pt x="951" y="590"/>
                </a:lnTo>
                <a:lnTo>
                  <a:pt x="946" y="588"/>
                </a:lnTo>
                <a:lnTo>
                  <a:pt x="941" y="586"/>
                </a:lnTo>
                <a:lnTo>
                  <a:pt x="914" y="591"/>
                </a:lnTo>
                <a:lnTo>
                  <a:pt x="887" y="600"/>
                </a:lnTo>
                <a:lnTo>
                  <a:pt x="862" y="610"/>
                </a:lnTo>
                <a:lnTo>
                  <a:pt x="835" y="620"/>
                </a:lnTo>
                <a:lnTo>
                  <a:pt x="825" y="623"/>
                </a:lnTo>
                <a:lnTo>
                  <a:pt x="816" y="628"/>
                </a:lnTo>
                <a:lnTo>
                  <a:pt x="808" y="633"/>
                </a:lnTo>
                <a:lnTo>
                  <a:pt x="801" y="640"/>
                </a:lnTo>
                <a:lnTo>
                  <a:pt x="788" y="652"/>
                </a:lnTo>
                <a:lnTo>
                  <a:pt x="778" y="664"/>
                </a:lnTo>
                <a:lnTo>
                  <a:pt x="771" y="672"/>
                </a:lnTo>
                <a:lnTo>
                  <a:pt x="764" y="677"/>
                </a:lnTo>
                <a:lnTo>
                  <a:pt x="758" y="681"/>
                </a:lnTo>
                <a:lnTo>
                  <a:pt x="751" y="682"/>
                </a:lnTo>
                <a:lnTo>
                  <a:pt x="744" y="682"/>
                </a:lnTo>
                <a:lnTo>
                  <a:pt x="736" y="682"/>
                </a:lnTo>
                <a:lnTo>
                  <a:pt x="729" y="681"/>
                </a:lnTo>
                <a:lnTo>
                  <a:pt x="721" y="677"/>
                </a:lnTo>
                <a:lnTo>
                  <a:pt x="704" y="681"/>
                </a:lnTo>
                <a:lnTo>
                  <a:pt x="687" y="682"/>
                </a:lnTo>
                <a:lnTo>
                  <a:pt x="672" y="681"/>
                </a:lnTo>
                <a:lnTo>
                  <a:pt x="658" y="677"/>
                </a:lnTo>
                <a:lnTo>
                  <a:pt x="641" y="679"/>
                </a:lnTo>
                <a:lnTo>
                  <a:pt x="628" y="682"/>
                </a:lnTo>
                <a:lnTo>
                  <a:pt x="618" y="686"/>
                </a:lnTo>
                <a:lnTo>
                  <a:pt x="606" y="692"/>
                </a:lnTo>
                <a:lnTo>
                  <a:pt x="594" y="701"/>
                </a:lnTo>
                <a:lnTo>
                  <a:pt x="583" y="706"/>
                </a:lnTo>
                <a:lnTo>
                  <a:pt x="569" y="709"/>
                </a:lnTo>
                <a:lnTo>
                  <a:pt x="556" y="711"/>
                </a:lnTo>
                <a:lnTo>
                  <a:pt x="544" y="721"/>
                </a:lnTo>
                <a:lnTo>
                  <a:pt x="534" y="731"/>
                </a:lnTo>
                <a:lnTo>
                  <a:pt x="525" y="736"/>
                </a:lnTo>
                <a:lnTo>
                  <a:pt x="519" y="738"/>
                </a:lnTo>
                <a:lnTo>
                  <a:pt x="510" y="738"/>
                </a:lnTo>
                <a:lnTo>
                  <a:pt x="502" y="735"/>
                </a:lnTo>
                <a:lnTo>
                  <a:pt x="497" y="731"/>
                </a:lnTo>
                <a:lnTo>
                  <a:pt x="492" y="731"/>
                </a:lnTo>
                <a:lnTo>
                  <a:pt x="485" y="731"/>
                </a:lnTo>
                <a:lnTo>
                  <a:pt x="478" y="731"/>
                </a:lnTo>
                <a:lnTo>
                  <a:pt x="465" y="736"/>
                </a:lnTo>
                <a:lnTo>
                  <a:pt x="450" y="741"/>
                </a:lnTo>
                <a:lnTo>
                  <a:pt x="443" y="746"/>
                </a:lnTo>
                <a:lnTo>
                  <a:pt x="436" y="750"/>
                </a:lnTo>
                <a:lnTo>
                  <a:pt x="429" y="751"/>
                </a:lnTo>
                <a:lnTo>
                  <a:pt x="423" y="753"/>
                </a:lnTo>
                <a:lnTo>
                  <a:pt x="407" y="753"/>
                </a:lnTo>
                <a:lnTo>
                  <a:pt x="394" y="751"/>
                </a:lnTo>
                <a:lnTo>
                  <a:pt x="384" y="748"/>
                </a:lnTo>
                <a:lnTo>
                  <a:pt x="375" y="748"/>
                </a:lnTo>
                <a:lnTo>
                  <a:pt x="365" y="750"/>
                </a:lnTo>
                <a:lnTo>
                  <a:pt x="357" y="751"/>
                </a:lnTo>
                <a:lnTo>
                  <a:pt x="343" y="755"/>
                </a:lnTo>
                <a:lnTo>
                  <a:pt x="330" y="755"/>
                </a:lnTo>
                <a:lnTo>
                  <a:pt x="317" y="751"/>
                </a:lnTo>
                <a:lnTo>
                  <a:pt x="305" y="745"/>
                </a:lnTo>
                <a:lnTo>
                  <a:pt x="286" y="738"/>
                </a:lnTo>
                <a:lnTo>
                  <a:pt x="269" y="731"/>
                </a:lnTo>
                <a:lnTo>
                  <a:pt x="251" y="724"/>
                </a:lnTo>
                <a:lnTo>
                  <a:pt x="234" y="718"/>
                </a:lnTo>
                <a:lnTo>
                  <a:pt x="222" y="714"/>
                </a:lnTo>
                <a:lnTo>
                  <a:pt x="214" y="709"/>
                </a:lnTo>
                <a:lnTo>
                  <a:pt x="209" y="706"/>
                </a:lnTo>
                <a:lnTo>
                  <a:pt x="207" y="701"/>
                </a:lnTo>
                <a:lnTo>
                  <a:pt x="207" y="696"/>
                </a:lnTo>
                <a:lnTo>
                  <a:pt x="210" y="689"/>
                </a:lnTo>
                <a:lnTo>
                  <a:pt x="216" y="684"/>
                </a:lnTo>
                <a:lnTo>
                  <a:pt x="222" y="677"/>
                </a:lnTo>
                <a:lnTo>
                  <a:pt x="237" y="665"/>
                </a:lnTo>
                <a:lnTo>
                  <a:pt x="244" y="655"/>
                </a:lnTo>
                <a:lnTo>
                  <a:pt x="244" y="652"/>
                </a:lnTo>
                <a:lnTo>
                  <a:pt x="241" y="650"/>
                </a:lnTo>
                <a:lnTo>
                  <a:pt x="234" y="649"/>
                </a:lnTo>
                <a:lnTo>
                  <a:pt x="222" y="649"/>
                </a:lnTo>
                <a:lnTo>
                  <a:pt x="214" y="649"/>
                </a:lnTo>
                <a:lnTo>
                  <a:pt x="207" y="647"/>
                </a:lnTo>
                <a:lnTo>
                  <a:pt x="202" y="645"/>
                </a:lnTo>
                <a:lnTo>
                  <a:pt x="197" y="640"/>
                </a:lnTo>
                <a:lnTo>
                  <a:pt x="195" y="635"/>
                </a:lnTo>
                <a:lnTo>
                  <a:pt x="194" y="628"/>
                </a:lnTo>
                <a:lnTo>
                  <a:pt x="195" y="618"/>
                </a:lnTo>
                <a:lnTo>
                  <a:pt x="199" y="608"/>
                </a:lnTo>
                <a:lnTo>
                  <a:pt x="202" y="595"/>
                </a:lnTo>
                <a:lnTo>
                  <a:pt x="204" y="581"/>
                </a:lnTo>
                <a:lnTo>
                  <a:pt x="202" y="571"/>
                </a:lnTo>
                <a:lnTo>
                  <a:pt x="200" y="564"/>
                </a:lnTo>
                <a:lnTo>
                  <a:pt x="195" y="558"/>
                </a:lnTo>
                <a:lnTo>
                  <a:pt x="190" y="553"/>
                </a:lnTo>
                <a:lnTo>
                  <a:pt x="182" y="549"/>
                </a:lnTo>
                <a:lnTo>
                  <a:pt x="172" y="549"/>
                </a:lnTo>
                <a:lnTo>
                  <a:pt x="158" y="546"/>
                </a:lnTo>
                <a:lnTo>
                  <a:pt x="145" y="541"/>
                </a:lnTo>
                <a:lnTo>
                  <a:pt x="131" y="534"/>
                </a:lnTo>
                <a:lnTo>
                  <a:pt x="120" y="526"/>
                </a:lnTo>
                <a:lnTo>
                  <a:pt x="120" y="521"/>
                </a:lnTo>
                <a:lnTo>
                  <a:pt x="120" y="516"/>
                </a:lnTo>
                <a:lnTo>
                  <a:pt x="115" y="506"/>
                </a:lnTo>
                <a:lnTo>
                  <a:pt x="110" y="497"/>
                </a:lnTo>
                <a:lnTo>
                  <a:pt x="116" y="480"/>
                </a:lnTo>
                <a:lnTo>
                  <a:pt x="123" y="463"/>
                </a:lnTo>
                <a:lnTo>
                  <a:pt x="115" y="442"/>
                </a:lnTo>
                <a:lnTo>
                  <a:pt x="108" y="420"/>
                </a:lnTo>
                <a:lnTo>
                  <a:pt x="113" y="396"/>
                </a:lnTo>
                <a:lnTo>
                  <a:pt x="118" y="374"/>
                </a:lnTo>
                <a:lnTo>
                  <a:pt x="108" y="372"/>
                </a:lnTo>
                <a:lnTo>
                  <a:pt x="98" y="371"/>
                </a:lnTo>
                <a:lnTo>
                  <a:pt x="98" y="361"/>
                </a:lnTo>
                <a:lnTo>
                  <a:pt x="101" y="351"/>
                </a:lnTo>
                <a:lnTo>
                  <a:pt x="106" y="337"/>
                </a:lnTo>
                <a:lnTo>
                  <a:pt x="115" y="324"/>
                </a:lnTo>
                <a:lnTo>
                  <a:pt x="110" y="293"/>
                </a:lnTo>
                <a:lnTo>
                  <a:pt x="106" y="265"/>
                </a:lnTo>
                <a:lnTo>
                  <a:pt x="103" y="234"/>
                </a:lnTo>
                <a:lnTo>
                  <a:pt x="99" y="206"/>
                </a:lnTo>
                <a:lnTo>
                  <a:pt x="93" y="207"/>
                </a:lnTo>
                <a:lnTo>
                  <a:pt x="86" y="207"/>
                </a:lnTo>
                <a:lnTo>
                  <a:pt x="81" y="207"/>
                </a:lnTo>
                <a:lnTo>
                  <a:pt x="78" y="204"/>
                </a:lnTo>
                <a:lnTo>
                  <a:pt x="72" y="197"/>
                </a:lnTo>
                <a:lnTo>
                  <a:pt x="67" y="191"/>
                </a:lnTo>
                <a:lnTo>
                  <a:pt x="64" y="182"/>
                </a:lnTo>
                <a:lnTo>
                  <a:pt x="61" y="174"/>
                </a:lnTo>
                <a:lnTo>
                  <a:pt x="57" y="169"/>
                </a:lnTo>
                <a:lnTo>
                  <a:pt x="51" y="162"/>
                </a:lnTo>
                <a:lnTo>
                  <a:pt x="40" y="152"/>
                </a:lnTo>
                <a:lnTo>
                  <a:pt x="27" y="142"/>
                </a:lnTo>
                <a:lnTo>
                  <a:pt x="32" y="137"/>
                </a:lnTo>
                <a:lnTo>
                  <a:pt x="34" y="130"/>
                </a:lnTo>
                <a:lnTo>
                  <a:pt x="35" y="123"/>
                </a:lnTo>
                <a:lnTo>
                  <a:pt x="34" y="115"/>
                </a:lnTo>
                <a:lnTo>
                  <a:pt x="30" y="106"/>
                </a:lnTo>
                <a:lnTo>
                  <a:pt x="25" y="96"/>
                </a:lnTo>
                <a:lnTo>
                  <a:pt x="19" y="85"/>
                </a:lnTo>
                <a:lnTo>
                  <a:pt x="10" y="73"/>
                </a:lnTo>
                <a:lnTo>
                  <a:pt x="12" y="74"/>
                </a:lnTo>
                <a:lnTo>
                  <a:pt x="17" y="73"/>
                </a:lnTo>
                <a:lnTo>
                  <a:pt x="20" y="73"/>
                </a:lnTo>
                <a:lnTo>
                  <a:pt x="22" y="69"/>
                </a:lnTo>
                <a:lnTo>
                  <a:pt x="24" y="66"/>
                </a:lnTo>
                <a:lnTo>
                  <a:pt x="25" y="59"/>
                </a:lnTo>
              </a:path>
            </a:pathLst>
          </a:custGeom>
          <a:solidFill>
            <a:srgbClr val="CCECFF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332909" name="Freeform 20"/>
          <p:cNvSpPr>
            <a:spLocks noChangeAspect="1"/>
          </p:cNvSpPr>
          <p:nvPr>
            <p:custDataLst>
              <p:tags r:id="rId15"/>
            </p:custDataLst>
          </p:nvPr>
        </p:nvSpPr>
        <p:spPr bwMode="auto">
          <a:xfrm>
            <a:off x="5230813" y="2051050"/>
            <a:ext cx="1835150" cy="1751013"/>
          </a:xfrm>
          <a:custGeom>
            <a:avLst/>
            <a:gdLst>
              <a:gd name="T0" fmla="*/ 2147483647 w 1156"/>
              <a:gd name="T1" fmla="*/ 2147483647 h 1098"/>
              <a:gd name="T2" fmla="*/ 2147483647 w 1156"/>
              <a:gd name="T3" fmla="*/ 2147483647 h 1098"/>
              <a:gd name="T4" fmla="*/ 2147483647 w 1156"/>
              <a:gd name="T5" fmla="*/ 2147483647 h 1098"/>
              <a:gd name="T6" fmla="*/ 2147483647 w 1156"/>
              <a:gd name="T7" fmla="*/ 2147483647 h 1098"/>
              <a:gd name="T8" fmla="*/ 2147483647 w 1156"/>
              <a:gd name="T9" fmla="*/ 2147483647 h 1098"/>
              <a:gd name="T10" fmla="*/ 2147483647 w 1156"/>
              <a:gd name="T11" fmla="*/ 2147483647 h 1098"/>
              <a:gd name="T12" fmla="*/ 2147483647 w 1156"/>
              <a:gd name="T13" fmla="*/ 2147483647 h 1098"/>
              <a:gd name="T14" fmla="*/ 2147483647 w 1156"/>
              <a:gd name="T15" fmla="*/ 2147483647 h 1098"/>
              <a:gd name="T16" fmla="*/ 2147483647 w 1156"/>
              <a:gd name="T17" fmla="*/ 2147483647 h 1098"/>
              <a:gd name="T18" fmla="*/ 2147483647 w 1156"/>
              <a:gd name="T19" fmla="*/ 2147483647 h 1098"/>
              <a:gd name="T20" fmla="*/ 2147483647 w 1156"/>
              <a:gd name="T21" fmla="*/ 2147483647 h 1098"/>
              <a:gd name="T22" fmla="*/ 2147483647 w 1156"/>
              <a:gd name="T23" fmla="*/ 2147483647 h 1098"/>
              <a:gd name="T24" fmla="*/ 2147483647 w 1156"/>
              <a:gd name="T25" fmla="*/ 2147483647 h 1098"/>
              <a:gd name="T26" fmla="*/ 2147483647 w 1156"/>
              <a:gd name="T27" fmla="*/ 2147483647 h 1098"/>
              <a:gd name="T28" fmla="*/ 2147483647 w 1156"/>
              <a:gd name="T29" fmla="*/ 2147483647 h 1098"/>
              <a:gd name="T30" fmla="*/ 2147483647 w 1156"/>
              <a:gd name="T31" fmla="*/ 2147483647 h 1098"/>
              <a:gd name="T32" fmla="*/ 2147483647 w 1156"/>
              <a:gd name="T33" fmla="*/ 2147483647 h 1098"/>
              <a:gd name="T34" fmla="*/ 2147483647 w 1156"/>
              <a:gd name="T35" fmla="*/ 2147483647 h 1098"/>
              <a:gd name="T36" fmla="*/ 2147483647 w 1156"/>
              <a:gd name="T37" fmla="*/ 2147483647 h 1098"/>
              <a:gd name="T38" fmla="*/ 2147483647 w 1156"/>
              <a:gd name="T39" fmla="*/ 2147483647 h 1098"/>
              <a:gd name="T40" fmla="*/ 2147483647 w 1156"/>
              <a:gd name="T41" fmla="*/ 2147483647 h 1098"/>
              <a:gd name="T42" fmla="*/ 2147483647 w 1156"/>
              <a:gd name="T43" fmla="*/ 2147483647 h 1098"/>
              <a:gd name="T44" fmla="*/ 2147483647 w 1156"/>
              <a:gd name="T45" fmla="*/ 2147483647 h 1098"/>
              <a:gd name="T46" fmla="*/ 2147483647 w 1156"/>
              <a:gd name="T47" fmla="*/ 2147483647 h 1098"/>
              <a:gd name="T48" fmla="*/ 2147483647 w 1156"/>
              <a:gd name="T49" fmla="*/ 2147483647 h 1098"/>
              <a:gd name="T50" fmla="*/ 2147483647 w 1156"/>
              <a:gd name="T51" fmla="*/ 2147483647 h 1098"/>
              <a:gd name="T52" fmla="*/ 2147483647 w 1156"/>
              <a:gd name="T53" fmla="*/ 2147483647 h 1098"/>
              <a:gd name="T54" fmla="*/ 2147483647 w 1156"/>
              <a:gd name="T55" fmla="*/ 2147483647 h 1098"/>
              <a:gd name="T56" fmla="*/ 2147483647 w 1156"/>
              <a:gd name="T57" fmla="*/ 2147483647 h 1098"/>
              <a:gd name="T58" fmla="*/ 2147483647 w 1156"/>
              <a:gd name="T59" fmla="*/ 2147483647 h 1098"/>
              <a:gd name="T60" fmla="*/ 2147483647 w 1156"/>
              <a:gd name="T61" fmla="*/ 2147483647 h 1098"/>
              <a:gd name="T62" fmla="*/ 2147483647 w 1156"/>
              <a:gd name="T63" fmla="*/ 2147483647 h 1098"/>
              <a:gd name="T64" fmla="*/ 2147483647 w 1156"/>
              <a:gd name="T65" fmla="*/ 2147483647 h 1098"/>
              <a:gd name="T66" fmla="*/ 2147483647 w 1156"/>
              <a:gd name="T67" fmla="*/ 2147483647 h 1098"/>
              <a:gd name="T68" fmla="*/ 2147483647 w 1156"/>
              <a:gd name="T69" fmla="*/ 2147483647 h 1098"/>
              <a:gd name="T70" fmla="*/ 2147483647 w 1156"/>
              <a:gd name="T71" fmla="*/ 2147483647 h 1098"/>
              <a:gd name="T72" fmla="*/ 2147483647 w 1156"/>
              <a:gd name="T73" fmla="*/ 2147483647 h 1098"/>
              <a:gd name="T74" fmla="*/ 2147483647 w 1156"/>
              <a:gd name="T75" fmla="*/ 2147483647 h 1098"/>
              <a:gd name="T76" fmla="*/ 2147483647 w 1156"/>
              <a:gd name="T77" fmla="*/ 2147483647 h 1098"/>
              <a:gd name="T78" fmla="*/ 2147483647 w 1156"/>
              <a:gd name="T79" fmla="*/ 2147483647 h 1098"/>
              <a:gd name="T80" fmla="*/ 2147483647 w 1156"/>
              <a:gd name="T81" fmla="*/ 2147483647 h 1098"/>
              <a:gd name="T82" fmla="*/ 2147483647 w 1156"/>
              <a:gd name="T83" fmla="*/ 0 h 1098"/>
              <a:gd name="T84" fmla="*/ 2147483647 w 1156"/>
              <a:gd name="T85" fmla="*/ 2147483647 h 1098"/>
              <a:gd name="T86" fmla="*/ 2147483647 w 1156"/>
              <a:gd name="T87" fmla="*/ 2147483647 h 1098"/>
              <a:gd name="T88" fmla="*/ 2147483647 w 1156"/>
              <a:gd name="T89" fmla="*/ 2147483647 h 1098"/>
              <a:gd name="T90" fmla="*/ 2147483647 w 1156"/>
              <a:gd name="T91" fmla="*/ 2147483647 h 1098"/>
              <a:gd name="T92" fmla="*/ 2147483647 w 1156"/>
              <a:gd name="T93" fmla="*/ 2147483647 h 1098"/>
              <a:gd name="T94" fmla="*/ 2147483647 w 1156"/>
              <a:gd name="T95" fmla="*/ 2147483647 h 1098"/>
              <a:gd name="T96" fmla="*/ 2147483647 w 1156"/>
              <a:gd name="T97" fmla="*/ 2147483647 h 1098"/>
              <a:gd name="T98" fmla="*/ 2147483647 w 1156"/>
              <a:gd name="T99" fmla="*/ 2147483647 h 1098"/>
              <a:gd name="T100" fmla="*/ 2147483647 w 1156"/>
              <a:gd name="T101" fmla="*/ 2147483647 h 1098"/>
              <a:gd name="T102" fmla="*/ 2147483647 w 1156"/>
              <a:gd name="T103" fmla="*/ 2147483647 h 1098"/>
              <a:gd name="T104" fmla="*/ 2147483647 w 1156"/>
              <a:gd name="T105" fmla="*/ 2147483647 h 1098"/>
              <a:gd name="T106" fmla="*/ 2147483647 w 1156"/>
              <a:gd name="T107" fmla="*/ 2147483647 h 1098"/>
              <a:gd name="T108" fmla="*/ 2147483647 w 1156"/>
              <a:gd name="T109" fmla="*/ 2147483647 h 1098"/>
              <a:gd name="T110" fmla="*/ 2147483647 w 1156"/>
              <a:gd name="T111" fmla="*/ 2147483647 h 1098"/>
              <a:gd name="T112" fmla="*/ 2147483647 w 1156"/>
              <a:gd name="T113" fmla="*/ 2147483647 h 1098"/>
              <a:gd name="T114" fmla="*/ 2147483647 w 1156"/>
              <a:gd name="T115" fmla="*/ 2147483647 h 1098"/>
              <a:gd name="T116" fmla="*/ 2147483647 w 1156"/>
              <a:gd name="T117" fmla="*/ 2147483647 h 1098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1156"/>
              <a:gd name="T178" fmla="*/ 0 h 1098"/>
              <a:gd name="T179" fmla="*/ 1156 w 1156"/>
              <a:gd name="T180" fmla="*/ 1098 h 1098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1156" h="1098">
                <a:moveTo>
                  <a:pt x="1027" y="803"/>
                </a:moveTo>
                <a:lnTo>
                  <a:pt x="1018" y="803"/>
                </a:lnTo>
                <a:lnTo>
                  <a:pt x="1010" y="803"/>
                </a:lnTo>
                <a:lnTo>
                  <a:pt x="1001" y="800"/>
                </a:lnTo>
                <a:lnTo>
                  <a:pt x="993" y="800"/>
                </a:lnTo>
                <a:lnTo>
                  <a:pt x="986" y="801"/>
                </a:lnTo>
                <a:lnTo>
                  <a:pt x="979" y="805"/>
                </a:lnTo>
                <a:lnTo>
                  <a:pt x="974" y="810"/>
                </a:lnTo>
                <a:lnTo>
                  <a:pt x="971" y="815"/>
                </a:lnTo>
                <a:lnTo>
                  <a:pt x="966" y="822"/>
                </a:lnTo>
                <a:lnTo>
                  <a:pt x="963" y="830"/>
                </a:lnTo>
                <a:lnTo>
                  <a:pt x="961" y="837"/>
                </a:lnTo>
                <a:lnTo>
                  <a:pt x="958" y="843"/>
                </a:lnTo>
                <a:lnTo>
                  <a:pt x="954" y="848"/>
                </a:lnTo>
                <a:lnTo>
                  <a:pt x="951" y="854"/>
                </a:lnTo>
                <a:lnTo>
                  <a:pt x="946" y="859"/>
                </a:lnTo>
                <a:lnTo>
                  <a:pt x="941" y="862"/>
                </a:lnTo>
                <a:lnTo>
                  <a:pt x="934" y="864"/>
                </a:lnTo>
                <a:lnTo>
                  <a:pt x="926" y="865"/>
                </a:lnTo>
                <a:lnTo>
                  <a:pt x="900" y="872"/>
                </a:lnTo>
                <a:lnTo>
                  <a:pt x="875" y="877"/>
                </a:lnTo>
                <a:lnTo>
                  <a:pt x="850" y="882"/>
                </a:lnTo>
                <a:lnTo>
                  <a:pt x="826" y="889"/>
                </a:lnTo>
                <a:lnTo>
                  <a:pt x="818" y="889"/>
                </a:lnTo>
                <a:lnTo>
                  <a:pt x="813" y="889"/>
                </a:lnTo>
                <a:lnTo>
                  <a:pt x="808" y="887"/>
                </a:lnTo>
                <a:lnTo>
                  <a:pt x="804" y="886"/>
                </a:lnTo>
                <a:lnTo>
                  <a:pt x="801" y="882"/>
                </a:lnTo>
                <a:lnTo>
                  <a:pt x="799" y="879"/>
                </a:lnTo>
                <a:lnTo>
                  <a:pt x="799" y="874"/>
                </a:lnTo>
                <a:lnTo>
                  <a:pt x="801" y="869"/>
                </a:lnTo>
                <a:lnTo>
                  <a:pt x="801" y="855"/>
                </a:lnTo>
                <a:lnTo>
                  <a:pt x="803" y="843"/>
                </a:lnTo>
                <a:lnTo>
                  <a:pt x="803" y="830"/>
                </a:lnTo>
                <a:lnTo>
                  <a:pt x="803" y="818"/>
                </a:lnTo>
                <a:lnTo>
                  <a:pt x="798" y="810"/>
                </a:lnTo>
                <a:lnTo>
                  <a:pt x="793" y="805"/>
                </a:lnTo>
                <a:lnTo>
                  <a:pt x="788" y="805"/>
                </a:lnTo>
                <a:lnTo>
                  <a:pt x="783" y="806"/>
                </a:lnTo>
                <a:lnTo>
                  <a:pt x="777" y="808"/>
                </a:lnTo>
                <a:lnTo>
                  <a:pt x="774" y="808"/>
                </a:lnTo>
                <a:lnTo>
                  <a:pt x="769" y="803"/>
                </a:lnTo>
                <a:lnTo>
                  <a:pt x="764" y="796"/>
                </a:lnTo>
                <a:lnTo>
                  <a:pt x="754" y="788"/>
                </a:lnTo>
                <a:lnTo>
                  <a:pt x="745" y="779"/>
                </a:lnTo>
                <a:lnTo>
                  <a:pt x="737" y="771"/>
                </a:lnTo>
                <a:lnTo>
                  <a:pt x="730" y="763"/>
                </a:lnTo>
                <a:lnTo>
                  <a:pt x="720" y="744"/>
                </a:lnTo>
                <a:lnTo>
                  <a:pt x="714" y="727"/>
                </a:lnTo>
                <a:lnTo>
                  <a:pt x="720" y="734"/>
                </a:lnTo>
                <a:lnTo>
                  <a:pt x="729" y="741"/>
                </a:lnTo>
                <a:lnTo>
                  <a:pt x="734" y="742"/>
                </a:lnTo>
                <a:lnTo>
                  <a:pt x="739" y="742"/>
                </a:lnTo>
                <a:lnTo>
                  <a:pt x="744" y="739"/>
                </a:lnTo>
                <a:lnTo>
                  <a:pt x="749" y="732"/>
                </a:lnTo>
                <a:lnTo>
                  <a:pt x="745" y="731"/>
                </a:lnTo>
                <a:lnTo>
                  <a:pt x="744" y="729"/>
                </a:lnTo>
                <a:lnTo>
                  <a:pt x="745" y="726"/>
                </a:lnTo>
                <a:lnTo>
                  <a:pt x="749" y="722"/>
                </a:lnTo>
                <a:lnTo>
                  <a:pt x="744" y="719"/>
                </a:lnTo>
                <a:lnTo>
                  <a:pt x="740" y="715"/>
                </a:lnTo>
                <a:lnTo>
                  <a:pt x="739" y="714"/>
                </a:lnTo>
                <a:lnTo>
                  <a:pt x="739" y="712"/>
                </a:lnTo>
                <a:lnTo>
                  <a:pt x="744" y="707"/>
                </a:lnTo>
                <a:lnTo>
                  <a:pt x="747" y="704"/>
                </a:lnTo>
                <a:lnTo>
                  <a:pt x="757" y="694"/>
                </a:lnTo>
                <a:lnTo>
                  <a:pt x="766" y="682"/>
                </a:lnTo>
                <a:lnTo>
                  <a:pt x="762" y="680"/>
                </a:lnTo>
                <a:lnTo>
                  <a:pt x="757" y="680"/>
                </a:lnTo>
                <a:lnTo>
                  <a:pt x="759" y="670"/>
                </a:lnTo>
                <a:lnTo>
                  <a:pt x="759" y="660"/>
                </a:lnTo>
                <a:lnTo>
                  <a:pt x="757" y="657"/>
                </a:lnTo>
                <a:lnTo>
                  <a:pt x="754" y="655"/>
                </a:lnTo>
                <a:lnTo>
                  <a:pt x="752" y="633"/>
                </a:lnTo>
                <a:lnTo>
                  <a:pt x="749" y="611"/>
                </a:lnTo>
                <a:lnTo>
                  <a:pt x="744" y="609"/>
                </a:lnTo>
                <a:lnTo>
                  <a:pt x="739" y="611"/>
                </a:lnTo>
                <a:lnTo>
                  <a:pt x="735" y="614"/>
                </a:lnTo>
                <a:lnTo>
                  <a:pt x="734" y="621"/>
                </a:lnTo>
                <a:lnTo>
                  <a:pt x="730" y="635"/>
                </a:lnTo>
                <a:lnTo>
                  <a:pt x="727" y="648"/>
                </a:lnTo>
                <a:lnTo>
                  <a:pt x="725" y="655"/>
                </a:lnTo>
                <a:lnTo>
                  <a:pt x="727" y="662"/>
                </a:lnTo>
                <a:lnTo>
                  <a:pt x="727" y="670"/>
                </a:lnTo>
                <a:lnTo>
                  <a:pt x="729" y="677"/>
                </a:lnTo>
                <a:lnTo>
                  <a:pt x="720" y="685"/>
                </a:lnTo>
                <a:lnTo>
                  <a:pt x="712" y="692"/>
                </a:lnTo>
                <a:lnTo>
                  <a:pt x="707" y="694"/>
                </a:lnTo>
                <a:lnTo>
                  <a:pt x="702" y="694"/>
                </a:lnTo>
                <a:lnTo>
                  <a:pt x="698" y="694"/>
                </a:lnTo>
                <a:lnTo>
                  <a:pt x="695" y="692"/>
                </a:lnTo>
                <a:lnTo>
                  <a:pt x="692" y="690"/>
                </a:lnTo>
                <a:lnTo>
                  <a:pt x="690" y="687"/>
                </a:lnTo>
                <a:lnTo>
                  <a:pt x="688" y="683"/>
                </a:lnTo>
                <a:lnTo>
                  <a:pt x="688" y="678"/>
                </a:lnTo>
                <a:lnTo>
                  <a:pt x="678" y="672"/>
                </a:lnTo>
                <a:lnTo>
                  <a:pt x="670" y="667"/>
                </a:lnTo>
                <a:lnTo>
                  <a:pt x="663" y="665"/>
                </a:lnTo>
                <a:lnTo>
                  <a:pt x="656" y="663"/>
                </a:lnTo>
                <a:lnTo>
                  <a:pt x="648" y="657"/>
                </a:lnTo>
                <a:lnTo>
                  <a:pt x="639" y="650"/>
                </a:lnTo>
                <a:lnTo>
                  <a:pt x="636" y="651"/>
                </a:lnTo>
                <a:lnTo>
                  <a:pt x="633" y="655"/>
                </a:lnTo>
                <a:lnTo>
                  <a:pt x="646" y="670"/>
                </a:lnTo>
                <a:lnTo>
                  <a:pt x="666" y="687"/>
                </a:lnTo>
                <a:lnTo>
                  <a:pt x="666" y="695"/>
                </a:lnTo>
                <a:lnTo>
                  <a:pt x="665" y="702"/>
                </a:lnTo>
                <a:lnTo>
                  <a:pt x="663" y="709"/>
                </a:lnTo>
                <a:lnTo>
                  <a:pt x="658" y="712"/>
                </a:lnTo>
                <a:lnTo>
                  <a:pt x="653" y="717"/>
                </a:lnTo>
                <a:lnTo>
                  <a:pt x="648" y="719"/>
                </a:lnTo>
                <a:lnTo>
                  <a:pt x="639" y="719"/>
                </a:lnTo>
                <a:lnTo>
                  <a:pt x="631" y="719"/>
                </a:lnTo>
                <a:lnTo>
                  <a:pt x="626" y="712"/>
                </a:lnTo>
                <a:lnTo>
                  <a:pt x="623" y="705"/>
                </a:lnTo>
                <a:lnTo>
                  <a:pt x="618" y="705"/>
                </a:lnTo>
                <a:lnTo>
                  <a:pt x="614" y="704"/>
                </a:lnTo>
                <a:lnTo>
                  <a:pt x="609" y="709"/>
                </a:lnTo>
                <a:lnTo>
                  <a:pt x="607" y="715"/>
                </a:lnTo>
                <a:lnTo>
                  <a:pt x="607" y="721"/>
                </a:lnTo>
                <a:lnTo>
                  <a:pt x="609" y="727"/>
                </a:lnTo>
                <a:lnTo>
                  <a:pt x="607" y="742"/>
                </a:lnTo>
                <a:lnTo>
                  <a:pt x="607" y="756"/>
                </a:lnTo>
                <a:lnTo>
                  <a:pt x="607" y="768"/>
                </a:lnTo>
                <a:lnTo>
                  <a:pt x="609" y="781"/>
                </a:lnTo>
                <a:lnTo>
                  <a:pt x="611" y="791"/>
                </a:lnTo>
                <a:lnTo>
                  <a:pt x="616" y="801"/>
                </a:lnTo>
                <a:lnTo>
                  <a:pt x="621" y="810"/>
                </a:lnTo>
                <a:lnTo>
                  <a:pt x="626" y="818"/>
                </a:lnTo>
                <a:lnTo>
                  <a:pt x="626" y="827"/>
                </a:lnTo>
                <a:lnTo>
                  <a:pt x="626" y="835"/>
                </a:lnTo>
                <a:lnTo>
                  <a:pt x="631" y="833"/>
                </a:lnTo>
                <a:lnTo>
                  <a:pt x="636" y="832"/>
                </a:lnTo>
                <a:lnTo>
                  <a:pt x="658" y="847"/>
                </a:lnTo>
                <a:lnTo>
                  <a:pt x="678" y="860"/>
                </a:lnTo>
                <a:lnTo>
                  <a:pt x="690" y="862"/>
                </a:lnTo>
                <a:lnTo>
                  <a:pt x="700" y="862"/>
                </a:lnTo>
                <a:lnTo>
                  <a:pt x="700" y="870"/>
                </a:lnTo>
                <a:lnTo>
                  <a:pt x="700" y="879"/>
                </a:lnTo>
                <a:lnTo>
                  <a:pt x="693" y="880"/>
                </a:lnTo>
                <a:lnTo>
                  <a:pt x="685" y="882"/>
                </a:lnTo>
                <a:lnTo>
                  <a:pt x="693" y="889"/>
                </a:lnTo>
                <a:lnTo>
                  <a:pt x="702" y="894"/>
                </a:lnTo>
                <a:lnTo>
                  <a:pt x="690" y="919"/>
                </a:lnTo>
                <a:lnTo>
                  <a:pt x="678" y="943"/>
                </a:lnTo>
                <a:lnTo>
                  <a:pt x="682" y="955"/>
                </a:lnTo>
                <a:lnTo>
                  <a:pt x="683" y="966"/>
                </a:lnTo>
                <a:lnTo>
                  <a:pt x="683" y="976"/>
                </a:lnTo>
                <a:lnTo>
                  <a:pt x="683" y="987"/>
                </a:lnTo>
                <a:lnTo>
                  <a:pt x="682" y="1007"/>
                </a:lnTo>
                <a:lnTo>
                  <a:pt x="676" y="1027"/>
                </a:lnTo>
                <a:lnTo>
                  <a:pt x="673" y="1027"/>
                </a:lnTo>
                <a:lnTo>
                  <a:pt x="670" y="1029"/>
                </a:lnTo>
                <a:lnTo>
                  <a:pt x="666" y="1032"/>
                </a:lnTo>
                <a:lnTo>
                  <a:pt x="661" y="1037"/>
                </a:lnTo>
                <a:lnTo>
                  <a:pt x="655" y="1049"/>
                </a:lnTo>
                <a:lnTo>
                  <a:pt x="646" y="1062"/>
                </a:lnTo>
                <a:lnTo>
                  <a:pt x="636" y="1069"/>
                </a:lnTo>
                <a:lnTo>
                  <a:pt x="629" y="1078"/>
                </a:lnTo>
                <a:lnTo>
                  <a:pt x="623" y="1088"/>
                </a:lnTo>
                <a:lnTo>
                  <a:pt x="616" y="1098"/>
                </a:lnTo>
                <a:lnTo>
                  <a:pt x="604" y="1089"/>
                </a:lnTo>
                <a:lnTo>
                  <a:pt x="592" y="1083"/>
                </a:lnTo>
                <a:lnTo>
                  <a:pt x="586" y="1076"/>
                </a:lnTo>
                <a:lnTo>
                  <a:pt x="577" y="1071"/>
                </a:lnTo>
                <a:lnTo>
                  <a:pt x="570" y="1067"/>
                </a:lnTo>
                <a:lnTo>
                  <a:pt x="564" y="1066"/>
                </a:lnTo>
                <a:lnTo>
                  <a:pt x="559" y="1066"/>
                </a:lnTo>
                <a:lnTo>
                  <a:pt x="554" y="1066"/>
                </a:lnTo>
                <a:lnTo>
                  <a:pt x="547" y="1066"/>
                </a:lnTo>
                <a:lnTo>
                  <a:pt x="542" y="1067"/>
                </a:lnTo>
                <a:lnTo>
                  <a:pt x="537" y="1071"/>
                </a:lnTo>
                <a:lnTo>
                  <a:pt x="532" y="1072"/>
                </a:lnTo>
                <a:lnTo>
                  <a:pt x="527" y="1074"/>
                </a:lnTo>
                <a:lnTo>
                  <a:pt x="522" y="1072"/>
                </a:lnTo>
                <a:lnTo>
                  <a:pt x="518" y="1072"/>
                </a:lnTo>
                <a:lnTo>
                  <a:pt x="513" y="1069"/>
                </a:lnTo>
                <a:lnTo>
                  <a:pt x="510" y="1066"/>
                </a:lnTo>
                <a:lnTo>
                  <a:pt x="505" y="1062"/>
                </a:lnTo>
                <a:lnTo>
                  <a:pt x="493" y="1051"/>
                </a:lnTo>
                <a:lnTo>
                  <a:pt x="483" y="1040"/>
                </a:lnTo>
                <a:lnTo>
                  <a:pt x="478" y="1037"/>
                </a:lnTo>
                <a:lnTo>
                  <a:pt x="474" y="1034"/>
                </a:lnTo>
                <a:lnTo>
                  <a:pt x="471" y="1032"/>
                </a:lnTo>
                <a:lnTo>
                  <a:pt x="468" y="1032"/>
                </a:lnTo>
                <a:lnTo>
                  <a:pt x="464" y="1032"/>
                </a:lnTo>
                <a:lnTo>
                  <a:pt x="461" y="1034"/>
                </a:lnTo>
                <a:lnTo>
                  <a:pt x="458" y="1037"/>
                </a:lnTo>
                <a:lnTo>
                  <a:pt x="454" y="1040"/>
                </a:lnTo>
                <a:lnTo>
                  <a:pt x="448" y="1052"/>
                </a:lnTo>
                <a:lnTo>
                  <a:pt x="441" y="1064"/>
                </a:lnTo>
                <a:lnTo>
                  <a:pt x="434" y="1071"/>
                </a:lnTo>
                <a:lnTo>
                  <a:pt x="427" y="1074"/>
                </a:lnTo>
                <a:lnTo>
                  <a:pt x="424" y="1072"/>
                </a:lnTo>
                <a:lnTo>
                  <a:pt x="421" y="1071"/>
                </a:lnTo>
                <a:lnTo>
                  <a:pt x="417" y="1067"/>
                </a:lnTo>
                <a:lnTo>
                  <a:pt x="416" y="1062"/>
                </a:lnTo>
                <a:lnTo>
                  <a:pt x="409" y="1059"/>
                </a:lnTo>
                <a:lnTo>
                  <a:pt x="400" y="1056"/>
                </a:lnTo>
                <a:lnTo>
                  <a:pt x="394" y="1054"/>
                </a:lnTo>
                <a:lnTo>
                  <a:pt x="385" y="1052"/>
                </a:lnTo>
                <a:lnTo>
                  <a:pt x="367" y="1052"/>
                </a:lnTo>
                <a:lnTo>
                  <a:pt x="348" y="1054"/>
                </a:lnTo>
                <a:lnTo>
                  <a:pt x="347" y="1037"/>
                </a:lnTo>
                <a:lnTo>
                  <a:pt x="347" y="1022"/>
                </a:lnTo>
                <a:lnTo>
                  <a:pt x="348" y="1008"/>
                </a:lnTo>
                <a:lnTo>
                  <a:pt x="350" y="997"/>
                </a:lnTo>
                <a:lnTo>
                  <a:pt x="353" y="985"/>
                </a:lnTo>
                <a:lnTo>
                  <a:pt x="357" y="976"/>
                </a:lnTo>
                <a:lnTo>
                  <a:pt x="362" y="968"/>
                </a:lnTo>
                <a:lnTo>
                  <a:pt x="367" y="961"/>
                </a:lnTo>
                <a:lnTo>
                  <a:pt x="377" y="936"/>
                </a:lnTo>
                <a:lnTo>
                  <a:pt x="385" y="916"/>
                </a:lnTo>
                <a:lnTo>
                  <a:pt x="395" y="899"/>
                </a:lnTo>
                <a:lnTo>
                  <a:pt x="404" y="887"/>
                </a:lnTo>
                <a:lnTo>
                  <a:pt x="417" y="867"/>
                </a:lnTo>
                <a:lnTo>
                  <a:pt x="429" y="847"/>
                </a:lnTo>
                <a:lnTo>
                  <a:pt x="439" y="825"/>
                </a:lnTo>
                <a:lnTo>
                  <a:pt x="448" y="800"/>
                </a:lnTo>
                <a:lnTo>
                  <a:pt x="453" y="795"/>
                </a:lnTo>
                <a:lnTo>
                  <a:pt x="454" y="788"/>
                </a:lnTo>
                <a:lnTo>
                  <a:pt x="453" y="783"/>
                </a:lnTo>
                <a:lnTo>
                  <a:pt x="451" y="776"/>
                </a:lnTo>
                <a:lnTo>
                  <a:pt x="446" y="769"/>
                </a:lnTo>
                <a:lnTo>
                  <a:pt x="439" y="763"/>
                </a:lnTo>
                <a:lnTo>
                  <a:pt x="432" y="756"/>
                </a:lnTo>
                <a:lnTo>
                  <a:pt x="422" y="749"/>
                </a:lnTo>
                <a:lnTo>
                  <a:pt x="412" y="739"/>
                </a:lnTo>
                <a:lnTo>
                  <a:pt x="405" y="729"/>
                </a:lnTo>
                <a:lnTo>
                  <a:pt x="400" y="719"/>
                </a:lnTo>
                <a:lnTo>
                  <a:pt x="399" y="709"/>
                </a:lnTo>
                <a:lnTo>
                  <a:pt x="394" y="700"/>
                </a:lnTo>
                <a:lnTo>
                  <a:pt x="390" y="694"/>
                </a:lnTo>
                <a:lnTo>
                  <a:pt x="387" y="687"/>
                </a:lnTo>
                <a:lnTo>
                  <a:pt x="385" y="678"/>
                </a:lnTo>
                <a:lnTo>
                  <a:pt x="385" y="665"/>
                </a:lnTo>
                <a:lnTo>
                  <a:pt x="387" y="650"/>
                </a:lnTo>
                <a:lnTo>
                  <a:pt x="385" y="631"/>
                </a:lnTo>
                <a:lnTo>
                  <a:pt x="382" y="613"/>
                </a:lnTo>
                <a:lnTo>
                  <a:pt x="379" y="606"/>
                </a:lnTo>
                <a:lnTo>
                  <a:pt x="377" y="601"/>
                </a:lnTo>
                <a:lnTo>
                  <a:pt x="373" y="598"/>
                </a:lnTo>
                <a:lnTo>
                  <a:pt x="370" y="596"/>
                </a:lnTo>
                <a:lnTo>
                  <a:pt x="367" y="596"/>
                </a:lnTo>
                <a:lnTo>
                  <a:pt x="363" y="598"/>
                </a:lnTo>
                <a:lnTo>
                  <a:pt x="358" y="601"/>
                </a:lnTo>
                <a:lnTo>
                  <a:pt x="355" y="606"/>
                </a:lnTo>
                <a:lnTo>
                  <a:pt x="347" y="616"/>
                </a:lnTo>
                <a:lnTo>
                  <a:pt x="340" y="628"/>
                </a:lnTo>
                <a:lnTo>
                  <a:pt x="333" y="633"/>
                </a:lnTo>
                <a:lnTo>
                  <a:pt x="328" y="636"/>
                </a:lnTo>
                <a:lnTo>
                  <a:pt x="323" y="636"/>
                </a:lnTo>
                <a:lnTo>
                  <a:pt x="320" y="635"/>
                </a:lnTo>
                <a:lnTo>
                  <a:pt x="320" y="630"/>
                </a:lnTo>
                <a:lnTo>
                  <a:pt x="320" y="623"/>
                </a:lnTo>
                <a:lnTo>
                  <a:pt x="321" y="614"/>
                </a:lnTo>
                <a:lnTo>
                  <a:pt x="323" y="603"/>
                </a:lnTo>
                <a:lnTo>
                  <a:pt x="326" y="596"/>
                </a:lnTo>
                <a:lnTo>
                  <a:pt x="326" y="589"/>
                </a:lnTo>
                <a:lnTo>
                  <a:pt x="325" y="582"/>
                </a:lnTo>
                <a:lnTo>
                  <a:pt x="323" y="576"/>
                </a:lnTo>
                <a:lnTo>
                  <a:pt x="320" y="571"/>
                </a:lnTo>
                <a:lnTo>
                  <a:pt x="315" y="564"/>
                </a:lnTo>
                <a:lnTo>
                  <a:pt x="308" y="559"/>
                </a:lnTo>
                <a:lnTo>
                  <a:pt x="301" y="554"/>
                </a:lnTo>
                <a:lnTo>
                  <a:pt x="294" y="547"/>
                </a:lnTo>
                <a:lnTo>
                  <a:pt x="288" y="544"/>
                </a:lnTo>
                <a:lnTo>
                  <a:pt x="281" y="542"/>
                </a:lnTo>
                <a:lnTo>
                  <a:pt x="276" y="542"/>
                </a:lnTo>
                <a:lnTo>
                  <a:pt x="271" y="544"/>
                </a:lnTo>
                <a:lnTo>
                  <a:pt x="267" y="547"/>
                </a:lnTo>
                <a:lnTo>
                  <a:pt x="262" y="550"/>
                </a:lnTo>
                <a:lnTo>
                  <a:pt x="259" y="555"/>
                </a:lnTo>
                <a:lnTo>
                  <a:pt x="254" y="562"/>
                </a:lnTo>
                <a:lnTo>
                  <a:pt x="246" y="567"/>
                </a:lnTo>
                <a:lnTo>
                  <a:pt x="237" y="571"/>
                </a:lnTo>
                <a:lnTo>
                  <a:pt x="225" y="574"/>
                </a:lnTo>
                <a:lnTo>
                  <a:pt x="215" y="576"/>
                </a:lnTo>
                <a:lnTo>
                  <a:pt x="207" y="576"/>
                </a:lnTo>
                <a:lnTo>
                  <a:pt x="198" y="576"/>
                </a:lnTo>
                <a:lnTo>
                  <a:pt x="190" y="572"/>
                </a:lnTo>
                <a:lnTo>
                  <a:pt x="182" y="569"/>
                </a:lnTo>
                <a:lnTo>
                  <a:pt x="173" y="564"/>
                </a:lnTo>
                <a:lnTo>
                  <a:pt x="165" y="557"/>
                </a:lnTo>
                <a:lnTo>
                  <a:pt x="156" y="550"/>
                </a:lnTo>
                <a:lnTo>
                  <a:pt x="153" y="545"/>
                </a:lnTo>
                <a:lnTo>
                  <a:pt x="148" y="542"/>
                </a:lnTo>
                <a:lnTo>
                  <a:pt x="143" y="540"/>
                </a:lnTo>
                <a:lnTo>
                  <a:pt x="134" y="540"/>
                </a:lnTo>
                <a:lnTo>
                  <a:pt x="128" y="540"/>
                </a:lnTo>
                <a:lnTo>
                  <a:pt x="123" y="540"/>
                </a:lnTo>
                <a:lnTo>
                  <a:pt x="119" y="540"/>
                </a:lnTo>
                <a:lnTo>
                  <a:pt x="116" y="539"/>
                </a:lnTo>
                <a:lnTo>
                  <a:pt x="113" y="535"/>
                </a:lnTo>
                <a:lnTo>
                  <a:pt x="111" y="532"/>
                </a:lnTo>
                <a:lnTo>
                  <a:pt x="109" y="527"/>
                </a:lnTo>
                <a:lnTo>
                  <a:pt x="109" y="522"/>
                </a:lnTo>
                <a:lnTo>
                  <a:pt x="109" y="517"/>
                </a:lnTo>
                <a:lnTo>
                  <a:pt x="109" y="512"/>
                </a:lnTo>
                <a:lnTo>
                  <a:pt x="108" y="508"/>
                </a:lnTo>
                <a:lnTo>
                  <a:pt x="106" y="505"/>
                </a:lnTo>
                <a:lnTo>
                  <a:pt x="101" y="502"/>
                </a:lnTo>
                <a:lnTo>
                  <a:pt x="92" y="498"/>
                </a:lnTo>
                <a:lnTo>
                  <a:pt x="87" y="498"/>
                </a:lnTo>
                <a:lnTo>
                  <a:pt x="81" y="497"/>
                </a:lnTo>
                <a:lnTo>
                  <a:pt x="76" y="495"/>
                </a:lnTo>
                <a:lnTo>
                  <a:pt x="71" y="490"/>
                </a:lnTo>
                <a:lnTo>
                  <a:pt x="67" y="485"/>
                </a:lnTo>
                <a:lnTo>
                  <a:pt x="64" y="478"/>
                </a:lnTo>
                <a:lnTo>
                  <a:pt x="62" y="470"/>
                </a:lnTo>
                <a:lnTo>
                  <a:pt x="60" y="459"/>
                </a:lnTo>
                <a:lnTo>
                  <a:pt x="60" y="449"/>
                </a:lnTo>
                <a:lnTo>
                  <a:pt x="60" y="439"/>
                </a:lnTo>
                <a:lnTo>
                  <a:pt x="57" y="431"/>
                </a:lnTo>
                <a:lnTo>
                  <a:pt x="54" y="419"/>
                </a:lnTo>
                <a:lnTo>
                  <a:pt x="47" y="414"/>
                </a:lnTo>
                <a:lnTo>
                  <a:pt x="44" y="411"/>
                </a:lnTo>
                <a:lnTo>
                  <a:pt x="44" y="406"/>
                </a:lnTo>
                <a:lnTo>
                  <a:pt x="45" y="402"/>
                </a:lnTo>
                <a:lnTo>
                  <a:pt x="40" y="399"/>
                </a:lnTo>
                <a:lnTo>
                  <a:pt x="37" y="397"/>
                </a:lnTo>
                <a:lnTo>
                  <a:pt x="32" y="397"/>
                </a:lnTo>
                <a:lnTo>
                  <a:pt x="28" y="399"/>
                </a:lnTo>
                <a:lnTo>
                  <a:pt x="23" y="406"/>
                </a:lnTo>
                <a:lnTo>
                  <a:pt x="18" y="412"/>
                </a:lnTo>
                <a:lnTo>
                  <a:pt x="15" y="416"/>
                </a:lnTo>
                <a:lnTo>
                  <a:pt x="10" y="417"/>
                </a:lnTo>
                <a:lnTo>
                  <a:pt x="7" y="419"/>
                </a:lnTo>
                <a:lnTo>
                  <a:pt x="3" y="417"/>
                </a:lnTo>
                <a:lnTo>
                  <a:pt x="1" y="414"/>
                </a:lnTo>
                <a:lnTo>
                  <a:pt x="0" y="411"/>
                </a:lnTo>
                <a:lnTo>
                  <a:pt x="0" y="406"/>
                </a:lnTo>
                <a:lnTo>
                  <a:pt x="3" y="399"/>
                </a:lnTo>
                <a:lnTo>
                  <a:pt x="3" y="394"/>
                </a:lnTo>
                <a:lnTo>
                  <a:pt x="3" y="387"/>
                </a:lnTo>
                <a:lnTo>
                  <a:pt x="12" y="387"/>
                </a:lnTo>
                <a:lnTo>
                  <a:pt x="22" y="385"/>
                </a:lnTo>
                <a:lnTo>
                  <a:pt x="30" y="380"/>
                </a:lnTo>
                <a:lnTo>
                  <a:pt x="39" y="375"/>
                </a:lnTo>
                <a:lnTo>
                  <a:pt x="54" y="370"/>
                </a:lnTo>
                <a:lnTo>
                  <a:pt x="67" y="365"/>
                </a:lnTo>
                <a:lnTo>
                  <a:pt x="74" y="365"/>
                </a:lnTo>
                <a:lnTo>
                  <a:pt x="81" y="365"/>
                </a:lnTo>
                <a:lnTo>
                  <a:pt x="86" y="365"/>
                </a:lnTo>
                <a:lnTo>
                  <a:pt x="91" y="369"/>
                </a:lnTo>
                <a:lnTo>
                  <a:pt x="99" y="372"/>
                </a:lnTo>
                <a:lnTo>
                  <a:pt x="108" y="372"/>
                </a:lnTo>
                <a:lnTo>
                  <a:pt x="114" y="370"/>
                </a:lnTo>
                <a:lnTo>
                  <a:pt x="123" y="365"/>
                </a:lnTo>
                <a:lnTo>
                  <a:pt x="133" y="355"/>
                </a:lnTo>
                <a:lnTo>
                  <a:pt x="145" y="345"/>
                </a:lnTo>
                <a:lnTo>
                  <a:pt x="158" y="343"/>
                </a:lnTo>
                <a:lnTo>
                  <a:pt x="172" y="340"/>
                </a:lnTo>
                <a:lnTo>
                  <a:pt x="183" y="335"/>
                </a:lnTo>
                <a:lnTo>
                  <a:pt x="195" y="326"/>
                </a:lnTo>
                <a:lnTo>
                  <a:pt x="207" y="320"/>
                </a:lnTo>
                <a:lnTo>
                  <a:pt x="217" y="316"/>
                </a:lnTo>
                <a:lnTo>
                  <a:pt x="230" y="313"/>
                </a:lnTo>
                <a:lnTo>
                  <a:pt x="247" y="311"/>
                </a:lnTo>
                <a:lnTo>
                  <a:pt x="261" y="315"/>
                </a:lnTo>
                <a:lnTo>
                  <a:pt x="276" y="316"/>
                </a:lnTo>
                <a:lnTo>
                  <a:pt x="293" y="315"/>
                </a:lnTo>
                <a:lnTo>
                  <a:pt x="310" y="311"/>
                </a:lnTo>
                <a:lnTo>
                  <a:pt x="318" y="315"/>
                </a:lnTo>
                <a:lnTo>
                  <a:pt x="325" y="316"/>
                </a:lnTo>
                <a:lnTo>
                  <a:pt x="333" y="316"/>
                </a:lnTo>
                <a:lnTo>
                  <a:pt x="340" y="316"/>
                </a:lnTo>
                <a:lnTo>
                  <a:pt x="347" y="315"/>
                </a:lnTo>
                <a:lnTo>
                  <a:pt x="353" y="311"/>
                </a:lnTo>
                <a:lnTo>
                  <a:pt x="360" y="306"/>
                </a:lnTo>
                <a:lnTo>
                  <a:pt x="367" y="298"/>
                </a:lnTo>
                <a:lnTo>
                  <a:pt x="377" y="286"/>
                </a:lnTo>
                <a:lnTo>
                  <a:pt x="390" y="274"/>
                </a:lnTo>
                <a:lnTo>
                  <a:pt x="397" y="267"/>
                </a:lnTo>
                <a:lnTo>
                  <a:pt x="405" y="262"/>
                </a:lnTo>
                <a:lnTo>
                  <a:pt x="414" y="257"/>
                </a:lnTo>
                <a:lnTo>
                  <a:pt x="424" y="254"/>
                </a:lnTo>
                <a:lnTo>
                  <a:pt x="451" y="244"/>
                </a:lnTo>
                <a:lnTo>
                  <a:pt x="476" y="234"/>
                </a:lnTo>
                <a:lnTo>
                  <a:pt x="503" y="225"/>
                </a:lnTo>
                <a:lnTo>
                  <a:pt x="530" y="220"/>
                </a:lnTo>
                <a:lnTo>
                  <a:pt x="535" y="222"/>
                </a:lnTo>
                <a:lnTo>
                  <a:pt x="540" y="224"/>
                </a:lnTo>
                <a:lnTo>
                  <a:pt x="545" y="222"/>
                </a:lnTo>
                <a:lnTo>
                  <a:pt x="549" y="220"/>
                </a:lnTo>
                <a:lnTo>
                  <a:pt x="550" y="217"/>
                </a:lnTo>
                <a:lnTo>
                  <a:pt x="550" y="214"/>
                </a:lnTo>
                <a:lnTo>
                  <a:pt x="549" y="209"/>
                </a:lnTo>
                <a:lnTo>
                  <a:pt x="544" y="202"/>
                </a:lnTo>
                <a:lnTo>
                  <a:pt x="549" y="190"/>
                </a:lnTo>
                <a:lnTo>
                  <a:pt x="554" y="177"/>
                </a:lnTo>
                <a:lnTo>
                  <a:pt x="557" y="173"/>
                </a:lnTo>
                <a:lnTo>
                  <a:pt x="559" y="170"/>
                </a:lnTo>
                <a:lnTo>
                  <a:pt x="559" y="166"/>
                </a:lnTo>
                <a:lnTo>
                  <a:pt x="557" y="165"/>
                </a:lnTo>
                <a:lnTo>
                  <a:pt x="552" y="160"/>
                </a:lnTo>
                <a:lnTo>
                  <a:pt x="542" y="156"/>
                </a:lnTo>
                <a:lnTo>
                  <a:pt x="532" y="155"/>
                </a:lnTo>
                <a:lnTo>
                  <a:pt x="522" y="153"/>
                </a:lnTo>
                <a:lnTo>
                  <a:pt x="515" y="150"/>
                </a:lnTo>
                <a:lnTo>
                  <a:pt x="508" y="145"/>
                </a:lnTo>
                <a:lnTo>
                  <a:pt x="496" y="134"/>
                </a:lnTo>
                <a:lnTo>
                  <a:pt x="486" y="124"/>
                </a:lnTo>
                <a:lnTo>
                  <a:pt x="486" y="109"/>
                </a:lnTo>
                <a:lnTo>
                  <a:pt x="486" y="94"/>
                </a:lnTo>
                <a:lnTo>
                  <a:pt x="486" y="79"/>
                </a:lnTo>
                <a:lnTo>
                  <a:pt x="488" y="65"/>
                </a:lnTo>
                <a:lnTo>
                  <a:pt x="488" y="55"/>
                </a:lnTo>
                <a:lnTo>
                  <a:pt x="490" y="45"/>
                </a:lnTo>
                <a:lnTo>
                  <a:pt x="493" y="37"/>
                </a:lnTo>
                <a:lnTo>
                  <a:pt x="496" y="28"/>
                </a:lnTo>
                <a:lnTo>
                  <a:pt x="501" y="23"/>
                </a:lnTo>
                <a:lnTo>
                  <a:pt x="506" y="18"/>
                </a:lnTo>
                <a:lnTo>
                  <a:pt x="515" y="17"/>
                </a:lnTo>
                <a:lnTo>
                  <a:pt x="525" y="17"/>
                </a:lnTo>
                <a:lnTo>
                  <a:pt x="544" y="15"/>
                </a:lnTo>
                <a:lnTo>
                  <a:pt x="560" y="15"/>
                </a:lnTo>
                <a:lnTo>
                  <a:pt x="577" y="15"/>
                </a:lnTo>
                <a:lnTo>
                  <a:pt x="596" y="13"/>
                </a:lnTo>
                <a:lnTo>
                  <a:pt x="602" y="12"/>
                </a:lnTo>
                <a:lnTo>
                  <a:pt x="609" y="12"/>
                </a:lnTo>
                <a:lnTo>
                  <a:pt x="616" y="15"/>
                </a:lnTo>
                <a:lnTo>
                  <a:pt x="619" y="22"/>
                </a:lnTo>
                <a:lnTo>
                  <a:pt x="621" y="35"/>
                </a:lnTo>
                <a:lnTo>
                  <a:pt x="623" y="47"/>
                </a:lnTo>
                <a:lnTo>
                  <a:pt x="628" y="59"/>
                </a:lnTo>
                <a:lnTo>
                  <a:pt x="633" y="69"/>
                </a:lnTo>
                <a:lnTo>
                  <a:pt x="638" y="79"/>
                </a:lnTo>
                <a:lnTo>
                  <a:pt x="645" y="89"/>
                </a:lnTo>
                <a:lnTo>
                  <a:pt x="653" y="97"/>
                </a:lnTo>
                <a:lnTo>
                  <a:pt x="660" y="106"/>
                </a:lnTo>
                <a:lnTo>
                  <a:pt x="668" y="113"/>
                </a:lnTo>
                <a:lnTo>
                  <a:pt x="675" y="118"/>
                </a:lnTo>
                <a:lnTo>
                  <a:pt x="683" y="123"/>
                </a:lnTo>
                <a:lnTo>
                  <a:pt x="690" y="126"/>
                </a:lnTo>
                <a:lnTo>
                  <a:pt x="697" y="128"/>
                </a:lnTo>
                <a:lnTo>
                  <a:pt x="703" y="128"/>
                </a:lnTo>
                <a:lnTo>
                  <a:pt x="708" y="128"/>
                </a:lnTo>
                <a:lnTo>
                  <a:pt x="712" y="124"/>
                </a:lnTo>
                <a:lnTo>
                  <a:pt x="715" y="118"/>
                </a:lnTo>
                <a:lnTo>
                  <a:pt x="719" y="111"/>
                </a:lnTo>
                <a:lnTo>
                  <a:pt x="722" y="104"/>
                </a:lnTo>
                <a:lnTo>
                  <a:pt x="727" y="97"/>
                </a:lnTo>
                <a:lnTo>
                  <a:pt x="732" y="96"/>
                </a:lnTo>
                <a:lnTo>
                  <a:pt x="735" y="96"/>
                </a:lnTo>
                <a:lnTo>
                  <a:pt x="735" y="86"/>
                </a:lnTo>
                <a:lnTo>
                  <a:pt x="734" y="76"/>
                </a:lnTo>
                <a:lnTo>
                  <a:pt x="727" y="67"/>
                </a:lnTo>
                <a:lnTo>
                  <a:pt x="720" y="59"/>
                </a:lnTo>
                <a:lnTo>
                  <a:pt x="710" y="38"/>
                </a:lnTo>
                <a:lnTo>
                  <a:pt x="702" y="20"/>
                </a:lnTo>
                <a:lnTo>
                  <a:pt x="705" y="17"/>
                </a:lnTo>
                <a:lnTo>
                  <a:pt x="707" y="12"/>
                </a:lnTo>
                <a:lnTo>
                  <a:pt x="707" y="17"/>
                </a:lnTo>
                <a:lnTo>
                  <a:pt x="708" y="22"/>
                </a:lnTo>
                <a:lnTo>
                  <a:pt x="717" y="20"/>
                </a:lnTo>
                <a:lnTo>
                  <a:pt x="727" y="18"/>
                </a:lnTo>
                <a:lnTo>
                  <a:pt x="727" y="12"/>
                </a:lnTo>
                <a:lnTo>
                  <a:pt x="729" y="6"/>
                </a:lnTo>
                <a:lnTo>
                  <a:pt x="732" y="3"/>
                </a:lnTo>
                <a:lnTo>
                  <a:pt x="735" y="1"/>
                </a:lnTo>
                <a:lnTo>
                  <a:pt x="739" y="0"/>
                </a:lnTo>
                <a:lnTo>
                  <a:pt x="744" y="1"/>
                </a:lnTo>
                <a:lnTo>
                  <a:pt x="751" y="5"/>
                </a:lnTo>
                <a:lnTo>
                  <a:pt x="759" y="10"/>
                </a:lnTo>
                <a:lnTo>
                  <a:pt x="764" y="23"/>
                </a:lnTo>
                <a:lnTo>
                  <a:pt x="769" y="33"/>
                </a:lnTo>
                <a:lnTo>
                  <a:pt x="772" y="37"/>
                </a:lnTo>
                <a:lnTo>
                  <a:pt x="774" y="37"/>
                </a:lnTo>
                <a:lnTo>
                  <a:pt x="777" y="33"/>
                </a:lnTo>
                <a:lnTo>
                  <a:pt x="779" y="27"/>
                </a:lnTo>
                <a:lnTo>
                  <a:pt x="779" y="20"/>
                </a:lnTo>
                <a:lnTo>
                  <a:pt x="781" y="17"/>
                </a:lnTo>
                <a:lnTo>
                  <a:pt x="784" y="17"/>
                </a:lnTo>
                <a:lnTo>
                  <a:pt x="791" y="20"/>
                </a:lnTo>
                <a:lnTo>
                  <a:pt x="806" y="30"/>
                </a:lnTo>
                <a:lnTo>
                  <a:pt x="823" y="44"/>
                </a:lnTo>
                <a:lnTo>
                  <a:pt x="821" y="49"/>
                </a:lnTo>
                <a:lnTo>
                  <a:pt x="820" y="54"/>
                </a:lnTo>
                <a:lnTo>
                  <a:pt x="820" y="55"/>
                </a:lnTo>
                <a:lnTo>
                  <a:pt x="820" y="57"/>
                </a:lnTo>
                <a:lnTo>
                  <a:pt x="821" y="59"/>
                </a:lnTo>
                <a:lnTo>
                  <a:pt x="825" y="60"/>
                </a:lnTo>
                <a:lnTo>
                  <a:pt x="815" y="65"/>
                </a:lnTo>
                <a:lnTo>
                  <a:pt x="804" y="69"/>
                </a:lnTo>
                <a:lnTo>
                  <a:pt x="816" y="69"/>
                </a:lnTo>
                <a:lnTo>
                  <a:pt x="828" y="69"/>
                </a:lnTo>
                <a:lnTo>
                  <a:pt x="831" y="74"/>
                </a:lnTo>
                <a:lnTo>
                  <a:pt x="836" y="76"/>
                </a:lnTo>
                <a:lnTo>
                  <a:pt x="845" y="76"/>
                </a:lnTo>
                <a:lnTo>
                  <a:pt x="855" y="76"/>
                </a:lnTo>
                <a:lnTo>
                  <a:pt x="857" y="79"/>
                </a:lnTo>
                <a:lnTo>
                  <a:pt x="860" y="82"/>
                </a:lnTo>
                <a:lnTo>
                  <a:pt x="863" y="84"/>
                </a:lnTo>
                <a:lnTo>
                  <a:pt x="870" y="86"/>
                </a:lnTo>
                <a:lnTo>
                  <a:pt x="884" y="76"/>
                </a:lnTo>
                <a:lnTo>
                  <a:pt x="899" y="67"/>
                </a:lnTo>
                <a:lnTo>
                  <a:pt x="916" y="74"/>
                </a:lnTo>
                <a:lnTo>
                  <a:pt x="932" y="79"/>
                </a:lnTo>
                <a:lnTo>
                  <a:pt x="926" y="84"/>
                </a:lnTo>
                <a:lnTo>
                  <a:pt x="922" y="89"/>
                </a:lnTo>
                <a:lnTo>
                  <a:pt x="919" y="92"/>
                </a:lnTo>
                <a:lnTo>
                  <a:pt x="917" y="97"/>
                </a:lnTo>
                <a:lnTo>
                  <a:pt x="919" y="104"/>
                </a:lnTo>
                <a:lnTo>
                  <a:pt x="921" y="109"/>
                </a:lnTo>
                <a:lnTo>
                  <a:pt x="926" y="116"/>
                </a:lnTo>
                <a:lnTo>
                  <a:pt x="934" y="123"/>
                </a:lnTo>
                <a:lnTo>
                  <a:pt x="919" y="124"/>
                </a:lnTo>
                <a:lnTo>
                  <a:pt x="904" y="128"/>
                </a:lnTo>
                <a:lnTo>
                  <a:pt x="899" y="133"/>
                </a:lnTo>
                <a:lnTo>
                  <a:pt x="894" y="136"/>
                </a:lnTo>
                <a:lnTo>
                  <a:pt x="892" y="143"/>
                </a:lnTo>
                <a:lnTo>
                  <a:pt x="892" y="150"/>
                </a:lnTo>
                <a:lnTo>
                  <a:pt x="895" y="146"/>
                </a:lnTo>
                <a:lnTo>
                  <a:pt x="900" y="143"/>
                </a:lnTo>
                <a:lnTo>
                  <a:pt x="904" y="143"/>
                </a:lnTo>
                <a:lnTo>
                  <a:pt x="907" y="143"/>
                </a:lnTo>
                <a:lnTo>
                  <a:pt x="910" y="143"/>
                </a:lnTo>
                <a:lnTo>
                  <a:pt x="914" y="146"/>
                </a:lnTo>
                <a:lnTo>
                  <a:pt x="917" y="148"/>
                </a:lnTo>
                <a:lnTo>
                  <a:pt x="921" y="153"/>
                </a:lnTo>
                <a:lnTo>
                  <a:pt x="929" y="153"/>
                </a:lnTo>
                <a:lnTo>
                  <a:pt x="939" y="153"/>
                </a:lnTo>
                <a:lnTo>
                  <a:pt x="947" y="150"/>
                </a:lnTo>
                <a:lnTo>
                  <a:pt x="958" y="145"/>
                </a:lnTo>
                <a:lnTo>
                  <a:pt x="959" y="155"/>
                </a:lnTo>
                <a:lnTo>
                  <a:pt x="963" y="163"/>
                </a:lnTo>
                <a:lnTo>
                  <a:pt x="973" y="161"/>
                </a:lnTo>
                <a:lnTo>
                  <a:pt x="983" y="160"/>
                </a:lnTo>
                <a:lnTo>
                  <a:pt x="985" y="155"/>
                </a:lnTo>
                <a:lnTo>
                  <a:pt x="985" y="150"/>
                </a:lnTo>
                <a:lnTo>
                  <a:pt x="985" y="146"/>
                </a:lnTo>
                <a:lnTo>
                  <a:pt x="983" y="143"/>
                </a:lnTo>
                <a:lnTo>
                  <a:pt x="979" y="140"/>
                </a:lnTo>
                <a:lnTo>
                  <a:pt x="976" y="138"/>
                </a:lnTo>
                <a:lnTo>
                  <a:pt x="971" y="136"/>
                </a:lnTo>
                <a:lnTo>
                  <a:pt x="964" y="136"/>
                </a:lnTo>
                <a:lnTo>
                  <a:pt x="953" y="128"/>
                </a:lnTo>
                <a:lnTo>
                  <a:pt x="941" y="118"/>
                </a:lnTo>
                <a:lnTo>
                  <a:pt x="942" y="109"/>
                </a:lnTo>
                <a:lnTo>
                  <a:pt x="946" y="101"/>
                </a:lnTo>
                <a:lnTo>
                  <a:pt x="951" y="97"/>
                </a:lnTo>
                <a:lnTo>
                  <a:pt x="959" y="94"/>
                </a:lnTo>
                <a:lnTo>
                  <a:pt x="971" y="99"/>
                </a:lnTo>
                <a:lnTo>
                  <a:pt x="985" y="104"/>
                </a:lnTo>
                <a:lnTo>
                  <a:pt x="996" y="108"/>
                </a:lnTo>
                <a:lnTo>
                  <a:pt x="1010" y="113"/>
                </a:lnTo>
                <a:lnTo>
                  <a:pt x="1020" y="113"/>
                </a:lnTo>
                <a:lnTo>
                  <a:pt x="1028" y="113"/>
                </a:lnTo>
                <a:lnTo>
                  <a:pt x="1027" y="118"/>
                </a:lnTo>
                <a:lnTo>
                  <a:pt x="1023" y="124"/>
                </a:lnTo>
                <a:lnTo>
                  <a:pt x="1037" y="140"/>
                </a:lnTo>
                <a:lnTo>
                  <a:pt x="1050" y="156"/>
                </a:lnTo>
                <a:lnTo>
                  <a:pt x="1055" y="161"/>
                </a:lnTo>
                <a:lnTo>
                  <a:pt x="1062" y="165"/>
                </a:lnTo>
                <a:lnTo>
                  <a:pt x="1059" y="170"/>
                </a:lnTo>
                <a:lnTo>
                  <a:pt x="1054" y="175"/>
                </a:lnTo>
                <a:lnTo>
                  <a:pt x="1055" y="190"/>
                </a:lnTo>
                <a:lnTo>
                  <a:pt x="1054" y="204"/>
                </a:lnTo>
                <a:lnTo>
                  <a:pt x="1050" y="217"/>
                </a:lnTo>
                <a:lnTo>
                  <a:pt x="1050" y="227"/>
                </a:lnTo>
                <a:lnTo>
                  <a:pt x="1055" y="219"/>
                </a:lnTo>
                <a:lnTo>
                  <a:pt x="1062" y="212"/>
                </a:lnTo>
                <a:lnTo>
                  <a:pt x="1065" y="209"/>
                </a:lnTo>
                <a:lnTo>
                  <a:pt x="1069" y="207"/>
                </a:lnTo>
                <a:lnTo>
                  <a:pt x="1072" y="205"/>
                </a:lnTo>
                <a:lnTo>
                  <a:pt x="1077" y="205"/>
                </a:lnTo>
                <a:lnTo>
                  <a:pt x="1080" y="188"/>
                </a:lnTo>
                <a:lnTo>
                  <a:pt x="1084" y="172"/>
                </a:lnTo>
                <a:lnTo>
                  <a:pt x="1089" y="173"/>
                </a:lnTo>
                <a:lnTo>
                  <a:pt x="1094" y="175"/>
                </a:lnTo>
                <a:lnTo>
                  <a:pt x="1099" y="178"/>
                </a:lnTo>
                <a:lnTo>
                  <a:pt x="1102" y="182"/>
                </a:lnTo>
                <a:lnTo>
                  <a:pt x="1109" y="192"/>
                </a:lnTo>
                <a:lnTo>
                  <a:pt x="1116" y="205"/>
                </a:lnTo>
                <a:lnTo>
                  <a:pt x="1112" y="224"/>
                </a:lnTo>
                <a:lnTo>
                  <a:pt x="1111" y="241"/>
                </a:lnTo>
                <a:lnTo>
                  <a:pt x="1112" y="256"/>
                </a:lnTo>
                <a:lnTo>
                  <a:pt x="1118" y="271"/>
                </a:lnTo>
                <a:lnTo>
                  <a:pt x="1123" y="286"/>
                </a:lnTo>
                <a:lnTo>
                  <a:pt x="1133" y="299"/>
                </a:lnTo>
                <a:lnTo>
                  <a:pt x="1143" y="311"/>
                </a:lnTo>
                <a:lnTo>
                  <a:pt x="1156" y="323"/>
                </a:lnTo>
                <a:lnTo>
                  <a:pt x="1156" y="325"/>
                </a:lnTo>
                <a:lnTo>
                  <a:pt x="1131" y="325"/>
                </a:lnTo>
                <a:lnTo>
                  <a:pt x="1107" y="325"/>
                </a:lnTo>
                <a:lnTo>
                  <a:pt x="1104" y="335"/>
                </a:lnTo>
                <a:lnTo>
                  <a:pt x="1101" y="343"/>
                </a:lnTo>
                <a:lnTo>
                  <a:pt x="1097" y="347"/>
                </a:lnTo>
                <a:lnTo>
                  <a:pt x="1096" y="348"/>
                </a:lnTo>
                <a:lnTo>
                  <a:pt x="1092" y="350"/>
                </a:lnTo>
                <a:lnTo>
                  <a:pt x="1091" y="350"/>
                </a:lnTo>
                <a:lnTo>
                  <a:pt x="1086" y="347"/>
                </a:lnTo>
                <a:lnTo>
                  <a:pt x="1080" y="342"/>
                </a:lnTo>
                <a:lnTo>
                  <a:pt x="1075" y="338"/>
                </a:lnTo>
                <a:lnTo>
                  <a:pt x="1072" y="337"/>
                </a:lnTo>
                <a:lnTo>
                  <a:pt x="1069" y="338"/>
                </a:lnTo>
                <a:lnTo>
                  <a:pt x="1067" y="340"/>
                </a:lnTo>
                <a:lnTo>
                  <a:pt x="1064" y="347"/>
                </a:lnTo>
                <a:lnTo>
                  <a:pt x="1064" y="360"/>
                </a:lnTo>
                <a:lnTo>
                  <a:pt x="1059" y="370"/>
                </a:lnTo>
                <a:lnTo>
                  <a:pt x="1054" y="380"/>
                </a:lnTo>
                <a:lnTo>
                  <a:pt x="1048" y="389"/>
                </a:lnTo>
                <a:lnTo>
                  <a:pt x="1042" y="395"/>
                </a:lnTo>
                <a:lnTo>
                  <a:pt x="1035" y="401"/>
                </a:lnTo>
                <a:lnTo>
                  <a:pt x="1027" y="406"/>
                </a:lnTo>
                <a:lnTo>
                  <a:pt x="1017" y="409"/>
                </a:lnTo>
                <a:lnTo>
                  <a:pt x="1008" y="411"/>
                </a:lnTo>
                <a:lnTo>
                  <a:pt x="1001" y="409"/>
                </a:lnTo>
                <a:lnTo>
                  <a:pt x="996" y="409"/>
                </a:lnTo>
                <a:lnTo>
                  <a:pt x="993" y="409"/>
                </a:lnTo>
                <a:lnTo>
                  <a:pt x="990" y="412"/>
                </a:lnTo>
                <a:lnTo>
                  <a:pt x="988" y="417"/>
                </a:lnTo>
                <a:lnTo>
                  <a:pt x="988" y="424"/>
                </a:lnTo>
                <a:lnTo>
                  <a:pt x="985" y="439"/>
                </a:lnTo>
                <a:lnTo>
                  <a:pt x="983" y="453"/>
                </a:lnTo>
                <a:lnTo>
                  <a:pt x="974" y="473"/>
                </a:lnTo>
                <a:lnTo>
                  <a:pt x="964" y="495"/>
                </a:lnTo>
                <a:lnTo>
                  <a:pt x="946" y="513"/>
                </a:lnTo>
                <a:lnTo>
                  <a:pt x="926" y="539"/>
                </a:lnTo>
                <a:lnTo>
                  <a:pt x="919" y="545"/>
                </a:lnTo>
                <a:lnTo>
                  <a:pt x="916" y="552"/>
                </a:lnTo>
                <a:lnTo>
                  <a:pt x="914" y="562"/>
                </a:lnTo>
                <a:lnTo>
                  <a:pt x="916" y="572"/>
                </a:lnTo>
                <a:lnTo>
                  <a:pt x="926" y="587"/>
                </a:lnTo>
                <a:lnTo>
                  <a:pt x="936" y="604"/>
                </a:lnTo>
                <a:lnTo>
                  <a:pt x="946" y="603"/>
                </a:lnTo>
                <a:lnTo>
                  <a:pt x="954" y="603"/>
                </a:lnTo>
                <a:lnTo>
                  <a:pt x="963" y="603"/>
                </a:lnTo>
                <a:lnTo>
                  <a:pt x="971" y="606"/>
                </a:lnTo>
                <a:lnTo>
                  <a:pt x="978" y="609"/>
                </a:lnTo>
                <a:lnTo>
                  <a:pt x="985" y="614"/>
                </a:lnTo>
                <a:lnTo>
                  <a:pt x="990" y="619"/>
                </a:lnTo>
                <a:lnTo>
                  <a:pt x="996" y="626"/>
                </a:lnTo>
                <a:lnTo>
                  <a:pt x="1005" y="633"/>
                </a:lnTo>
                <a:lnTo>
                  <a:pt x="1010" y="640"/>
                </a:lnTo>
                <a:lnTo>
                  <a:pt x="1013" y="646"/>
                </a:lnTo>
                <a:lnTo>
                  <a:pt x="1015" y="655"/>
                </a:lnTo>
                <a:lnTo>
                  <a:pt x="1017" y="668"/>
                </a:lnTo>
                <a:lnTo>
                  <a:pt x="1015" y="682"/>
                </a:lnTo>
                <a:lnTo>
                  <a:pt x="1013" y="695"/>
                </a:lnTo>
                <a:lnTo>
                  <a:pt x="1015" y="702"/>
                </a:lnTo>
                <a:lnTo>
                  <a:pt x="1018" y="702"/>
                </a:lnTo>
                <a:lnTo>
                  <a:pt x="1022" y="704"/>
                </a:lnTo>
                <a:lnTo>
                  <a:pt x="1027" y="709"/>
                </a:lnTo>
                <a:lnTo>
                  <a:pt x="1030" y="715"/>
                </a:lnTo>
                <a:lnTo>
                  <a:pt x="1033" y="724"/>
                </a:lnTo>
                <a:lnTo>
                  <a:pt x="1033" y="732"/>
                </a:lnTo>
                <a:lnTo>
                  <a:pt x="1033" y="749"/>
                </a:lnTo>
                <a:lnTo>
                  <a:pt x="1032" y="768"/>
                </a:lnTo>
                <a:lnTo>
                  <a:pt x="1030" y="786"/>
                </a:lnTo>
                <a:lnTo>
                  <a:pt x="1027" y="803"/>
                </a:lnTo>
              </a:path>
            </a:pathLst>
          </a:custGeom>
          <a:solidFill>
            <a:srgbClr val="CCECFF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332910" name="Freeform 21"/>
          <p:cNvSpPr>
            <a:spLocks noChangeAspect="1"/>
          </p:cNvSpPr>
          <p:nvPr>
            <p:custDataLst>
              <p:tags r:id="rId16"/>
            </p:custDataLst>
          </p:nvPr>
        </p:nvSpPr>
        <p:spPr bwMode="auto">
          <a:xfrm>
            <a:off x="3148013" y="2317750"/>
            <a:ext cx="3055937" cy="3146425"/>
          </a:xfrm>
          <a:custGeom>
            <a:avLst/>
            <a:gdLst>
              <a:gd name="T0" fmla="*/ 2147483647 w 1927"/>
              <a:gd name="T1" fmla="*/ 2147483647 h 1972"/>
              <a:gd name="T2" fmla="*/ 2147483647 w 1927"/>
              <a:gd name="T3" fmla="*/ 2147483647 h 1972"/>
              <a:gd name="T4" fmla="*/ 2147483647 w 1927"/>
              <a:gd name="T5" fmla="*/ 2147483647 h 1972"/>
              <a:gd name="T6" fmla="*/ 2147483647 w 1927"/>
              <a:gd name="T7" fmla="*/ 2147483647 h 1972"/>
              <a:gd name="T8" fmla="*/ 2147483647 w 1927"/>
              <a:gd name="T9" fmla="*/ 2147483647 h 1972"/>
              <a:gd name="T10" fmla="*/ 2147483647 w 1927"/>
              <a:gd name="T11" fmla="*/ 2147483647 h 1972"/>
              <a:gd name="T12" fmla="*/ 2147483647 w 1927"/>
              <a:gd name="T13" fmla="*/ 2147483647 h 1972"/>
              <a:gd name="T14" fmla="*/ 2147483647 w 1927"/>
              <a:gd name="T15" fmla="*/ 2147483647 h 1972"/>
              <a:gd name="T16" fmla="*/ 2147483647 w 1927"/>
              <a:gd name="T17" fmla="*/ 2147483647 h 1972"/>
              <a:gd name="T18" fmla="*/ 2147483647 w 1927"/>
              <a:gd name="T19" fmla="*/ 2147483647 h 1972"/>
              <a:gd name="T20" fmla="*/ 2147483647 w 1927"/>
              <a:gd name="T21" fmla="*/ 2147483647 h 1972"/>
              <a:gd name="T22" fmla="*/ 2147483647 w 1927"/>
              <a:gd name="T23" fmla="*/ 2147483647 h 1972"/>
              <a:gd name="T24" fmla="*/ 2147483647 w 1927"/>
              <a:gd name="T25" fmla="*/ 2147483647 h 1972"/>
              <a:gd name="T26" fmla="*/ 2147483647 w 1927"/>
              <a:gd name="T27" fmla="*/ 2147483647 h 1972"/>
              <a:gd name="T28" fmla="*/ 2147483647 w 1927"/>
              <a:gd name="T29" fmla="*/ 2147483647 h 1972"/>
              <a:gd name="T30" fmla="*/ 2147483647 w 1927"/>
              <a:gd name="T31" fmla="*/ 2147483647 h 1972"/>
              <a:gd name="T32" fmla="*/ 2147483647 w 1927"/>
              <a:gd name="T33" fmla="*/ 2147483647 h 1972"/>
              <a:gd name="T34" fmla="*/ 2147483647 w 1927"/>
              <a:gd name="T35" fmla="*/ 2147483647 h 1972"/>
              <a:gd name="T36" fmla="*/ 2147483647 w 1927"/>
              <a:gd name="T37" fmla="*/ 2147483647 h 1972"/>
              <a:gd name="T38" fmla="*/ 2147483647 w 1927"/>
              <a:gd name="T39" fmla="*/ 2147483647 h 1972"/>
              <a:gd name="T40" fmla="*/ 2147483647 w 1927"/>
              <a:gd name="T41" fmla="*/ 2147483647 h 1972"/>
              <a:gd name="T42" fmla="*/ 2147483647 w 1927"/>
              <a:gd name="T43" fmla="*/ 2147483647 h 1972"/>
              <a:gd name="T44" fmla="*/ 2147483647 w 1927"/>
              <a:gd name="T45" fmla="*/ 2147483647 h 1972"/>
              <a:gd name="T46" fmla="*/ 2147483647 w 1927"/>
              <a:gd name="T47" fmla="*/ 2147483647 h 1972"/>
              <a:gd name="T48" fmla="*/ 2147483647 w 1927"/>
              <a:gd name="T49" fmla="*/ 2147483647 h 1972"/>
              <a:gd name="T50" fmla="*/ 2147483647 w 1927"/>
              <a:gd name="T51" fmla="*/ 2147483647 h 1972"/>
              <a:gd name="T52" fmla="*/ 2147483647 w 1927"/>
              <a:gd name="T53" fmla="*/ 2147483647 h 1972"/>
              <a:gd name="T54" fmla="*/ 2147483647 w 1927"/>
              <a:gd name="T55" fmla="*/ 2147483647 h 1972"/>
              <a:gd name="T56" fmla="*/ 2147483647 w 1927"/>
              <a:gd name="T57" fmla="*/ 2147483647 h 1972"/>
              <a:gd name="T58" fmla="*/ 2147483647 w 1927"/>
              <a:gd name="T59" fmla="*/ 2147483647 h 1972"/>
              <a:gd name="T60" fmla="*/ 2147483647 w 1927"/>
              <a:gd name="T61" fmla="*/ 2147483647 h 1972"/>
              <a:gd name="T62" fmla="*/ 2147483647 w 1927"/>
              <a:gd name="T63" fmla="*/ 2147483647 h 1972"/>
              <a:gd name="T64" fmla="*/ 2147483647 w 1927"/>
              <a:gd name="T65" fmla="*/ 2147483647 h 1972"/>
              <a:gd name="T66" fmla="*/ 2147483647 w 1927"/>
              <a:gd name="T67" fmla="*/ 2147483647 h 1972"/>
              <a:gd name="T68" fmla="*/ 2147483647 w 1927"/>
              <a:gd name="T69" fmla="*/ 2147483647 h 1972"/>
              <a:gd name="T70" fmla="*/ 2147483647 w 1927"/>
              <a:gd name="T71" fmla="*/ 2147483647 h 1972"/>
              <a:gd name="T72" fmla="*/ 2147483647 w 1927"/>
              <a:gd name="T73" fmla="*/ 2147483647 h 1972"/>
              <a:gd name="T74" fmla="*/ 2147483647 w 1927"/>
              <a:gd name="T75" fmla="*/ 2147483647 h 1972"/>
              <a:gd name="T76" fmla="*/ 2147483647 w 1927"/>
              <a:gd name="T77" fmla="*/ 2147483647 h 1972"/>
              <a:gd name="T78" fmla="*/ 2147483647 w 1927"/>
              <a:gd name="T79" fmla="*/ 2147483647 h 1972"/>
              <a:gd name="T80" fmla="*/ 2147483647 w 1927"/>
              <a:gd name="T81" fmla="*/ 2147483647 h 1972"/>
              <a:gd name="T82" fmla="*/ 2147483647 w 1927"/>
              <a:gd name="T83" fmla="*/ 2147483647 h 1972"/>
              <a:gd name="T84" fmla="*/ 2147483647 w 1927"/>
              <a:gd name="T85" fmla="*/ 2147483647 h 1972"/>
              <a:gd name="T86" fmla="*/ 2147483647 w 1927"/>
              <a:gd name="T87" fmla="*/ 2147483647 h 1972"/>
              <a:gd name="T88" fmla="*/ 2147483647 w 1927"/>
              <a:gd name="T89" fmla="*/ 2147483647 h 1972"/>
              <a:gd name="T90" fmla="*/ 2147483647 w 1927"/>
              <a:gd name="T91" fmla="*/ 2147483647 h 1972"/>
              <a:gd name="T92" fmla="*/ 2147483647 w 1927"/>
              <a:gd name="T93" fmla="*/ 2147483647 h 1972"/>
              <a:gd name="T94" fmla="*/ 2147483647 w 1927"/>
              <a:gd name="T95" fmla="*/ 2147483647 h 1972"/>
              <a:gd name="T96" fmla="*/ 2147483647 w 1927"/>
              <a:gd name="T97" fmla="*/ 2147483647 h 1972"/>
              <a:gd name="T98" fmla="*/ 2147483647 w 1927"/>
              <a:gd name="T99" fmla="*/ 2147483647 h 1972"/>
              <a:gd name="T100" fmla="*/ 2147483647 w 1927"/>
              <a:gd name="T101" fmla="*/ 2147483647 h 1972"/>
              <a:gd name="T102" fmla="*/ 2147483647 w 1927"/>
              <a:gd name="T103" fmla="*/ 2147483647 h 1972"/>
              <a:gd name="T104" fmla="*/ 2147483647 w 1927"/>
              <a:gd name="T105" fmla="*/ 2147483647 h 1972"/>
              <a:gd name="T106" fmla="*/ 2147483647 w 1927"/>
              <a:gd name="T107" fmla="*/ 2147483647 h 1972"/>
              <a:gd name="T108" fmla="*/ 2147483647 w 1927"/>
              <a:gd name="T109" fmla="*/ 2147483647 h 1972"/>
              <a:gd name="T110" fmla="*/ 2147483647 w 1927"/>
              <a:gd name="T111" fmla="*/ 2147483647 h 1972"/>
              <a:gd name="T112" fmla="*/ 2147483647 w 1927"/>
              <a:gd name="T113" fmla="*/ 2147483647 h 1972"/>
              <a:gd name="T114" fmla="*/ 2147483647 w 1927"/>
              <a:gd name="T115" fmla="*/ 2147483647 h 1972"/>
              <a:gd name="T116" fmla="*/ 2147483647 w 1927"/>
              <a:gd name="T117" fmla="*/ 2147483647 h 1972"/>
              <a:gd name="T118" fmla="*/ 2147483647 w 1927"/>
              <a:gd name="T119" fmla="*/ 2147483647 h 1972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1927"/>
              <a:gd name="T181" fmla="*/ 0 h 1972"/>
              <a:gd name="T182" fmla="*/ 1927 w 1927"/>
              <a:gd name="T183" fmla="*/ 1972 h 1972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1927" h="1972">
                <a:moveTo>
                  <a:pt x="1314" y="227"/>
                </a:moveTo>
                <a:lnTo>
                  <a:pt x="1304" y="227"/>
                </a:lnTo>
                <a:lnTo>
                  <a:pt x="1294" y="225"/>
                </a:lnTo>
                <a:lnTo>
                  <a:pt x="1284" y="222"/>
                </a:lnTo>
                <a:lnTo>
                  <a:pt x="1275" y="222"/>
                </a:lnTo>
                <a:lnTo>
                  <a:pt x="1265" y="224"/>
                </a:lnTo>
                <a:lnTo>
                  <a:pt x="1257" y="225"/>
                </a:lnTo>
                <a:lnTo>
                  <a:pt x="1243" y="229"/>
                </a:lnTo>
                <a:lnTo>
                  <a:pt x="1230" y="229"/>
                </a:lnTo>
                <a:lnTo>
                  <a:pt x="1217" y="225"/>
                </a:lnTo>
                <a:lnTo>
                  <a:pt x="1205" y="219"/>
                </a:lnTo>
                <a:lnTo>
                  <a:pt x="1186" y="212"/>
                </a:lnTo>
                <a:lnTo>
                  <a:pt x="1169" y="205"/>
                </a:lnTo>
                <a:lnTo>
                  <a:pt x="1151" y="198"/>
                </a:lnTo>
                <a:lnTo>
                  <a:pt x="1134" y="192"/>
                </a:lnTo>
                <a:lnTo>
                  <a:pt x="1122" y="188"/>
                </a:lnTo>
                <a:lnTo>
                  <a:pt x="1114" y="183"/>
                </a:lnTo>
                <a:lnTo>
                  <a:pt x="1109" y="180"/>
                </a:lnTo>
                <a:lnTo>
                  <a:pt x="1107" y="175"/>
                </a:lnTo>
                <a:lnTo>
                  <a:pt x="1107" y="170"/>
                </a:lnTo>
                <a:lnTo>
                  <a:pt x="1110" y="163"/>
                </a:lnTo>
                <a:lnTo>
                  <a:pt x="1116" y="158"/>
                </a:lnTo>
                <a:lnTo>
                  <a:pt x="1122" y="151"/>
                </a:lnTo>
                <a:lnTo>
                  <a:pt x="1137" y="139"/>
                </a:lnTo>
                <a:lnTo>
                  <a:pt x="1144" y="129"/>
                </a:lnTo>
                <a:lnTo>
                  <a:pt x="1144" y="126"/>
                </a:lnTo>
                <a:lnTo>
                  <a:pt x="1141" y="124"/>
                </a:lnTo>
                <a:lnTo>
                  <a:pt x="1134" y="123"/>
                </a:lnTo>
                <a:lnTo>
                  <a:pt x="1122" y="123"/>
                </a:lnTo>
                <a:lnTo>
                  <a:pt x="1114" y="123"/>
                </a:lnTo>
                <a:lnTo>
                  <a:pt x="1107" y="121"/>
                </a:lnTo>
                <a:lnTo>
                  <a:pt x="1102" y="119"/>
                </a:lnTo>
                <a:lnTo>
                  <a:pt x="1097" y="114"/>
                </a:lnTo>
                <a:lnTo>
                  <a:pt x="1095" y="109"/>
                </a:lnTo>
                <a:lnTo>
                  <a:pt x="1094" y="102"/>
                </a:lnTo>
                <a:lnTo>
                  <a:pt x="1095" y="92"/>
                </a:lnTo>
                <a:lnTo>
                  <a:pt x="1099" y="82"/>
                </a:lnTo>
                <a:lnTo>
                  <a:pt x="1102" y="69"/>
                </a:lnTo>
                <a:lnTo>
                  <a:pt x="1104" y="55"/>
                </a:lnTo>
                <a:lnTo>
                  <a:pt x="1102" y="45"/>
                </a:lnTo>
                <a:lnTo>
                  <a:pt x="1100" y="38"/>
                </a:lnTo>
                <a:lnTo>
                  <a:pt x="1095" y="32"/>
                </a:lnTo>
                <a:lnTo>
                  <a:pt x="1090" y="27"/>
                </a:lnTo>
                <a:lnTo>
                  <a:pt x="1082" y="23"/>
                </a:lnTo>
                <a:lnTo>
                  <a:pt x="1072" y="23"/>
                </a:lnTo>
                <a:lnTo>
                  <a:pt x="1058" y="20"/>
                </a:lnTo>
                <a:lnTo>
                  <a:pt x="1045" y="15"/>
                </a:lnTo>
                <a:lnTo>
                  <a:pt x="1031" y="8"/>
                </a:lnTo>
                <a:lnTo>
                  <a:pt x="1020" y="0"/>
                </a:lnTo>
                <a:lnTo>
                  <a:pt x="1020" y="1"/>
                </a:lnTo>
                <a:lnTo>
                  <a:pt x="1015" y="3"/>
                </a:lnTo>
                <a:lnTo>
                  <a:pt x="1011" y="5"/>
                </a:lnTo>
                <a:lnTo>
                  <a:pt x="1010" y="15"/>
                </a:lnTo>
                <a:lnTo>
                  <a:pt x="1008" y="25"/>
                </a:lnTo>
                <a:lnTo>
                  <a:pt x="1004" y="35"/>
                </a:lnTo>
                <a:lnTo>
                  <a:pt x="1003" y="45"/>
                </a:lnTo>
                <a:lnTo>
                  <a:pt x="999" y="54"/>
                </a:lnTo>
                <a:lnTo>
                  <a:pt x="996" y="59"/>
                </a:lnTo>
                <a:lnTo>
                  <a:pt x="991" y="64"/>
                </a:lnTo>
                <a:lnTo>
                  <a:pt x="986" y="67"/>
                </a:lnTo>
                <a:lnTo>
                  <a:pt x="981" y="69"/>
                </a:lnTo>
                <a:lnTo>
                  <a:pt x="976" y="69"/>
                </a:lnTo>
                <a:lnTo>
                  <a:pt x="969" y="67"/>
                </a:lnTo>
                <a:lnTo>
                  <a:pt x="964" y="69"/>
                </a:lnTo>
                <a:lnTo>
                  <a:pt x="961" y="74"/>
                </a:lnTo>
                <a:lnTo>
                  <a:pt x="957" y="79"/>
                </a:lnTo>
                <a:lnTo>
                  <a:pt x="956" y="87"/>
                </a:lnTo>
                <a:lnTo>
                  <a:pt x="956" y="97"/>
                </a:lnTo>
                <a:lnTo>
                  <a:pt x="956" y="111"/>
                </a:lnTo>
                <a:lnTo>
                  <a:pt x="959" y="126"/>
                </a:lnTo>
                <a:lnTo>
                  <a:pt x="962" y="133"/>
                </a:lnTo>
                <a:lnTo>
                  <a:pt x="964" y="139"/>
                </a:lnTo>
                <a:lnTo>
                  <a:pt x="964" y="145"/>
                </a:lnTo>
                <a:lnTo>
                  <a:pt x="962" y="150"/>
                </a:lnTo>
                <a:lnTo>
                  <a:pt x="959" y="155"/>
                </a:lnTo>
                <a:lnTo>
                  <a:pt x="954" y="160"/>
                </a:lnTo>
                <a:lnTo>
                  <a:pt x="947" y="165"/>
                </a:lnTo>
                <a:lnTo>
                  <a:pt x="939" y="168"/>
                </a:lnTo>
                <a:lnTo>
                  <a:pt x="919" y="171"/>
                </a:lnTo>
                <a:lnTo>
                  <a:pt x="900" y="178"/>
                </a:lnTo>
                <a:lnTo>
                  <a:pt x="883" y="185"/>
                </a:lnTo>
                <a:lnTo>
                  <a:pt x="870" y="195"/>
                </a:lnTo>
                <a:lnTo>
                  <a:pt x="861" y="198"/>
                </a:lnTo>
                <a:lnTo>
                  <a:pt x="855" y="198"/>
                </a:lnTo>
                <a:lnTo>
                  <a:pt x="848" y="195"/>
                </a:lnTo>
                <a:lnTo>
                  <a:pt x="843" y="188"/>
                </a:lnTo>
                <a:lnTo>
                  <a:pt x="839" y="183"/>
                </a:lnTo>
                <a:lnTo>
                  <a:pt x="838" y="180"/>
                </a:lnTo>
                <a:lnTo>
                  <a:pt x="834" y="180"/>
                </a:lnTo>
                <a:lnTo>
                  <a:pt x="829" y="182"/>
                </a:lnTo>
                <a:lnTo>
                  <a:pt x="826" y="185"/>
                </a:lnTo>
                <a:lnTo>
                  <a:pt x="821" y="190"/>
                </a:lnTo>
                <a:lnTo>
                  <a:pt x="814" y="198"/>
                </a:lnTo>
                <a:lnTo>
                  <a:pt x="808" y="207"/>
                </a:lnTo>
                <a:lnTo>
                  <a:pt x="809" y="227"/>
                </a:lnTo>
                <a:lnTo>
                  <a:pt x="811" y="249"/>
                </a:lnTo>
                <a:lnTo>
                  <a:pt x="796" y="271"/>
                </a:lnTo>
                <a:lnTo>
                  <a:pt x="781" y="294"/>
                </a:lnTo>
                <a:lnTo>
                  <a:pt x="774" y="305"/>
                </a:lnTo>
                <a:lnTo>
                  <a:pt x="765" y="313"/>
                </a:lnTo>
                <a:lnTo>
                  <a:pt x="757" y="320"/>
                </a:lnTo>
                <a:lnTo>
                  <a:pt x="747" y="325"/>
                </a:lnTo>
                <a:lnTo>
                  <a:pt x="727" y="338"/>
                </a:lnTo>
                <a:lnTo>
                  <a:pt x="713" y="348"/>
                </a:lnTo>
                <a:lnTo>
                  <a:pt x="727" y="362"/>
                </a:lnTo>
                <a:lnTo>
                  <a:pt x="733" y="374"/>
                </a:lnTo>
                <a:lnTo>
                  <a:pt x="735" y="379"/>
                </a:lnTo>
                <a:lnTo>
                  <a:pt x="737" y="384"/>
                </a:lnTo>
                <a:lnTo>
                  <a:pt x="735" y="389"/>
                </a:lnTo>
                <a:lnTo>
                  <a:pt x="733" y="392"/>
                </a:lnTo>
                <a:lnTo>
                  <a:pt x="727" y="399"/>
                </a:lnTo>
                <a:lnTo>
                  <a:pt x="718" y="406"/>
                </a:lnTo>
                <a:lnTo>
                  <a:pt x="705" y="409"/>
                </a:lnTo>
                <a:lnTo>
                  <a:pt x="691" y="414"/>
                </a:lnTo>
                <a:lnTo>
                  <a:pt x="691" y="412"/>
                </a:lnTo>
                <a:lnTo>
                  <a:pt x="690" y="412"/>
                </a:lnTo>
                <a:lnTo>
                  <a:pt x="690" y="414"/>
                </a:lnTo>
                <a:lnTo>
                  <a:pt x="690" y="417"/>
                </a:lnTo>
                <a:lnTo>
                  <a:pt x="675" y="427"/>
                </a:lnTo>
                <a:lnTo>
                  <a:pt x="661" y="434"/>
                </a:lnTo>
                <a:lnTo>
                  <a:pt x="648" y="438"/>
                </a:lnTo>
                <a:lnTo>
                  <a:pt x="634" y="439"/>
                </a:lnTo>
                <a:lnTo>
                  <a:pt x="629" y="444"/>
                </a:lnTo>
                <a:lnTo>
                  <a:pt x="626" y="449"/>
                </a:lnTo>
                <a:lnTo>
                  <a:pt x="624" y="454"/>
                </a:lnTo>
                <a:lnTo>
                  <a:pt x="624" y="458"/>
                </a:lnTo>
                <a:lnTo>
                  <a:pt x="626" y="461"/>
                </a:lnTo>
                <a:lnTo>
                  <a:pt x="629" y="465"/>
                </a:lnTo>
                <a:lnTo>
                  <a:pt x="636" y="468"/>
                </a:lnTo>
                <a:lnTo>
                  <a:pt x="643" y="470"/>
                </a:lnTo>
                <a:lnTo>
                  <a:pt x="653" y="473"/>
                </a:lnTo>
                <a:lnTo>
                  <a:pt x="663" y="476"/>
                </a:lnTo>
                <a:lnTo>
                  <a:pt x="671" y="478"/>
                </a:lnTo>
                <a:lnTo>
                  <a:pt x="676" y="480"/>
                </a:lnTo>
                <a:lnTo>
                  <a:pt x="678" y="483"/>
                </a:lnTo>
                <a:lnTo>
                  <a:pt x="678" y="485"/>
                </a:lnTo>
                <a:lnTo>
                  <a:pt x="676" y="486"/>
                </a:lnTo>
                <a:lnTo>
                  <a:pt x="671" y="490"/>
                </a:lnTo>
                <a:lnTo>
                  <a:pt x="663" y="493"/>
                </a:lnTo>
                <a:lnTo>
                  <a:pt x="653" y="495"/>
                </a:lnTo>
                <a:lnTo>
                  <a:pt x="643" y="495"/>
                </a:lnTo>
                <a:lnTo>
                  <a:pt x="631" y="495"/>
                </a:lnTo>
                <a:lnTo>
                  <a:pt x="621" y="497"/>
                </a:lnTo>
                <a:lnTo>
                  <a:pt x="609" y="502"/>
                </a:lnTo>
                <a:lnTo>
                  <a:pt x="599" y="505"/>
                </a:lnTo>
                <a:lnTo>
                  <a:pt x="589" y="508"/>
                </a:lnTo>
                <a:lnTo>
                  <a:pt x="568" y="510"/>
                </a:lnTo>
                <a:lnTo>
                  <a:pt x="548" y="512"/>
                </a:lnTo>
                <a:lnTo>
                  <a:pt x="542" y="512"/>
                </a:lnTo>
                <a:lnTo>
                  <a:pt x="536" y="513"/>
                </a:lnTo>
                <a:lnTo>
                  <a:pt x="530" y="515"/>
                </a:lnTo>
                <a:lnTo>
                  <a:pt x="523" y="520"/>
                </a:lnTo>
                <a:lnTo>
                  <a:pt x="506" y="532"/>
                </a:lnTo>
                <a:lnTo>
                  <a:pt x="488" y="544"/>
                </a:lnTo>
                <a:lnTo>
                  <a:pt x="469" y="555"/>
                </a:lnTo>
                <a:lnTo>
                  <a:pt x="452" y="566"/>
                </a:lnTo>
                <a:lnTo>
                  <a:pt x="456" y="577"/>
                </a:lnTo>
                <a:lnTo>
                  <a:pt x="457" y="587"/>
                </a:lnTo>
                <a:lnTo>
                  <a:pt x="457" y="596"/>
                </a:lnTo>
                <a:lnTo>
                  <a:pt x="456" y="604"/>
                </a:lnTo>
                <a:lnTo>
                  <a:pt x="454" y="611"/>
                </a:lnTo>
                <a:lnTo>
                  <a:pt x="451" y="618"/>
                </a:lnTo>
                <a:lnTo>
                  <a:pt x="447" y="623"/>
                </a:lnTo>
                <a:lnTo>
                  <a:pt x="442" y="628"/>
                </a:lnTo>
                <a:lnTo>
                  <a:pt x="432" y="636"/>
                </a:lnTo>
                <a:lnTo>
                  <a:pt x="419" y="645"/>
                </a:lnTo>
                <a:lnTo>
                  <a:pt x="405" y="650"/>
                </a:lnTo>
                <a:lnTo>
                  <a:pt x="390" y="656"/>
                </a:lnTo>
                <a:lnTo>
                  <a:pt x="382" y="658"/>
                </a:lnTo>
                <a:lnTo>
                  <a:pt x="373" y="662"/>
                </a:lnTo>
                <a:lnTo>
                  <a:pt x="366" y="667"/>
                </a:lnTo>
                <a:lnTo>
                  <a:pt x="358" y="672"/>
                </a:lnTo>
                <a:lnTo>
                  <a:pt x="346" y="682"/>
                </a:lnTo>
                <a:lnTo>
                  <a:pt x="335" y="695"/>
                </a:lnTo>
                <a:lnTo>
                  <a:pt x="328" y="700"/>
                </a:lnTo>
                <a:lnTo>
                  <a:pt x="321" y="705"/>
                </a:lnTo>
                <a:lnTo>
                  <a:pt x="313" y="709"/>
                </a:lnTo>
                <a:lnTo>
                  <a:pt x="306" y="710"/>
                </a:lnTo>
                <a:lnTo>
                  <a:pt x="289" y="710"/>
                </a:lnTo>
                <a:lnTo>
                  <a:pt x="274" y="709"/>
                </a:lnTo>
                <a:lnTo>
                  <a:pt x="262" y="707"/>
                </a:lnTo>
                <a:lnTo>
                  <a:pt x="254" y="705"/>
                </a:lnTo>
                <a:lnTo>
                  <a:pt x="245" y="707"/>
                </a:lnTo>
                <a:lnTo>
                  <a:pt x="240" y="709"/>
                </a:lnTo>
                <a:lnTo>
                  <a:pt x="234" y="712"/>
                </a:lnTo>
                <a:lnTo>
                  <a:pt x="230" y="717"/>
                </a:lnTo>
                <a:lnTo>
                  <a:pt x="225" y="722"/>
                </a:lnTo>
                <a:lnTo>
                  <a:pt x="222" y="729"/>
                </a:lnTo>
                <a:lnTo>
                  <a:pt x="217" y="739"/>
                </a:lnTo>
                <a:lnTo>
                  <a:pt x="212" y="744"/>
                </a:lnTo>
                <a:lnTo>
                  <a:pt x="205" y="747"/>
                </a:lnTo>
                <a:lnTo>
                  <a:pt x="200" y="747"/>
                </a:lnTo>
                <a:lnTo>
                  <a:pt x="195" y="746"/>
                </a:lnTo>
                <a:lnTo>
                  <a:pt x="188" y="741"/>
                </a:lnTo>
                <a:lnTo>
                  <a:pt x="183" y="736"/>
                </a:lnTo>
                <a:lnTo>
                  <a:pt x="178" y="729"/>
                </a:lnTo>
                <a:lnTo>
                  <a:pt x="164" y="719"/>
                </a:lnTo>
                <a:lnTo>
                  <a:pt x="154" y="712"/>
                </a:lnTo>
                <a:lnTo>
                  <a:pt x="149" y="710"/>
                </a:lnTo>
                <a:lnTo>
                  <a:pt x="144" y="710"/>
                </a:lnTo>
                <a:lnTo>
                  <a:pt x="141" y="710"/>
                </a:lnTo>
                <a:lnTo>
                  <a:pt x="138" y="712"/>
                </a:lnTo>
                <a:lnTo>
                  <a:pt x="129" y="717"/>
                </a:lnTo>
                <a:lnTo>
                  <a:pt x="124" y="726"/>
                </a:lnTo>
                <a:lnTo>
                  <a:pt x="119" y="736"/>
                </a:lnTo>
                <a:lnTo>
                  <a:pt x="114" y="749"/>
                </a:lnTo>
                <a:lnTo>
                  <a:pt x="106" y="776"/>
                </a:lnTo>
                <a:lnTo>
                  <a:pt x="95" y="803"/>
                </a:lnTo>
                <a:lnTo>
                  <a:pt x="87" y="830"/>
                </a:lnTo>
                <a:lnTo>
                  <a:pt x="77" y="857"/>
                </a:lnTo>
                <a:lnTo>
                  <a:pt x="72" y="870"/>
                </a:lnTo>
                <a:lnTo>
                  <a:pt x="65" y="882"/>
                </a:lnTo>
                <a:lnTo>
                  <a:pt x="60" y="886"/>
                </a:lnTo>
                <a:lnTo>
                  <a:pt x="55" y="889"/>
                </a:lnTo>
                <a:lnTo>
                  <a:pt x="48" y="891"/>
                </a:lnTo>
                <a:lnTo>
                  <a:pt x="42" y="892"/>
                </a:lnTo>
                <a:lnTo>
                  <a:pt x="26" y="897"/>
                </a:lnTo>
                <a:lnTo>
                  <a:pt x="16" y="902"/>
                </a:lnTo>
                <a:lnTo>
                  <a:pt x="11" y="907"/>
                </a:lnTo>
                <a:lnTo>
                  <a:pt x="8" y="911"/>
                </a:lnTo>
                <a:lnTo>
                  <a:pt x="8" y="914"/>
                </a:lnTo>
                <a:lnTo>
                  <a:pt x="11" y="918"/>
                </a:lnTo>
                <a:lnTo>
                  <a:pt x="18" y="919"/>
                </a:lnTo>
                <a:lnTo>
                  <a:pt x="30" y="921"/>
                </a:lnTo>
                <a:lnTo>
                  <a:pt x="38" y="924"/>
                </a:lnTo>
                <a:lnTo>
                  <a:pt x="47" y="929"/>
                </a:lnTo>
                <a:lnTo>
                  <a:pt x="53" y="934"/>
                </a:lnTo>
                <a:lnTo>
                  <a:pt x="57" y="939"/>
                </a:lnTo>
                <a:lnTo>
                  <a:pt x="58" y="948"/>
                </a:lnTo>
                <a:lnTo>
                  <a:pt x="58" y="956"/>
                </a:lnTo>
                <a:lnTo>
                  <a:pt x="55" y="968"/>
                </a:lnTo>
                <a:lnTo>
                  <a:pt x="50" y="980"/>
                </a:lnTo>
                <a:lnTo>
                  <a:pt x="43" y="997"/>
                </a:lnTo>
                <a:lnTo>
                  <a:pt x="35" y="1010"/>
                </a:lnTo>
                <a:lnTo>
                  <a:pt x="32" y="1015"/>
                </a:lnTo>
                <a:lnTo>
                  <a:pt x="26" y="1020"/>
                </a:lnTo>
                <a:lnTo>
                  <a:pt x="21" y="1025"/>
                </a:lnTo>
                <a:lnTo>
                  <a:pt x="16" y="1027"/>
                </a:lnTo>
                <a:lnTo>
                  <a:pt x="11" y="1029"/>
                </a:lnTo>
                <a:lnTo>
                  <a:pt x="6" y="1034"/>
                </a:lnTo>
                <a:lnTo>
                  <a:pt x="5" y="1040"/>
                </a:lnTo>
                <a:lnTo>
                  <a:pt x="3" y="1051"/>
                </a:lnTo>
                <a:lnTo>
                  <a:pt x="0" y="1056"/>
                </a:lnTo>
                <a:lnTo>
                  <a:pt x="0" y="1061"/>
                </a:lnTo>
                <a:lnTo>
                  <a:pt x="0" y="1064"/>
                </a:lnTo>
                <a:lnTo>
                  <a:pt x="0" y="1067"/>
                </a:lnTo>
                <a:lnTo>
                  <a:pt x="3" y="1067"/>
                </a:lnTo>
                <a:lnTo>
                  <a:pt x="6" y="1067"/>
                </a:lnTo>
                <a:lnTo>
                  <a:pt x="10" y="1066"/>
                </a:lnTo>
                <a:lnTo>
                  <a:pt x="16" y="1064"/>
                </a:lnTo>
                <a:lnTo>
                  <a:pt x="23" y="1061"/>
                </a:lnTo>
                <a:lnTo>
                  <a:pt x="28" y="1059"/>
                </a:lnTo>
                <a:lnTo>
                  <a:pt x="33" y="1059"/>
                </a:lnTo>
                <a:lnTo>
                  <a:pt x="37" y="1062"/>
                </a:lnTo>
                <a:lnTo>
                  <a:pt x="40" y="1067"/>
                </a:lnTo>
                <a:lnTo>
                  <a:pt x="40" y="1072"/>
                </a:lnTo>
                <a:lnTo>
                  <a:pt x="38" y="1079"/>
                </a:lnTo>
                <a:lnTo>
                  <a:pt x="37" y="1086"/>
                </a:lnTo>
                <a:lnTo>
                  <a:pt x="26" y="1103"/>
                </a:lnTo>
                <a:lnTo>
                  <a:pt x="18" y="1120"/>
                </a:lnTo>
                <a:lnTo>
                  <a:pt x="10" y="1135"/>
                </a:lnTo>
                <a:lnTo>
                  <a:pt x="0" y="1148"/>
                </a:lnTo>
                <a:lnTo>
                  <a:pt x="5" y="1165"/>
                </a:lnTo>
                <a:lnTo>
                  <a:pt x="6" y="1173"/>
                </a:lnTo>
                <a:lnTo>
                  <a:pt x="6" y="1184"/>
                </a:lnTo>
                <a:lnTo>
                  <a:pt x="5" y="1199"/>
                </a:lnTo>
                <a:lnTo>
                  <a:pt x="6" y="1202"/>
                </a:lnTo>
                <a:lnTo>
                  <a:pt x="11" y="1204"/>
                </a:lnTo>
                <a:lnTo>
                  <a:pt x="16" y="1205"/>
                </a:lnTo>
                <a:lnTo>
                  <a:pt x="23" y="1204"/>
                </a:lnTo>
                <a:lnTo>
                  <a:pt x="28" y="1204"/>
                </a:lnTo>
                <a:lnTo>
                  <a:pt x="33" y="1204"/>
                </a:lnTo>
                <a:lnTo>
                  <a:pt x="37" y="1205"/>
                </a:lnTo>
                <a:lnTo>
                  <a:pt x="42" y="1209"/>
                </a:lnTo>
                <a:lnTo>
                  <a:pt x="45" y="1214"/>
                </a:lnTo>
                <a:lnTo>
                  <a:pt x="48" y="1221"/>
                </a:lnTo>
                <a:lnTo>
                  <a:pt x="52" y="1231"/>
                </a:lnTo>
                <a:lnTo>
                  <a:pt x="55" y="1246"/>
                </a:lnTo>
                <a:lnTo>
                  <a:pt x="55" y="1253"/>
                </a:lnTo>
                <a:lnTo>
                  <a:pt x="58" y="1259"/>
                </a:lnTo>
                <a:lnTo>
                  <a:pt x="62" y="1263"/>
                </a:lnTo>
                <a:lnTo>
                  <a:pt x="67" y="1266"/>
                </a:lnTo>
                <a:lnTo>
                  <a:pt x="74" y="1266"/>
                </a:lnTo>
                <a:lnTo>
                  <a:pt x="82" y="1266"/>
                </a:lnTo>
                <a:lnTo>
                  <a:pt x="90" y="1263"/>
                </a:lnTo>
                <a:lnTo>
                  <a:pt x="101" y="1258"/>
                </a:lnTo>
                <a:lnTo>
                  <a:pt x="107" y="1254"/>
                </a:lnTo>
                <a:lnTo>
                  <a:pt x="114" y="1251"/>
                </a:lnTo>
                <a:lnTo>
                  <a:pt x="121" y="1251"/>
                </a:lnTo>
                <a:lnTo>
                  <a:pt x="127" y="1251"/>
                </a:lnTo>
                <a:lnTo>
                  <a:pt x="136" y="1251"/>
                </a:lnTo>
                <a:lnTo>
                  <a:pt x="144" y="1254"/>
                </a:lnTo>
                <a:lnTo>
                  <a:pt x="153" y="1259"/>
                </a:lnTo>
                <a:lnTo>
                  <a:pt x="163" y="1266"/>
                </a:lnTo>
                <a:lnTo>
                  <a:pt x="173" y="1269"/>
                </a:lnTo>
                <a:lnTo>
                  <a:pt x="183" y="1273"/>
                </a:lnTo>
                <a:lnTo>
                  <a:pt x="191" y="1273"/>
                </a:lnTo>
                <a:lnTo>
                  <a:pt x="200" y="1273"/>
                </a:lnTo>
                <a:lnTo>
                  <a:pt x="208" y="1271"/>
                </a:lnTo>
                <a:lnTo>
                  <a:pt x="215" y="1269"/>
                </a:lnTo>
                <a:lnTo>
                  <a:pt x="222" y="1266"/>
                </a:lnTo>
                <a:lnTo>
                  <a:pt x="228" y="1263"/>
                </a:lnTo>
                <a:lnTo>
                  <a:pt x="239" y="1251"/>
                </a:lnTo>
                <a:lnTo>
                  <a:pt x="247" y="1246"/>
                </a:lnTo>
                <a:lnTo>
                  <a:pt x="250" y="1246"/>
                </a:lnTo>
                <a:lnTo>
                  <a:pt x="254" y="1249"/>
                </a:lnTo>
                <a:lnTo>
                  <a:pt x="257" y="1254"/>
                </a:lnTo>
                <a:lnTo>
                  <a:pt x="260" y="1263"/>
                </a:lnTo>
                <a:lnTo>
                  <a:pt x="271" y="1273"/>
                </a:lnTo>
                <a:lnTo>
                  <a:pt x="279" y="1283"/>
                </a:lnTo>
                <a:lnTo>
                  <a:pt x="291" y="1298"/>
                </a:lnTo>
                <a:lnTo>
                  <a:pt x="303" y="1313"/>
                </a:lnTo>
                <a:lnTo>
                  <a:pt x="311" y="1322"/>
                </a:lnTo>
                <a:lnTo>
                  <a:pt x="321" y="1332"/>
                </a:lnTo>
                <a:lnTo>
                  <a:pt x="331" y="1339"/>
                </a:lnTo>
                <a:lnTo>
                  <a:pt x="341" y="1344"/>
                </a:lnTo>
                <a:lnTo>
                  <a:pt x="355" y="1347"/>
                </a:lnTo>
                <a:lnTo>
                  <a:pt x="368" y="1349"/>
                </a:lnTo>
                <a:lnTo>
                  <a:pt x="383" y="1347"/>
                </a:lnTo>
                <a:lnTo>
                  <a:pt x="400" y="1342"/>
                </a:lnTo>
                <a:lnTo>
                  <a:pt x="407" y="1339"/>
                </a:lnTo>
                <a:lnTo>
                  <a:pt x="412" y="1335"/>
                </a:lnTo>
                <a:lnTo>
                  <a:pt x="417" y="1335"/>
                </a:lnTo>
                <a:lnTo>
                  <a:pt x="422" y="1337"/>
                </a:lnTo>
                <a:lnTo>
                  <a:pt x="427" y="1340"/>
                </a:lnTo>
                <a:lnTo>
                  <a:pt x="432" y="1345"/>
                </a:lnTo>
                <a:lnTo>
                  <a:pt x="437" y="1350"/>
                </a:lnTo>
                <a:lnTo>
                  <a:pt x="442" y="1359"/>
                </a:lnTo>
                <a:lnTo>
                  <a:pt x="454" y="1365"/>
                </a:lnTo>
                <a:lnTo>
                  <a:pt x="464" y="1372"/>
                </a:lnTo>
                <a:lnTo>
                  <a:pt x="467" y="1377"/>
                </a:lnTo>
                <a:lnTo>
                  <a:pt x="471" y="1382"/>
                </a:lnTo>
                <a:lnTo>
                  <a:pt x="471" y="1387"/>
                </a:lnTo>
                <a:lnTo>
                  <a:pt x="471" y="1396"/>
                </a:lnTo>
                <a:lnTo>
                  <a:pt x="473" y="1408"/>
                </a:lnTo>
                <a:lnTo>
                  <a:pt x="476" y="1421"/>
                </a:lnTo>
                <a:lnTo>
                  <a:pt x="479" y="1426"/>
                </a:lnTo>
                <a:lnTo>
                  <a:pt x="488" y="1433"/>
                </a:lnTo>
                <a:lnTo>
                  <a:pt x="499" y="1440"/>
                </a:lnTo>
                <a:lnTo>
                  <a:pt x="518" y="1446"/>
                </a:lnTo>
                <a:lnTo>
                  <a:pt x="530" y="1448"/>
                </a:lnTo>
                <a:lnTo>
                  <a:pt x="540" y="1451"/>
                </a:lnTo>
                <a:lnTo>
                  <a:pt x="545" y="1453"/>
                </a:lnTo>
                <a:lnTo>
                  <a:pt x="547" y="1455"/>
                </a:lnTo>
                <a:lnTo>
                  <a:pt x="550" y="1458"/>
                </a:lnTo>
                <a:lnTo>
                  <a:pt x="552" y="1463"/>
                </a:lnTo>
                <a:lnTo>
                  <a:pt x="563" y="1475"/>
                </a:lnTo>
                <a:lnTo>
                  <a:pt x="570" y="1483"/>
                </a:lnTo>
                <a:lnTo>
                  <a:pt x="574" y="1490"/>
                </a:lnTo>
                <a:lnTo>
                  <a:pt x="575" y="1495"/>
                </a:lnTo>
                <a:lnTo>
                  <a:pt x="577" y="1514"/>
                </a:lnTo>
                <a:lnTo>
                  <a:pt x="579" y="1532"/>
                </a:lnTo>
                <a:lnTo>
                  <a:pt x="575" y="1541"/>
                </a:lnTo>
                <a:lnTo>
                  <a:pt x="572" y="1547"/>
                </a:lnTo>
                <a:lnTo>
                  <a:pt x="565" y="1552"/>
                </a:lnTo>
                <a:lnTo>
                  <a:pt x="557" y="1556"/>
                </a:lnTo>
                <a:lnTo>
                  <a:pt x="548" y="1559"/>
                </a:lnTo>
                <a:lnTo>
                  <a:pt x="540" y="1564"/>
                </a:lnTo>
                <a:lnTo>
                  <a:pt x="533" y="1571"/>
                </a:lnTo>
                <a:lnTo>
                  <a:pt x="525" y="1578"/>
                </a:lnTo>
                <a:lnTo>
                  <a:pt x="511" y="1596"/>
                </a:lnTo>
                <a:lnTo>
                  <a:pt x="499" y="1615"/>
                </a:lnTo>
                <a:lnTo>
                  <a:pt x="484" y="1635"/>
                </a:lnTo>
                <a:lnTo>
                  <a:pt x="469" y="1653"/>
                </a:lnTo>
                <a:lnTo>
                  <a:pt x="454" y="1674"/>
                </a:lnTo>
                <a:lnTo>
                  <a:pt x="441" y="1692"/>
                </a:lnTo>
                <a:lnTo>
                  <a:pt x="434" y="1697"/>
                </a:lnTo>
                <a:lnTo>
                  <a:pt x="429" y="1702"/>
                </a:lnTo>
                <a:lnTo>
                  <a:pt x="425" y="1707"/>
                </a:lnTo>
                <a:lnTo>
                  <a:pt x="424" y="1712"/>
                </a:lnTo>
                <a:lnTo>
                  <a:pt x="425" y="1717"/>
                </a:lnTo>
                <a:lnTo>
                  <a:pt x="427" y="1724"/>
                </a:lnTo>
                <a:lnTo>
                  <a:pt x="432" y="1729"/>
                </a:lnTo>
                <a:lnTo>
                  <a:pt x="442" y="1734"/>
                </a:lnTo>
                <a:lnTo>
                  <a:pt x="451" y="1744"/>
                </a:lnTo>
                <a:lnTo>
                  <a:pt x="462" y="1753"/>
                </a:lnTo>
                <a:lnTo>
                  <a:pt x="469" y="1756"/>
                </a:lnTo>
                <a:lnTo>
                  <a:pt x="478" y="1760"/>
                </a:lnTo>
                <a:lnTo>
                  <a:pt x="488" y="1763"/>
                </a:lnTo>
                <a:lnTo>
                  <a:pt x="498" y="1765"/>
                </a:lnTo>
                <a:lnTo>
                  <a:pt x="510" y="1761"/>
                </a:lnTo>
                <a:lnTo>
                  <a:pt x="518" y="1761"/>
                </a:lnTo>
                <a:lnTo>
                  <a:pt x="526" y="1761"/>
                </a:lnTo>
                <a:lnTo>
                  <a:pt x="535" y="1763"/>
                </a:lnTo>
                <a:lnTo>
                  <a:pt x="542" y="1766"/>
                </a:lnTo>
                <a:lnTo>
                  <a:pt x="547" y="1770"/>
                </a:lnTo>
                <a:lnTo>
                  <a:pt x="552" y="1775"/>
                </a:lnTo>
                <a:lnTo>
                  <a:pt x="555" y="1781"/>
                </a:lnTo>
                <a:lnTo>
                  <a:pt x="563" y="1786"/>
                </a:lnTo>
                <a:lnTo>
                  <a:pt x="575" y="1795"/>
                </a:lnTo>
                <a:lnTo>
                  <a:pt x="587" y="1807"/>
                </a:lnTo>
                <a:lnTo>
                  <a:pt x="599" y="1818"/>
                </a:lnTo>
                <a:lnTo>
                  <a:pt x="609" y="1830"/>
                </a:lnTo>
                <a:lnTo>
                  <a:pt x="619" y="1839"/>
                </a:lnTo>
                <a:lnTo>
                  <a:pt x="624" y="1842"/>
                </a:lnTo>
                <a:lnTo>
                  <a:pt x="627" y="1845"/>
                </a:lnTo>
                <a:lnTo>
                  <a:pt x="631" y="1845"/>
                </a:lnTo>
                <a:lnTo>
                  <a:pt x="634" y="1845"/>
                </a:lnTo>
                <a:lnTo>
                  <a:pt x="643" y="1845"/>
                </a:lnTo>
                <a:lnTo>
                  <a:pt x="649" y="1847"/>
                </a:lnTo>
                <a:lnTo>
                  <a:pt x="656" y="1850"/>
                </a:lnTo>
                <a:lnTo>
                  <a:pt x="659" y="1856"/>
                </a:lnTo>
                <a:lnTo>
                  <a:pt x="663" y="1861"/>
                </a:lnTo>
                <a:lnTo>
                  <a:pt x="664" y="1869"/>
                </a:lnTo>
                <a:lnTo>
                  <a:pt x="666" y="1877"/>
                </a:lnTo>
                <a:lnTo>
                  <a:pt x="664" y="1888"/>
                </a:lnTo>
                <a:lnTo>
                  <a:pt x="666" y="1903"/>
                </a:lnTo>
                <a:lnTo>
                  <a:pt x="669" y="1918"/>
                </a:lnTo>
                <a:lnTo>
                  <a:pt x="671" y="1925"/>
                </a:lnTo>
                <a:lnTo>
                  <a:pt x="675" y="1930"/>
                </a:lnTo>
                <a:lnTo>
                  <a:pt x="678" y="1936"/>
                </a:lnTo>
                <a:lnTo>
                  <a:pt x="683" y="1941"/>
                </a:lnTo>
                <a:lnTo>
                  <a:pt x="685" y="1950"/>
                </a:lnTo>
                <a:lnTo>
                  <a:pt x="688" y="1957"/>
                </a:lnTo>
                <a:lnTo>
                  <a:pt x="693" y="1962"/>
                </a:lnTo>
                <a:lnTo>
                  <a:pt x="701" y="1967"/>
                </a:lnTo>
                <a:lnTo>
                  <a:pt x="712" y="1970"/>
                </a:lnTo>
                <a:lnTo>
                  <a:pt x="727" y="1972"/>
                </a:lnTo>
                <a:lnTo>
                  <a:pt x="745" y="1970"/>
                </a:lnTo>
                <a:lnTo>
                  <a:pt x="767" y="1967"/>
                </a:lnTo>
                <a:lnTo>
                  <a:pt x="781" y="1968"/>
                </a:lnTo>
                <a:lnTo>
                  <a:pt x="794" y="1968"/>
                </a:lnTo>
                <a:lnTo>
                  <a:pt x="801" y="1967"/>
                </a:lnTo>
                <a:lnTo>
                  <a:pt x="808" y="1965"/>
                </a:lnTo>
                <a:lnTo>
                  <a:pt x="814" y="1963"/>
                </a:lnTo>
                <a:lnTo>
                  <a:pt x="823" y="1958"/>
                </a:lnTo>
                <a:lnTo>
                  <a:pt x="831" y="1953"/>
                </a:lnTo>
                <a:lnTo>
                  <a:pt x="839" y="1950"/>
                </a:lnTo>
                <a:lnTo>
                  <a:pt x="850" y="1948"/>
                </a:lnTo>
                <a:lnTo>
                  <a:pt x="858" y="1946"/>
                </a:lnTo>
                <a:lnTo>
                  <a:pt x="878" y="1920"/>
                </a:lnTo>
                <a:lnTo>
                  <a:pt x="898" y="1894"/>
                </a:lnTo>
                <a:lnTo>
                  <a:pt x="910" y="1882"/>
                </a:lnTo>
                <a:lnTo>
                  <a:pt x="920" y="1872"/>
                </a:lnTo>
                <a:lnTo>
                  <a:pt x="932" y="1864"/>
                </a:lnTo>
                <a:lnTo>
                  <a:pt x="942" y="1856"/>
                </a:lnTo>
                <a:lnTo>
                  <a:pt x="951" y="1847"/>
                </a:lnTo>
                <a:lnTo>
                  <a:pt x="959" y="1842"/>
                </a:lnTo>
                <a:lnTo>
                  <a:pt x="962" y="1840"/>
                </a:lnTo>
                <a:lnTo>
                  <a:pt x="966" y="1839"/>
                </a:lnTo>
                <a:lnTo>
                  <a:pt x="971" y="1840"/>
                </a:lnTo>
                <a:lnTo>
                  <a:pt x="974" y="1840"/>
                </a:lnTo>
                <a:lnTo>
                  <a:pt x="981" y="1840"/>
                </a:lnTo>
                <a:lnTo>
                  <a:pt x="986" y="1837"/>
                </a:lnTo>
                <a:lnTo>
                  <a:pt x="989" y="1834"/>
                </a:lnTo>
                <a:lnTo>
                  <a:pt x="993" y="1829"/>
                </a:lnTo>
                <a:lnTo>
                  <a:pt x="994" y="1820"/>
                </a:lnTo>
                <a:lnTo>
                  <a:pt x="998" y="1815"/>
                </a:lnTo>
                <a:lnTo>
                  <a:pt x="999" y="1812"/>
                </a:lnTo>
                <a:lnTo>
                  <a:pt x="1003" y="1812"/>
                </a:lnTo>
                <a:lnTo>
                  <a:pt x="1008" y="1813"/>
                </a:lnTo>
                <a:lnTo>
                  <a:pt x="1015" y="1820"/>
                </a:lnTo>
                <a:lnTo>
                  <a:pt x="1028" y="1820"/>
                </a:lnTo>
                <a:lnTo>
                  <a:pt x="1040" y="1820"/>
                </a:lnTo>
                <a:lnTo>
                  <a:pt x="1053" y="1820"/>
                </a:lnTo>
                <a:lnTo>
                  <a:pt x="1065" y="1820"/>
                </a:lnTo>
                <a:lnTo>
                  <a:pt x="1072" y="1820"/>
                </a:lnTo>
                <a:lnTo>
                  <a:pt x="1077" y="1818"/>
                </a:lnTo>
                <a:lnTo>
                  <a:pt x="1080" y="1815"/>
                </a:lnTo>
                <a:lnTo>
                  <a:pt x="1082" y="1813"/>
                </a:lnTo>
                <a:lnTo>
                  <a:pt x="1084" y="1810"/>
                </a:lnTo>
                <a:lnTo>
                  <a:pt x="1084" y="1805"/>
                </a:lnTo>
                <a:lnTo>
                  <a:pt x="1082" y="1800"/>
                </a:lnTo>
                <a:lnTo>
                  <a:pt x="1080" y="1795"/>
                </a:lnTo>
                <a:lnTo>
                  <a:pt x="1075" y="1788"/>
                </a:lnTo>
                <a:lnTo>
                  <a:pt x="1073" y="1783"/>
                </a:lnTo>
                <a:lnTo>
                  <a:pt x="1075" y="1778"/>
                </a:lnTo>
                <a:lnTo>
                  <a:pt x="1079" y="1775"/>
                </a:lnTo>
                <a:lnTo>
                  <a:pt x="1084" y="1766"/>
                </a:lnTo>
                <a:lnTo>
                  <a:pt x="1085" y="1756"/>
                </a:lnTo>
                <a:lnTo>
                  <a:pt x="1085" y="1746"/>
                </a:lnTo>
                <a:lnTo>
                  <a:pt x="1085" y="1734"/>
                </a:lnTo>
                <a:lnTo>
                  <a:pt x="1084" y="1731"/>
                </a:lnTo>
                <a:lnTo>
                  <a:pt x="1084" y="1728"/>
                </a:lnTo>
                <a:lnTo>
                  <a:pt x="1084" y="1724"/>
                </a:lnTo>
                <a:lnTo>
                  <a:pt x="1085" y="1722"/>
                </a:lnTo>
                <a:lnTo>
                  <a:pt x="1089" y="1721"/>
                </a:lnTo>
                <a:lnTo>
                  <a:pt x="1092" y="1721"/>
                </a:lnTo>
                <a:lnTo>
                  <a:pt x="1095" y="1722"/>
                </a:lnTo>
                <a:lnTo>
                  <a:pt x="1099" y="1726"/>
                </a:lnTo>
                <a:lnTo>
                  <a:pt x="1107" y="1726"/>
                </a:lnTo>
                <a:lnTo>
                  <a:pt x="1112" y="1726"/>
                </a:lnTo>
                <a:lnTo>
                  <a:pt x="1116" y="1724"/>
                </a:lnTo>
                <a:lnTo>
                  <a:pt x="1116" y="1722"/>
                </a:lnTo>
                <a:lnTo>
                  <a:pt x="1116" y="1719"/>
                </a:lnTo>
                <a:lnTo>
                  <a:pt x="1112" y="1714"/>
                </a:lnTo>
                <a:lnTo>
                  <a:pt x="1109" y="1711"/>
                </a:lnTo>
                <a:lnTo>
                  <a:pt x="1107" y="1707"/>
                </a:lnTo>
                <a:lnTo>
                  <a:pt x="1107" y="1704"/>
                </a:lnTo>
                <a:lnTo>
                  <a:pt x="1107" y="1702"/>
                </a:lnTo>
                <a:lnTo>
                  <a:pt x="1112" y="1699"/>
                </a:lnTo>
                <a:lnTo>
                  <a:pt x="1122" y="1699"/>
                </a:lnTo>
                <a:lnTo>
                  <a:pt x="1129" y="1696"/>
                </a:lnTo>
                <a:lnTo>
                  <a:pt x="1136" y="1692"/>
                </a:lnTo>
                <a:lnTo>
                  <a:pt x="1139" y="1682"/>
                </a:lnTo>
                <a:lnTo>
                  <a:pt x="1141" y="1680"/>
                </a:lnTo>
                <a:lnTo>
                  <a:pt x="1144" y="1682"/>
                </a:lnTo>
                <a:lnTo>
                  <a:pt x="1148" y="1690"/>
                </a:lnTo>
                <a:lnTo>
                  <a:pt x="1153" y="1701"/>
                </a:lnTo>
                <a:lnTo>
                  <a:pt x="1156" y="1706"/>
                </a:lnTo>
                <a:lnTo>
                  <a:pt x="1159" y="1704"/>
                </a:lnTo>
                <a:lnTo>
                  <a:pt x="1161" y="1696"/>
                </a:lnTo>
                <a:lnTo>
                  <a:pt x="1161" y="1687"/>
                </a:lnTo>
                <a:lnTo>
                  <a:pt x="1163" y="1680"/>
                </a:lnTo>
                <a:lnTo>
                  <a:pt x="1164" y="1675"/>
                </a:lnTo>
                <a:lnTo>
                  <a:pt x="1166" y="1674"/>
                </a:lnTo>
                <a:lnTo>
                  <a:pt x="1171" y="1672"/>
                </a:lnTo>
                <a:lnTo>
                  <a:pt x="1174" y="1672"/>
                </a:lnTo>
                <a:lnTo>
                  <a:pt x="1180" y="1675"/>
                </a:lnTo>
                <a:lnTo>
                  <a:pt x="1186" y="1679"/>
                </a:lnTo>
                <a:lnTo>
                  <a:pt x="1191" y="1692"/>
                </a:lnTo>
                <a:lnTo>
                  <a:pt x="1198" y="1704"/>
                </a:lnTo>
                <a:lnTo>
                  <a:pt x="1200" y="1709"/>
                </a:lnTo>
                <a:lnTo>
                  <a:pt x="1201" y="1711"/>
                </a:lnTo>
                <a:lnTo>
                  <a:pt x="1205" y="1712"/>
                </a:lnTo>
                <a:lnTo>
                  <a:pt x="1206" y="1714"/>
                </a:lnTo>
                <a:lnTo>
                  <a:pt x="1211" y="1711"/>
                </a:lnTo>
                <a:lnTo>
                  <a:pt x="1218" y="1704"/>
                </a:lnTo>
                <a:lnTo>
                  <a:pt x="1220" y="1694"/>
                </a:lnTo>
                <a:lnTo>
                  <a:pt x="1223" y="1687"/>
                </a:lnTo>
                <a:lnTo>
                  <a:pt x="1227" y="1682"/>
                </a:lnTo>
                <a:lnTo>
                  <a:pt x="1230" y="1679"/>
                </a:lnTo>
                <a:lnTo>
                  <a:pt x="1233" y="1675"/>
                </a:lnTo>
                <a:lnTo>
                  <a:pt x="1238" y="1675"/>
                </a:lnTo>
                <a:lnTo>
                  <a:pt x="1245" y="1675"/>
                </a:lnTo>
                <a:lnTo>
                  <a:pt x="1250" y="1677"/>
                </a:lnTo>
                <a:lnTo>
                  <a:pt x="1259" y="1679"/>
                </a:lnTo>
                <a:lnTo>
                  <a:pt x="1265" y="1677"/>
                </a:lnTo>
                <a:lnTo>
                  <a:pt x="1274" y="1675"/>
                </a:lnTo>
                <a:lnTo>
                  <a:pt x="1282" y="1670"/>
                </a:lnTo>
                <a:lnTo>
                  <a:pt x="1289" y="1665"/>
                </a:lnTo>
                <a:lnTo>
                  <a:pt x="1296" y="1662"/>
                </a:lnTo>
                <a:lnTo>
                  <a:pt x="1302" y="1664"/>
                </a:lnTo>
                <a:lnTo>
                  <a:pt x="1311" y="1667"/>
                </a:lnTo>
                <a:lnTo>
                  <a:pt x="1324" y="1669"/>
                </a:lnTo>
                <a:lnTo>
                  <a:pt x="1338" y="1669"/>
                </a:lnTo>
                <a:lnTo>
                  <a:pt x="1350" y="1669"/>
                </a:lnTo>
                <a:lnTo>
                  <a:pt x="1361" y="1667"/>
                </a:lnTo>
                <a:lnTo>
                  <a:pt x="1370" y="1664"/>
                </a:lnTo>
                <a:lnTo>
                  <a:pt x="1376" y="1662"/>
                </a:lnTo>
                <a:lnTo>
                  <a:pt x="1382" y="1657"/>
                </a:lnTo>
                <a:lnTo>
                  <a:pt x="1383" y="1653"/>
                </a:lnTo>
                <a:lnTo>
                  <a:pt x="1385" y="1642"/>
                </a:lnTo>
                <a:lnTo>
                  <a:pt x="1387" y="1635"/>
                </a:lnTo>
                <a:lnTo>
                  <a:pt x="1390" y="1628"/>
                </a:lnTo>
                <a:lnTo>
                  <a:pt x="1395" y="1625"/>
                </a:lnTo>
                <a:lnTo>
                  <a:pt x="1400" y="1623"/>
                </a:lnTo>
                <a:lnTo>
                  <a:pt x="1405" y="1623"/>
                </a:lnTo>
                <a:lnTo>
                  <a:pt x="1410" y="1626"/>
                </a:lnTo>
                <a:lnTo>
                  <a:pt x="1417" y="1630"/>
                </a:lnTo>
                <a:lnTo>
                  <a:pt x="1425" y="1632"/>
                </a:lnTo>
                <a:lnTo>
                  <a:pt x="1432" y="1630"/>
                </a:lnTo>
                <a:lnTo>
                  <a:pt x="1439" y="1628"/>
                </a:lnTo>
                <a:lnTo>
                  <a:pt x="1444" y="1625"/>
                </a:lnTo>
                <a:lnTo>
                  <a:pt x="1447" y="1621"/>
                </a:lnTo>
                <a:lnTo>
                  <a:pt x="1451" y="1615"/>
                </a:lnTo>
                <a:lnTo>
                  <a:pt x="1452" y="1608"/>
                </a:lnTo>
                <a:lnTo>
                  <a:pt x="1456" y="1600"/>
                </a:lnTo>
                <a:lnTo>
                  <a:pt x="1456" y="1588"/>
                </a:lnTo>
                <a:lnTo>
                  <a:pt x="1456" y="1578"/>
                </a:lnTo>
                <a:lnTo>
                  <a:pt x="1459" y="1568"/>
                </a:lnTo>
                <a:lnTo>
                  <a:pt x="1462" y="1561"/>
                </a:lnTo>
                <a:lnTo>
                  <a:pt x="1466" y="1556"/>
                </a:lnTo>
                <a:lnTo>
                  <a:pt x="1472" y="1552"/>
                </a:lnTo>
                <a:lnTo>
                  <a:pt x="1479" y="1551"/>
                </a:lnTo>
                <a:lnTo>
                  <a:pt x="1488" y="1551"/>
                </a:lnTo>
                <a:lnTo>
                  <a:pt x="1499" y="1549"/>
                </a:lnTo>
                <a:lnTo>
                  <a:pt x="1509" y="1549"/>
                </a:lnTo>
                <a:lnTo>
                  <a:pt x="1518" y="1551"/>
                </a:lnTo>
                <a:lnTo>
                  <a:pt x="1523" y="1556"/>
                </a:lnTo>
                <a:lnTo>
                  <a:pt x="1526" y="1561"/>
                </a:lnTo>
                <a:lnTo>
                  <a:pt x="1528" y="1568"/>
                </a:lnTo>
                <a:lnTo>
                  <a:pt x="1530" y="1576"/>
                </a:lnTo>
                <a:lnTo>
                  <a:pt x="1528" y="1586"/>
                </a:lnTo>
                <a:lnTo>
                  <a:pt x="1514" y="1601"/>
                </a:lnTo>
                <a:lnTo>
                  <a:pt x="1501" y="1615"/>
                </a:lnTo>
                <a:lnTo>
                  <a:pt x="1499" y="1620"/>
                </a:lnTo>
                <a:lnTo>
                  <a:pt x="1498" y="1625"/>
                </a:lnTo>
                <a:lnTo>
                  <a:pt x="1498" y="1628"/>
                </a:lnTo>
                <a:lnTo>
                  <a:pt x="1499" y="1630"/>
                </a:lnTo>
                <a:lnTo>
                  <a:pt x="1501" y="1632"/>
                </a:lnTo>
                <a:lnTo>
                  <a:pt x="1504" y="1633"/>
                </a:lnTo>
                <a:lnTo>
                  <a:pt x="1508" y="1633"/>
                </a:lnTo>
                <a:lnTo>
                  <a:pt x="1514" y="1633"/>
                </a:lnTo>
                <a:lnTo>
                  <a:pt x="1533" y="1628"/>
                </a:lnTo>
                <a:lnTo>
                  <a:pt x="1552" y="1625"/>
                </a:lnTo>
                <a:lnTo>
                  <a:pt x="1555" y="1621"/>
                </a:lnTo>
                <a:lnTo>
                  <a:pt x="1560" y="1620"/>
                </a:lnTo>
                <a:lnTo>
                  <a:pt x="1563" y="1620"/>
                </a:lnTo>
                <a:lnTo>
                  <a:pt x="1568" y="1621"/>
                </a:lnTo>
                <a:lnTo>
                  <a:pt x="1575" y="1625"/>
                </a:lnTo>
                <a:lnTo>
                  <a:pt x="1583" y="1632"/>
                </a:lnTo>
                <a:lnTo>
                  <a:pt x="1587" y="1637"/>
                </a:lnTo>
                <a:lnTo>
                  <a:pt x="1590" y="1640"/>
                </a:lnTo>
                <a:lnTo>
                  <a:pt x="1592" y="1643"/>
                </a:lnTo>
                <a:lnTo>
                  <a:pt x="1595" y="1645"/>
                </a:lnTo>
                <a:lnTo>
                  <a:pt x="1599" y="1645"/>
                </a:lnTo>
                <a:lnTo>
                  <a:pt x="1602" y="1643"/>
                </a:lnTo>
                <a:lnTo>
                  <a:pt x="1605" y="1640"/>
                </a:lnTo>
                <a:lnTo>
                  <a:pt x="1609" y="1638"/>
                </a:lnTo>
                <a:lnTo>
                  <a:pt x="1621" y="1625"/>
                </a:lnTo>
                <a:lnTo>
                  <a:pt x="1634" y="1611"/>
                </a:lnTo>
                <a:lnTo>
                  <a:pt x="1634" y="1598"/>
                </a:lnTo>
                <a:lnTo>
                  <a:pt x="1636" y="1588"/>
                </a:lnTo>
                <a:lnTo>
                  <a:pt x="1637" y="1583"/>
                </a:lnTo>
                <a:lnTo>
                  <a:pt x="1639" y="1581"/>
                </a:lnTo>
                <a:lnTo>
                  <a:pt x="1642" y="1579"/>
                </a:lnTo>
                <a:lnTo>
                  <a:pt x="1646" y="1581"/>
                </a:lnTo>
                <a:lnTo>
                  <a:pt x="1661" y="1584"/>
                </a:lnTo>
                <a:lnTo>
                  <a:pt x="1678" y="1589"/>
                </a:lnTo>
                <a:lnTo>
                  <a:pt x="1686" y="1591"/>
                </a:lnTo>
                <a:lnTo>
                  <a:pt x="1696" y="1591"/>
                </a:lnTo>
                <a:lnTo>
                  <a:pt x="1700" y="1591"/>
                </a:lnTo>
                <a:lnTo>
                  <a:pt x="1703" y="1588"/>
                </a:lnTo>
                <a:lnTo>
                  <a:pt x="1706" y="1584"/>
                </a:lnTo>
                <a:lnTo>
                  <a:pt x="1710" y="1581"/>
                </a:lnTo>
                <a:lnTo>
                  <a:pt x="1715" y="1573"/>
                </a:lnTo>
                <a:lnTo>
                  <a:pt x="1720" y="1563"/>
                </a:lnTo>
                <a:lnTo>
                  <a:pt x="1722" y="1554"/>
                </a:lnTo>
                <a:lnTo>
                  <a:pt x="1722" y="1544"/>
                </a:lnTo>
                <a:lnTo>
                  <a:pt x="1720" y="1534"/>
                </a:lnTo>
                <a:lnTo>
                  <a:pt x="1716" y="1525"/>
                </a:lnTo>
                <a:lnTo>
                  <a:pt x="1713" y="1514"/>
                </a:lnTo>
                <a:lnTo>
                  <a:pt x="1708" y="1504"/>
                </a:lnTo>
                <a:lnTo>
                  <a:pt x="1695" y="1475"/>
                </a:lnTo>
                <a:lnTo>
                  <a:pt x="1686" y="1446"/>
                </a:lnTo>
                <a:lnTo>
                  <a:pt x="1683" y="1433"/>
                </a:lnTo>
                <a:lnTo>
                  <a:pt x="1681" y="1419"/>
                </a:lnTo>
                <a:lnTo>
                  <a:pt x="1681" y="1406"/>
                </a:lnTo>
                <a:lnTo>
                  <a:pt x="1684" y="1394"/>
                </a:lnTo>
                <a:lnTo>
                  <a:pt x="1684" y="1379"/>
                </a:lnTo>
                <a:lnTo>
                  <a:pt x="1684" y="1362"/>
                </a:lnTo>
                <a:lnTo>
                  <a:pt x="1674" y="1367"/>
                </a:lnTo>
                <a:lnTo>
                  <a:pt x="1666" y="1369"/>
                </a:lnTo>
                <a:lnTo>
                  <a:pt x="1654" y="1371"/>
                </a:lnTo>
                <a:lnTo>
                  <a:pt x="1642" y="1369"/>
                </a:lnTo>
                <a:lnTo>
                  <a:pt x="1634" y="1369"/>
                </a:lnTo>
                <a:lnTo>
                  <a:pt x="1629" y="1371"/>
                </a:lnTo>
                <a:lnTo>
                  <a:pt x="1624" y="1374"/>
                </a:lnTo>
                <a:lnTo>
                  <a:pt x="1619" y="1379"/>
                </a:lnTo>
                <a:lnTo>
                  <a:pt x="1614" y="1389"/>
                </a:lnTo>
                <a:lnTo>
                  <a:pt x="1609" y="1396"/>
                </a:lnTo>
                <a:lnTo>
                  <a:pt x="1602" y="1401"/>
                </a:lnTo>
                <a:lnTo>
                  <a:pt x="1595" y="1403"/>
                </a:lnTo>
                <a:lnTo>
                  <a:pt x="1592" y="1403"/>
                </a:lnTo>
                <a:lnTo>
                  <a:pt x="1589" y="1401"/>
                </a:lnTo>
                <a:lnTo>
                  <a:pt x="1585" y="1399"/>
                </a:lnTo>
                <a:lnTo>
                  <a:pt x="1583" y="1396"/>
                </a:lnTo>
                <a:lnTo>
                  <a:pt x="1580" y="1387"/>
                </a:lnTo>
                <a:lnTo>
                  <a:pt x="1578" y="1376"/>
                </a:lnTo>
                <a:lnTo>
                  <a:pt x="1582" y="1360"/>
                </a:lnTo>
                <a:lnTo>
                  <a:pt x="1585" y="1345"/>
                </a:lnTo>
                <a:lnTo>
                  <a:pt x="1594" y="1333"/>
                </a:lnTo>
                <a:lnTo>
                  <a:pt x="1604" y="1323"/>
                </a:lnTo>
                <a:lnTo>
                  <a:pt x="1609" y="1318"/>
                </a:lnTo>
                <a:lnTo>
                  <a:pt x="1615" y="1315"/>
                </a:lnTo>
                <a:lnTo>
                  <a:pt x="1621" y="1312"/>
                </a:lnTo>
                <a:lnTo>
                  <a:pt x="1627" y="1308"/>
                </a:lnTo>
                <a:lnTo>
                  <a:pt x="1642" y="1305"/>
                </a:lnTo>
                <a:lnTo>
                  <a:pt x="1659" y="1303"/>
                </a:lnTo>
                <a:lnTo>
                  <a:pt x="1664" y="1301"/>
                </a:lnTo>
                <a:lnTo>
                  <a:pt x="1668" y="1298"/>
                </a:lnTo>
                <a:lnTo>
                  <a:pt x="1669" y="1293"/>
                </a:lnTo>
                <a:lnTo>
                  <a:pt x="1671" y="1290"/>
                </a:lnTo>
                <a:lnTo>
                  <a:pt x="1674" y="1278"/>
                </a:lnTo>
                <a:lnTo>
                  <a:pt x="1674" y="1264"/>
                </a:lnTo>
                <a:lnTo>
                  <a:pt x="1674" y="1253"/>
                </a:lnTo>
                <a:lnTo>
                  <a:pt x="1676" y="1241"/>
                </a:lnTo>
                <a:lnTo>
                  <a:pt x="1674" y="1217"/>
                </a:lnTo>
                <a:lnTo>
                  <a:pt x="1674" y="1192"/>
                </a:lnTo>
                <a:lnTo>
                  <a:pt x="1661" y="1180"/>
                </a:lnTo>
                <a:lnTo>
                  <a:pt x="1647" y="1165"/>
                </a:lnTo>
                <a:lnTo>
                  <a:pt x="1642" y="1158"/>
                </a:lnTo>
                <a:lnTo>
                  <a:pt x="1639" y="1152"/>
                </a:lnTo>
                <a:lnTo>
                  <a:pt x="1636" y="1145"/>
                </a:lnTo>
                <a:lnTo>
                  <a:pt x="1634" y="1136"/>
                </a:lnTo>
                <a:lnTo>
                  <a:pt x="1632" y="1128"/>
                </a:lnTo>
                <a:lnTo>
                  <a:pt x="1634" y="1121"/>
                </a:lnTo>
                <a:lnTo>
                  <a:pt x="1636" y="1113"/>
                </a:lnTo>
                <a:lnTo>
                  <a:pt x="1637" y="1103"/>
                </a:lnTo>
                <a:lnTo>
                  <a:pt x="1639" y="1091"/>
                </a:lnTo>
                <a:lnTo>
                  <a:pt x="1639" y="1079"/>
                </a:lnTo>
                <a:lnTo>
                  <a:pt x="1637" y="1067"/>
                </a:lnTo>
                <a:lnTo>
                  <a:pt x="1636" y="1056"/>
                </a:lnTo>
                <a:lnTo>
                  <a:pt x="1629" y="1054"/>
                </a:lnTo>
                <a:lnTo>
                  <a:pt x="1622" y="1052"/>
                </a:lnTo>
                <a:lnTo>
                  <a:pt x="1612" y="1067"/>
                </a:lnTo>
                <a:lnTo>
                  <a:pt x="1602" y="1081"/>
                </a:lnTo>
                <a:lnTo>
                  <a:pt x="1594" y="1081"/>
                </a:lnTo>
                <a:lnTo>
                  <a:pt x="1585" y="1083"/>
                </a:lnTo>
                <a:lnTo>
                  <a:pt x="1580" y="1084"/>
                </a:lnTo>
                <a:lnTo>
                  <a:pt x="1575" y="1086"/>
                </a:lnTo>
                <a:lnTo>
                  <a:pt x="1572" y="1091"/>
                </a:lnTo>
                <a:lnTo>
                  <a:pt x="1568" y="1094"/>
                </a:lnTo>
                <a:lnTo>
                  <a:pt x="1565" y="1108"/>
                </a:lnTo>
                <a:lnTo>
                  <a:pt x="1563" y="1123"/>
                </a:lnTo>
                <a:lnTo>
                  <a:pt x="1552" y="1135"/>
                </a:lnTo>
                <a:lnTo>
                  <a:pt x="1541" y="1148"/>
                </a:lnTo>
                <a:lnTo>
                  <a:pt x="1538" y="1136"/>
                </a:lnTo>
                <a:lnTo>
                  <a:pt x="1535" y="1125"/>
                </a:lnTo>
                <a:lnTo>
                  <a:pt x="1526" y="1115"/>
                </a:lnTo>
                <a:lnTo>
                  <a:pt x="1520" y="1108"/>
                </a:lnTo>
                <a:lnTo>
                  <a:pt x="1514" y="1106"/>
                </a:lnTo>
                <a:lnTo>
                  <a:pt x="1511" y="1104"/>
                </a:lnTo>
                <a:lnTo>
                  <a:pt x="1506" y="1106"/>
                </a:lnTo>
                <a:lnTo>
                  <a:pt x="1503" y="1108"/>
                </a:lnTo>
                <a:lnTo>
                  <a:pt x="1498" y="1120"/>
                </a:lnTo>
                <a:lnTo>
                  <a:pt x="1493" y="1131"/>
                </a:lnTo>
                <a:lnTo>
                  <a:pt x="1483" y="1133"/>
                </a:lnTo>
                <a:lnTo>
                  <a:pt x="1474" y="1135"/>
                </a:lnTo>
                <a:lnTo>
                  <a:pt x="1471" y="1133"/>
                </a:lnTo>
                <a:lnTo>
                  <a:pt x="1467" y="1130"/>
                </a:lnTo>
                <a:lnTo>
                  <a:pt x="1481" y="1116"/>
                </a:lnTo>
                <a:lnTo>
                  <a:pt x="1496" y="1103"/>
                </a:lnTo>
                <a:lnTo>
                  <a:pt x="1491" y="1101"/>
                </a:lnTo>
                <a:lnTo>
                  <a:pt x="1486" y="1098"/>
                </a:lnTo>
                <a:lnTo>
                  <a:pt x="1481" y="1093"/>
                </a:lnTo>
                <a:lnTo>
                  <a:pt x="1476" y="1086"/>
                </a:lnTo>
                <a:lnTo>
                  <a:pt x="1467" y="1071"/>
                </a:lnTo>
                <a:lnTo>
                  <a:pt x="1459" y="1049"/>
                </a:lnTo>
                <a:lnTo>
                  <a:pt x="1442" y="1047"/>
                </a:lnTo>
                <a:lnTo>
                  <a:pt x="1424" y="1047"/>
                </a:lnTo>
                <a:lnTo>
                  <a:pt x="1425" y="1040"/>
                </a:lnTo>
                <a:lnTo>
                  <a:pt x="1427" y="1034"/>
                </a:lnTo>
                <a:lnTo>
                  <a:pt x="1429" y="1030"/>
                </a:lnTo>
                <a:lnTo>
                  <a:pt x="1432" y="1030"/>
                </a:lnTo>
                <a:lnTo>
                  <a:pt x="1435" y="1030"/>
                </a:lnTo>
                <a:lnTo>
                  <a:pt x="1442" y="1034"/>
                </a:lnTo>
                <a:lnTo>
                  <a:pt x="1466" y="1042"/>
                </a:lnTo>
                <a:lnTo>
                  <a:pt x="1489" y="1051"/>
                </a:lnTo>
                <a:lnTo>
                  <a:pt x="1498" y="1056"/>
                </a:lnTo>
                <a:lnTo>
                  <a:pt x="1508" y="1061"/>
                </a:lnTo>
                <a:lnTo>
                  <a:pt x="1511" y="1052"/>
                </a:lnTo>
                <a:lnTo>
                  <a:pt x="1516" y="1046"/>
                </a:lnTo>
                <a:lnTo>
                  <a:pt x="1538" y="1047"/>
                </a:lnTo>
                <a:lnTo>
                  <a:pt x="1558" y="1049"/>
                </a:lnTo>
                <a:lnTo>
                  <a:pt x="1565" y="1054"/>
                </a:lnTo>
                <a:lnTo>
                  <a:pt x="1572" y="1059"/>
                </a:lnTo>
                <a:lnTo>
                  <a:pt x="1578" y="1061"/>
                </a:lnTo>
                <a:lnTo>
                  <a:pt x="1585" y="1062"/>
                </a:lnTo>
                <a:lnTo>
                  <a:pt x="1590" y="1040"/>
                </a:lnTo>
                <a:lnTo>
                  <a:pt x="1597" y="1019"/>
                </a:lnTo>
                <a:lnTo>
                  <a:pt x="1592" y="1015"/>
                </a:lnTo>
                <a:lnTo>
                  <a:pt x="1589" y="1012"/>
                </a:lnTo>
                <a:lnTo>
                  <a:pt x="1585" y="1008"/>
                </a:lnTo>
                <a:lnTo>
                  <a:pt x="1582" y="1007"/>
                </a:lnTo>
                <a:lnTo>
                  <a:pt x="1577" y="1005"/>
                </a:lnTo>
                <a:lnTo>
                  <a:pt x="1572" y="1003"/>
                </a:lnTo>
                <a:lnTo>
                  <a:pt x="1565" y="1000"/>
                </a:lnTo>
                <a:lnTo>
                  <a:pt x="1560" y="997"/>
                </a:lnTo>
                <a:lnTo>
                  <a:pt x="1557" y="992"/>
                </a:lnTo>
                <a:lnTo>
                  <a:pt x="1553" y="985"/>
                </a:lnTo>
                <a:lnTo>
                  <a:pt x="1545" y="985"/>
                </a:lnTo>
                <a:lnTo>
                  <a:pt x="1538" y="985"/>
                </a:lnTo>
                <a:lnTo>
                  <a:pt x="1528" y="992"/>
                </a:lnTo>
                <a:lnTo>
                  <a:pt x="1520" y="1000"/>
                </a:lnTo>
                <a:lnTo>
                  <a:pt x="1514" y="1003"/>
                </a:lnTo>
                <a:lnTo>
                  <a:pt x="1509" y="1007"/>
                </a:lnTo>
                <a:lnTo>
                  <a:pt x="1504" y="1007"/>
                </a:lnTo>
                <a:lnTo>
                  <a:pt x="1499" y="1007"/>
                </a:lnTo>
                <a:lnTo>
                  <a:pt x="1494" y="1003"/>
                </a:lnTo>
                <a:lnTo>
                  <a:pt x="1491" y="1002"/>
                </a:lnTo>
                <a:lnTo>
                  <a:pt x="1486" y="998"/>
                </a:lnTo>
                <a:lnTo>
                  <a:pt x="1483" y="995"/>
                </a:lnTo>
                <a:lnTo>
                  <a:pt x="1479" y="993"/>
                </a:lnTo>
                <a:lnTo>
                  <a:pt x="1476" y="990"/>
                </a:lnTo>
                <a:lnTo>
                  <a:pt x="1476" y="985"/>
                </a:lnTo>
                <a:lnTo>
                  <a:pt x="1476" y="982"/>
                </a:lnTo>
                <a:lnTo>
                  <a:pt x="1481" y="983"/>
                </a:lnTo>
                <a:lnTo>
                  <a:pt x="1486" y="987"/>
                </a:lnTo>
                <a:lnTo>
                  <a:pt x="1491" y="990"/>
                </a:lnTo>
                <a:lnTo>
                  <a:pt x="1496" y="993"/>
                </a:lnTo>
                <a:lnTo>
                  <a:pt x="1499" y="995"/>
                </a:lnTo>
                <a:lnTo>
                  <a:pt x="1504" y="997"/>
                </a:lnTo>
                <a:lnTo>
                  <a:pt x="1508" y="997"/>
                </a:lnTo>
                <a:lnTo>
                  <a:pt x="1511" y="995"/>
                </a:lnTo>
                <a:lnTo>
                  <a:pt x="1523" y="985"/>
                </a:lnTo>
                <a:lnTo>
                  <a:pt x="1535" y="975"/>
                </a:lnTo>
                <a:lnTo>
                  <a:pt x="1541" y="975"/>
                </a:lnTo>
                <a:lnTo>
                  <a:pt x="1548" y="975"/>
                </a:lnTo>
                <a:lnTo>
                  <a:pt x="1557" y="976"/>
                </a:lnTo>
                <a:lnTo>
                  <a:pt x="1565" y="978"/>
                </a:lnTo>
                <a:lnTo>
                  <a:pt x="1573" y="978"/>
                </a:lnTo>
                <a:lnTo>
                  <a:pt x="1582" y="980"/>
                </a:lnTo>
                <a:lnTo>
                  <a:pt x="1585" y="985"/>
                </a:lnTo>
                <a:lnTo>
                  <a:pt x="1590" y="990"/>
                </a:lnTo>
                <a:lnTo>
                  <a:pt x="1590" y="998"/>
                </a:lnTo>
                <a:lnTo>
                  <a:pt x="1590" y="1007"/>
                </a:lnTo>
                <a:lnTo>
                  <a:pt x="1595" y="1010"/>
                </a:lnTo>
                <a:lnTo>
                  <a:pt x="1599" y="1014"/>
                </a:lnTo>
                <a:lnTo>
                  <a:pt x="1612" y="1010"/>
                </a:lnTo>
                <a:lnTo>
                  <a:pt x="1626" y="1007"/>
                </a:lnTo>
                <a:lnTo>
                  <a:pt x="1629" y="1022"/>
                </a:lnTo>
                <a:lnTo>
                  <a:pt x="1632" y="1039"/>
                </a:lnTo>
                <a:lnTo>
                  <a:pt x="1641" y="1049"/>
                </a:lnTo>
                <a:lnTo>
                  <a:pt x="1647" y="1059"/>
                </a:lnTo>
                <a:lnTo>
                  <a:pt x="1651" y="1062"/>
                </a:lnTo>
                <a:lnTo>
                  <a:pt x="1654" y="1066"/>
                </a:lnTo>
                <a:lnTo>
                  <a:pt x="1658" y="1066"/>
                </a:lnTo>
                <a:lnTo>
                  <a:pt x="1661" y="1066"/>
                </a:lnTo>
                <a:lnTo>
                  <a:pt x="1661" y="1069"/>
                </a:lnTo>
                <a:lnTo>
                  <a:pt x="1661" y="1072"/>
                </a:lnTo>
                <a:lnTo>
                  <a:pt x="1661" y="1074"/>
                </a:lnTo>
                <a:lnTo>
                  <a:pt x="1663" y="1078"/>
                </a:lnTo>
                <a:lnTo>
                  <a:pt x="1669" y="1081"/>
                </a:lnTo>
                <a:lnTo>
                  <a:pt x="1678" y="1083"/>
                </a:lnTo>
                <a:lnTo>
                  <a:pt x="1681" y="1078"/>
                </a:lnTo>
                <a:lnTo>
                  <a:pt x="1684" y="1072"/>
                </a:lnTo>
                <a:lnTo>
                  <a:pt x="1695" y="1072"/>
                </a:lnTo>
                <a:lnTo>
                  <a:pt x="1703" y="1072"/>
                </a:lnTo>
                <a:lnTo>
                  <a:pt x="1706" y="1078"/>
                </a:lnTo>
                <a:lnTo>
                  <a:pt x="1710" y="1083"/>
                </a:lnTo>
                <a:lnTo>
                  <a:pt x="1716" y="1076"/>
                </a:lnTo>
                <a:lnTo>
                  <a:pt x="1722" y="1071"/>
                </a:lnTo>
                <a:lnTo>
                  <a:pt x="1733" y="1071"/>
                </a:lnTo>
                <a:lnTo>
                  <a:pt x="1745" y="1071"/>
                </a:lnTo>
                <a:lnTo>
                  <a:pt x="1750" y="1072"/>
                </a:lnTo>
                <a:lnTo>
                  <a:pt x="1754" y="1076"/>
                </a:lnTo>
                <a:lnTo>
                  <a:pt x="1777" y="1066"/>
                </a:lnTo>
                <a:lnTo>
                  <a:pt x="1801" y="1057"/>
                </a:lnTo>
                <a:lnTo>
                  <a:pt x="1806" y="1054"/>
                </a:lnTo>
                <a:lnTo>
                  <a:pt x="1809" y="1054"/>
                </a:lnTo>
                <a:lnTo>
                  <a:pt x="1812" y="1057"/>
                </a:lnTo>
                <a:lnTo>
                  <a:pt x="1812" y="1062"/>
                </a:lnTo>
                <a:lnTo>
                  <a:pt x="1804" y="1072"/>
                </a:lnTo>
                <a:lnTo>
                  <a:pt x="1796" y="1083"/>
                </a:lnTo>
                <a:lnTo>
                  <a:pt x="1787" y="1084"/>
                </a:lnTo>
                <a:lnTo>
                  <a:pt x="1779" y="1086"/>
                </a:lnTo>
                <a:lnTo>
                  <a:pt x="1780" y="1091"/>
                </a:lnTo>
                <a:lnTo>
                  <a:pt x="1780" y="1094"/>
                </a:lnTo>
                <a:lnTo>
                  <a:pt x="1785" y="1094"/>
                </a:lnTo>
                <a:lnTo>
                  <a:pt x="1791" y="1094"/>
                </a:lnTo>
                <a:lnTo>
                  <a:pt x="1796" y="1089"/>
                </a:lnTo>
                <a:lnTo>
                  <a:pt x="1801" y="1084"/>
                </a:lnTo>
                <a:lnTo>
                  <a:pt x="1816" y="1066"/>
                </a:lnTo>
                <a:lnTo>
                  <a:pt x="1833" y="1046"/>
                </a:lnTo>
                <a:lnTo>
                  <a:pt x="1844" y="1029"/>
                </a:lnTo>
                <a:lnTo>
                  <a:pt x="1856" y="1014"/>
                </a:lnTo>
                <a:lnTo>
                  <a:pt x="1863" y="1008"/>
                </a:lnTo>
                <a:lnTo>
                  <a:pt x="1871" y="1003"/>
                </a:lnTo>
                <a:lnTo>
                  <a:pt x="1878" y="1000"/>
                </a:lnTo>
                <a:lnTo>
                  <a:pt x="1886" y="1000"/>
                </a:lnTo>
                <a:lnTo>
                  <a:pt x="1892" y="998"/>
                </a:lnTo>
                <a:lnTo>
                  <a:pt x="1895" y="998"/>
                </a:lnTo>
                <a:lnTo>
                  <a:pt x="1898" y="995"/>
                </a:lnTo>
                <a:lnTo>
                  <a:pt x="1902" y="990"/>
                </a:lnTo>
                <a:lnTo>
                  <a:pt x="1908" y="980"/>
                </a:lnTo>
                <a:lnTo>
                  <a:pt x="1915" y="966"/>
                </a:lnTo>
                <a:lnTo>
                  <a:pt x="1922" y="950"/>
                </a:lnTo>
                <a:lnTo>
                  <a:pt x="1927" y="938"/>
                </a:lnTo>
                <a:lnTo>
                  <a:pt x="1918" y="933"/>
                </a:lnTo>
                <a:lnTo>
                  <a:pt x="1903" y="923"/>
                </a:lnTo>
                <a:lnTo>
                  <a:pt x="1897" y="916"/>
                </a:lnTo>
                <a:lnTo>
                  <a:pt x="1888" y="911"/>
                </a:lnTo>
                <a:lnTo>
                  <a:pt x="1881" y="907"/>
                </a:lnTo>
                <a:lnTo>
                  <a:pt x="1875" y="906"/>
                </a:lnTo>
                <a:lnTo>
                  <a:pt x="1870" y="906"/>
                </a:lnTo>
                <a:lnTo>
                  <a:pt x="1865" y="906"/>
                </a:lnTo>
                <a:lnTo>
                  <a:pt x="1858" y="906"/>
                </a:lnTo>
                <a:lnTo>
                  <a:pt x="1853" y="907"/>
                </a:lnTo>
                <a:lnTo>
                  <a:pt x="1848" y="911"/>
                </a:lnTo>
                <a:lnTo>
                  <a:pt x="1843" y="912"/>
                </a:lnTo>
                <a:lnTo>
                  <a:pt x="1838" y="914"/>
                </a:lnTo>
                <a:lnTo>
                  <a:pt x="1833" y="912"/>
                </a:lnTo>
                <a:lnTo>
                  <a:pt x="1829" y="912"/>
                </a:lnTo>
                <a:lnTo>
                  <a:pt x="1824" y="909"/>
                </a:lnTo>
                <a:lnTo>
                  <a:pt x="1821" y="906"/>
                </a:lnTo>
                <a:lnTo>
                  <a:pt x="1816" y="902"/>
                </a:lnTo>
                <a:lnTo>
                  <a:pt x="1804" y="891"/>
                </a:lnTo>
                <a:lnTo>
                  <a:pt x="1794" y="880"/>
                </a:lnTo>
                <a:lnTo>
                  <a:pt x="1789" y="877"/>
                </a:lnTo>
                <a:lnTo>
                  <a:pt x="1785" y="874"/>
                </a:lnTo>
                <a:lnTo>
                  <a:pt x="1782" y="872"/>
                </a:lnTo>
                <a:lnTo>
                  <a:pt x="1779" y="872"/>
                </a:lnTo>
                <a:lnTo>
                  <a:pt x="1775" y="872"/>
                </a:lnTo>
                <a:lnTo>
                  <a:pt x="1772" y="874"/>
                </a:lnTo>
                <a:lnTo>
                  <a:pt x="1769" y="877"/>
                </a:lnTo>
                <a:lnTo>
                  <a:pt x="1765" y="880"/>
                </a:lnTo>
                <a:lnTo>
                  <a:pt x="1759" y="892"/>
                </a:lnTo>
                <a:lnTo>
                  <a:pt x="1752" y="904"/>
                </a:lnTo>
                <a:lnTo>
                  <a:pt x="1745" y="911"/>
                </a:lnTo>
                <a:lnTo>
                  <a:pt x="1738" y="914"/>
                </a:lnTo>
                <a:lnTo>
                  <a:pt x="1735" y="912"/>
                </a:lnTo>
                <a:lnTo>
                  <a:pt x="1732" y="911"/>
                </a:lnTo>
                <a:lnTo>
                  <a:pt x="1728" y="907"/>
                </a:lnTo>
                <a:lnTo>
                  <a:pt x="1727" y="902"/>
                </a:lnTo>
                <a:lnTo>
                  <a:pt x="1720" y="899"/>
                </a:lnTo>
                <a:lnTo>
                  <a:pt x="1711" y="896"/>
                </a:lnTo>
                <a:lnTo>
                  <a:pt x="1705" y="894"/>
                </a:lnTo>
                <a:lnTo>
                  <a:pt x="1696" y="892"/>
                </a:lnTo>
                <a:lnTo>
                  <a:pt x="1678" y="892"/>
                </a:lnTo>
                <a:lnTo>
                  <a:pt x="1659" y="894"/>
                </a:lnTo>
                <a:lnTo>
                  <a:pt x="1658" y="877"/>
                </a:lnTo>
                <a:lnTo>
                  <a:pt x="1658" y="862"/>
                </a:lnTo>
                <a:lnTo>
                  <a:pt x="1659" y="848"/>
                </a:lnTo>
                <a:lnTo>
                  <a:pt x="1661" y="837"/>
                </a:lnTo>
                <a:lnTo>
                  <a:pt x="1664" y="825"/>
                </a:lnTo>
                <a:lnTo>
                  <a:pt x="1668" y="816"/>
                </a:lnTo>
                <a:lnTo>
                  <a:pt x="1673" y="808"/>
                </a:lnTo>
                <a:lnTo>
                  <a:pt x="1678" y="801"/>
                </a:lnTo>
                <a:lnTo>
                  <a:pt x="1688" y="776"/>
                </a:lnTo>
                <a:lnTo>
                  <a:pt x="1696" y="756"/>
                </a:lnTo>
                <a:lnTo>
                  <a:pt x="1706" y="739"/>
                </a:lnTo>
                <a:lnTo>
                  <a:pt x="1715" y="727"/>
                </a:lnTo>
                <a:lnTo>
                  <a:pt x="1728" y="707"/>
                </a:lnTo>
                <a:lnTo>
                  <a:pt x="1740" y="687"/>
                </a:lnTo>
                <a:lnTo>
                  <a:pt x="1750" y="665"/>
                </a:lnTo>
                <a:lnTo>
                  <a:pt x="1759" y="640"/>
                </a:lnTo>
                <a:lnTo>
                  <a:pt x="1764" y="635"/>
                </a:lnTo>
                <a:lnTo>
                  <a:pt x="1765" y="628"/>
                </a:lnTo>
                <a:lnTo>
                  <a:pt x="1764" y="623"/>
                </a:lnTo>
                <a:lnTo>
                  <a:pt x="1762" y="616"/>
                </a:lnTo>
                <a:lnTo>
                  <a:pt x="1757" y="609"/>
                </a:lnTo>
                <a:lnTo>
                  <a:pt x="1750" y="603"/>
                </a:lnTo>
                <a:lnTo>
                  <a:pt x="1743" y="596"/>
                </a:lnTo>
                <a:lnTo>
                  <a:pt x="1733" y="589"/>
                </a:lnTo>
                <a:lnTo>
                  <a:pt x="1723" y="579"/>
                </a:lnTo>
                <a:lnTo>
                  <a:pt x="1716" y="569"/>
                </a:lnTo>
                <a:lnTo>
                  <a:pt x="1711" y="559"/>
                </a:lnTo>
                <a:lnTo>
                  <a:pt x="1710" y="549"/>
                </a:lnTo>
                <a:lnTo>
                  <a:pt x="1705" y="540"/>
                </a:lnTo>
                <a:lnTo>
                  <a:pt x="1701" y="534"/>
                </a:lnTo>
                <a:lnTo>
                  <a:pt x="1698" y="527"/>
                </a:lnTo>
                <a:lnTo>
                  <a:pt x="1696" y="518"/>
                </a:lnTo>
                <a:lnTo>
                  <a:pt x="1696" y="505"/>
                </a:lnTo>
                <a:lnTo>
                  <a:pt x="1698" y="490"/>
                </a:lnTo>
                <a:lnTo>
                  <a:pt x="1696" y="471"/>
                </a:lnTo>
                <a:lnTo>
                  <a:pt x="1693" y="453"/>
                </a:lnTo>
                <a:lnTo>
                  <a:pt x="1690" y="446"/>
                </a:lnTo>
                <a:lnTo>
                  <a:pt x="1688" y="441"/>
                </a:lnTo>
                <a:lnTo>
                  <a:pt x="1684" y="438"/>
                </a:lnTo>
                <a:lnTo>
                  <a:pt x="1681" y="436"/>
                </a:lnTo>
                <a:lnTo>
                  <a:pt x="1678" y="436"/>
                </a:lnTo>
                <a:lnTo>
                  <a:pt x="1674" y="438"/>
                </a:lnTo>
                <a:lnTo>
                  <a:pt x="1669" y="441"/>
                </a:lnTo>
                <a:lnTo>
                  <a:pt x="1666" y="446"/>
                </a:lnTo>
                <a:lnTo>
                  <a:pt x="1658" y="456"/>
                </a:lnTo>
                <a:lnTo>
                  <a:pt x="1651" y="468"/>
                </a:lnTo>
                <a:lnTo>
                  <a:pt x="1644" y="473"/>
                </a:lnTo>
                <a:lnTo>
                  <a:pt x="1639" y="476"/>
                </a:lnTo>
                <a:lnTo>
                  <a:pt x="1634" y="476"/>
                </a:lnTo>
                <a:lnTo>
                  <a:pt x="1631" y="475"/>
                </a:lnTo>
                <a:lnTo>
                  <a:pt x="1631" y="470"/>
                </a:lnTo>
                <a:lnTo>
                  <a:pt x="1631" y="463"/>
                </a:lnTo>
                <a:lnTo>
                  <a:pt x="1632" y="454"/>
                </a:lnTo>
                <a:lnTo>
                  <a:pt x="1634" y="443"/>
                </a:lnTo>
                <a:lnTo>
                  <a:pt x="1637" y="436"/>
                </a:lnTo>
                <a:lnTo>
                  <a:pt x="1637" y="429"/>
                </a:lnTo>
                <a:lnTo>
                  <a:pt x="1636" y="422"/>
                </a:lnTo>
                <a:lnTo>
                  <a:pt x="1634" y="416"/>
                </a:lnTo>
                <a:lnTo>
                  <a:pt x="1631" y="411"/>
                </a:lnTo>
                <a:lnTo>
                  <a:pt x="1626" y="404"/>
                </a:lnTo>
                <a:lnTo>
                  <a:pt x="1619" y="399"/>
                </a:lnTo>
                <a:lnTo>
                  <a:pt x="1612" y="394"/>
                </a:lnTo>
                <a:lnTo>
                  <a:pt x="1605" y="387"/>
                </a:lnTo>
                <a:lnTo>
                  <a:pt x="1599" y="384"/>
                </a:lnTo>
                <a:lnTo>
                  <a:pt x="1592" y="382"/>
                </a:lnTo>
                <a:lnTo>
                  <a:pt x="1587" y="382"/>
                </a:lnTo>
                <a:lnTo>
                  <a:pt x="1582" y="384"/>
                </a:lnTo>
                <a:lnTo>
                  <a:pt x="1578" y="387"/>
                </a:lnTo>
                <a:lnTo>
                  <a:pt x="1573" y="390"/>
                </a:lnTo>
                <a:lnTo>
                  <a:pt x="1570" y="395"/>
                </a:lnTo>
                <a:lnTo>
                  <a:pt x="1565" y="402"/>
                </a:lnTo>
                <a:lnTo>
                  <a:pt x="1557" y="407"/>
                </a:lnTo>
                <a:lnTo>
                  <a:pt x="1548" y="411"/>
                </a:lnTo>
                <a:lnTo>
                  <a:pt x="1536" y="414"/>
                </a:lnTo>
                <a:lnTo>
                  <a:pt x="1526" y="416"/>
                </a:lnTo>
                <a:lnTo>
                  <a:pt x="1518" y="416"/>
                </a:lnTo>
                <a:lnTo>
                  <a:pt x="1509" y="416"/>
                </a:lnTo>
                <a:lnTo>
                  <a:pt x="1501" y="412"/>
                </a:lnTo>
                <a:lnTo>
                  <a:pt x="1493" y="409"/>
                </a:lnTo>
                <a:lnTo>
                  <a:pt x="1484" y="404"/>
                </a:lnTo>
                <a:lnTo>
                  <a:pt x="1476" y="397"/>
                </a:lnTo>
                <a:lnTo>
                  <a:pt x="1467" y="390"/>
                </a:lnTo>
                <a:lnTo>
                  <a:pt x="1464" y="385"/>
                </a:lnTo>
                <a:lnTo>
                  <a:pt x="1459" y="382"/>
                </a:lnTo>
                <a:lnTo>
                  <a:pt x="1454" y="380"/>
                </a:lnTo>
                <a:lnTo>
                  <a:pt x="1445" y="380"/>
                </a:lnTo>
                <a:lnTo>
                  <a:pt x="1439" y="380"/>
                </a:lnTo>
                <a:lnTo>
                  <a:pt x="1434" y="380"/>
                </a:lnTo>
                <a:lnTo>
                  <a:pt x="1430" y="380"/>
                </a:lnTo>
                <a:lnTo>
                  <a:pt x="1427" y="379"/>
                </a:lnTo>
                <a:lnTo>
                  <a:pt x="1424" y="375"/>
                </a:lnTo>
                <a:lnTo>
                  <a:pt x="1422" y="372"/>
                </a:lnTo>
                <a:lnTo>
                  <a:pt x="1420" y="367"/>
                </a:lnTo>
                <a:lnTo>
                  <a:pt x="1420" y="362"/>
                </a:lnTo>
                <a:lnTo>
                  <a:pt x="1420" y="357"/>
                </a:lnTo>
                <a:lnTo>
                  <a:pt x="1420" y="352"/>
                </a:lnTo>
                <a:lnTo>
                  <a:pt x="1419" y="348"/>
                </a:lnTo>
                <a:lnTo>
                  <a:pt x="1417" y="345"/>
                </a:lnTo>
                <a:lnTo>
                  <a:pt x="1412" y="342"/>
                </a:lnTo>
                <a:lnTo>
                  <a:pt x="1403" y="338"/>
                </a:lnTo>
                <a:lnTo>
                  <a:pt x="1398" y="338"/>
                </a:lnTo>
                <a:lnTo>
                  <a:pt x="1392" y="337"/>
                </a:lnTo>
                <a:lnTo>
                  <a:pt x="1387" y="335"/>
                </a:lnTo>
                <a:lnTo>
                  <a:pt x="1382" y="330"/>
                </a:lnTo>
                <a:lnTo>
                  <a:pt x="1378" y="325"/>
                </a:lnTo>
                <a:lnTo>
                  <a:pt x="1375" y="318"/>
                </a:lnTo>
                <a:lnTo>
                  <a:pt x="1373" y="310"/>
                </a:lnTo>
                <a:lnTo>
                  <a:pt x="1371" y="299"/>
                </a:lnTo>
                <a:lnTo>
                  <a:pt x="1371" y="289"/>
                </a:lnTo>
                <a:lnTo>
                  <a:pt x="1371" y="279"/>
                </a:lnTo>
                <a:lnTo>
                  <a:pt x="1368" y="271"/>
                </a:lnTo>
                <a:lnTo>
                  <a:pt x="1365" y="259"/>
                </a:lnTo>
                <a:lnTo>
                  <a:pt x="1358" y="254"/>
                </a:lnTo>
                <a:lnTo>
                  <a:pt x="1355" y="251"/>
                </a:lnTo>
                <a:lnTo>
                  <a:pt x="1355" y="246"/>
                </a:lnTo>
                <a:lnTo>
                  <a:pt x="1356" y="242"/>
                </a:lnTo>
                <a:lnTo>
                  <a:pt x="1351" y="239"/>
                </a:lnTo>
                <a:lnTo>
                  <a:pt x="1348" y="237"/>
                </a:lnTo>
                <a:lnTo>
                  <a:pt x="1343" y="237"/>
                </a:lnTo>
                <a:lnTo>
                  <a:pt x="1339" y="239"/>
                </a:lnTo>
                <a:lnTo>
                  <a:pt x="1334" y="246"/>
                </a:lnTo>
                <a:lnTo>
                  <a:pt x="1329" y="252"/>
                </a:lnTo>
                <a:lnTo>
                  <a:pt x="1326" y="256"/>
                </a:lnTo>
                <a:lnTo>
                  <a:pt x="1321" y="257"/>
                </a:lnTo>
                <a:lnTo>
                  <a:pt x="1318" y="259"/>
                </a:lnTo>
                <a:lnTo>
                  <a:pt x="1314" y="257"/>
                </a:lnTo>
                <a:lnTo>
                  <a:pt x="1312" y="254"/>
                </a:lnTo>
                <a:lnTo>
                  <a:pt x="1311" y="251"/>
                </a:lnTo>
                <a:lnTo>
                  <a:pt x="1311" y="246"/>
                </a:lnTo>
                <a:lnTo>
                  <a:pt x="1314" y="239"/>
                </a:lnTo>
                <a:lnTo>
                  <a:pt x="1314" y="234"/>
                </a:lnTo>
                <a:lnTo>
                  <a:pt x="1314" y="227"/>
                </a:lnTo>
              </a:path>
            </a:pathLst>
          </a:custGeom>
          <a:solidFill>
            <a:srgbClr val="CCECFF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332911" name="Text Box 22"/>
          <p:cNvSpPr txBox="1">
            <a:spLocks noChangeAspect="1" noChangeArrowheads="1"/>
          </p:cNvSpPr>
          <p:nvPr>
            <p:custDataLst>
              <p:tags r:id="rId17"/>
            </p:custDataLst>
          </p:nvPr>
        </p:nvSpPr>
        <p:spPr bwMode="auto">
          <a:xfrm>
            <a:off x="3965575" y="3148013"/>
            <a:ext cx="280988" cy="1238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/>
            <a:r>
              <a:rPr lang="ru-RU" sz="800" i="1"/>
              <a:t>Купол</a:t>
            </a:r>
          </a:p>
        </p:txBody>
      </p:sp>
      <p:sp>
        <p:nvSpPr>
          <p:cNvPr id="332912" name="Freeform 23"/>
          <p:cNvSpPr>
            <a:spLocks noChangeAspect="1"/>
          </p:cNvSpPr>
          <p:nvPr>
            <p:custDataLst>
              <p:tags r:id="rId18"/>
            </p:custDataLst>
          </p:nvPr>
        </p:nvSpPr>
        <p:spPr bwMode="auto">
          <a:xfrm>
            <a:off x="4494213" y="4149725"/>
            <a:ext cx="1890712" cy="1439863"/>
          </a:xfrm>
          <a:custGeom>
            <a:avLst/>
            <a:gdLst>
              <a:gd name="T0" fmla="*/ 2147483647 w 1192"/>
              <a:gd name="T1" fmla="*/ 2147483647 h 902"/>
              <a:gd name="T2" fmla="*/ 2147483647 w 1192"/>
              <a:gd name="T3" fmla="*/ 2147483647 h 902"/>
              <a:gd name="T4" fmla="*/ 2147483647 w 1192"/>
              <a:gd name="T5" fmla="*/ 2147483647 h 902"/>
              <a:gd name="T6" fmla="*/ 2147483647 w 1192"/>
              <a:gd name="T7" fmla="*/ 2147483647 h 902"/>
              <a:gd name="T8" fmla="*/ 2147483647 w 1192"/>
              <a:gd name="T9" fmla="*/ 2147483647 h 902"/>
              <a:gd name="T10" fmla="*/ 2147483647 w 1192"/>
              <a:gd name="T11" fmla="*/ 2147483647 h 902"/>
              <a:gd name="T12" fmla="*/ 2147483647 w 1192"/>
              <a:gd name="T13" fmla="*/ 2147483647 h 902"/>
              <a:gd name="T14" fmla="*/ 2147483647 w 1192"/>
              <a:gd name="T15" fmla="*/ 2147483647 h 902"/>
              <a:gd name="T16" fmla="*/ 2147483647 w 1192"/>
              <a:gd name="T17" fmla="*/ 2147483647 h 902"/>
              <a:gd name="T18" fmla="*/ 2147483647 w 1192"/>
              <a:gd name="T19" fmla="*/ 2147483647 h 902"/>
              <a:gd name="T20" fmla="*/ 2147483647 w 1192"/>
              <a:gd name="T21" fmla="*/ 2147483647 h 902"/>
              <a:gd name="T22" fmla="*/ 2147483647 w 1192"/>
              <a:gd name="T23" fmla="*/ 2147483647 h 902"/>
              <a:gd name="T24" fmla="*/ 2147483647 w 1192"/>
              <a:gd name="T25" fmla="*/ 2147483647 h 902"/>
              <a:gd name="T26" fmla="*/ 2147483647 w 1192"/>
              <a:gd name="T27" fmla="*/ 2147483647 h 902"/>
              <a:gd name="T28" fmla="*/ 2147483647 w 1192"/>
              <a:gd name="T29" fmla="*/ 2147483647 h 902"/>
              <a:gd name="T30" fmla="*/ 2147483647 w 1192"/>
              <a:gd name="T31" fmla="*/ 2147483647 h 902"/>
              <a:gd name="T32" fmla="*/ 2147483647 w 1192"/>
              <a:gd name="T33" fmla="*/ 2147483647 h 902"/>
              <a:gd name="T34" fmla="*/ 2147483647 w 1192"/>
              <a:gd name="T35" fmla="*/ 2147483647 h 902"/>
              <a:gd name="T36" fmla="*/ 2147483647 w 1192"/>
              <a:gd name="T37" fmla="*/ 2147483647 h 902"/>
              <a:gd name="T38" fmla="*/ 2147483647 w 1192"/>
              <a:gd name="T39" fmla="*/ 2147483647 h 902"/>
              <a:gd name="T40" fmla="*/ 2147483647 w 1192"/>
              <a:gd name="T41" fmla="*/ 2147483647 h 902"/>
              <a:gd name="T42" fmla="*/ 2147483647 w 1192"/>
              <a:gd name="T43" fmla="*/ 2147483647 h 902"/>
              <a:gd name="T44" fmla="*/ 2147483647 w 1192"/>
              <a:gd name="T45" fmla="*/ 2147483647 h 902"/>
              <a:gd name="T46" fmla="*/ 2147483647 w 1192"/>
              <a:gd name="T47" fmla="*/ 2147483647 h 902"/>
              <a:gd name="T48" fmla="*/ 2147483647 w 1192"/>
              <a:gd name="T49" fmla="*/ 2147483647 h 902"/>
              <a:gd name="T50" fmla="*/ 2147483647 w 1192"/>
              <a:gd name="T51" fmla="*/ 2147483647 h 902"/>
              <a:gd name="T52" fmla="*/ 2147483647 w 1192"/>
              <a:gd name="T53" fmla="*/ 2147483647 h 902"/>
              <a:gd name="T54" fmla="*/ 2147483647 w 1192"/>
              <a:gd name="T55" fmla="*/ 2147483647 h 902"/>
              <a:gd name="T56" fmla="*/ 2147483647 w 1192"/>
              <a:gd name="T57" fmla="*/ 2147483647 h 902"/>
              <a:gd name="T58" fmla="*/ 2147483647 w 1192"/>
              <a:gd name="T59" fmla="*/ 2147483647 h 902"/>
              <a:gd name="T60" fmla="*/ 2147483647 w 1192"/>
              <a:gd name="T61" fmla="*/ 2147483647 h 902"/>
              <a:gd name="T62" fmla="*/ 2147483647 w 1192"/>
              <a:gd name="T63" fmla="*/ 2147483647 h 902"/>
              <a:gd name="T64" fmla="*/ 2147483647 w 1192"/>
              <a:gd name="T65" fmla="*/ 2147483647 h 902"/>
              <a:gd name="T66" fmla="*/ 2147483647 w 1192"/>
              <a:gd name="T67" fmla="*/ 2147483647 h 902"/>
              <a:gd name="T68" fmla="*/ 2147483647 w 1192"/>
              <a:gd name="T69" fmla="*/ 2147483647 h 902"/>
              <a:gd name="T70" fmla="*/ 2147483647 w 1192"/>
              <a:gd name="T71" fmla="*/ 2147483647 h 902"/>
              <a:gd name="T72" fmla="*/ 2147483647 w 1192"/>
              <a:gd name="T73" fmla="*/ 2147483647 h 902"/>
              <a:gd name="T74" fmla="*/ 2147483647 w 1192"/>
              <a:gd name="T75" fmla="*/ 2147483647 h 902"/>
              <a:gd name="T76" fmla="*/ 2147483647 w 1192"/>
              <a:gd name="T77" fmla="*/ 2147483647 h 902"/>
              <a:gd name="T78" fmla="*/ 2147483647 w 1192"/>
              <a:gd name="T79" fmla="*/ 2147483647 h 902"/>
              <a:gd name="T80" fmla="*/ 2147483647 w 1192"/>
              <a:gd name="T81" fmla="*/ 2147483647 h 902"/>
              <a:gd name="T82" fmla="*/ 2147483647 w 1192"/>
              <a:gd name="T83" fmla="*/ 2147483647 h 902"/>
              <a:gd name="T84" fmla="*/ 2147483647 w 1192"/>
              <a:gd name="T85" fmla="*/ 2147483647 h 902"/>
              <a:gd name="T86" fmla="*/ 2147483647 w 1192"/>
              <a:gd name="T87" fmla="*/ 2147483647 h 902"/>
              <a:gd name="T88" fmla="*/ 2147483647 w 1192"/>
              <a:gd name="T89" fmla="*/ 2147483647 h 902"/>
              <a:gd name="T90" fmla="*/ 2147483647 w 1192"/>
              <a:gd name="T91" fmla="*/ 2147483647 h 902"/>
              <a:gd name="T92" fmla="*/ 2147483647 w 1192"/>
              <a:gd name="T93" fmla="*/ 2147483647 h 902"/>
              <a:gd name="T94" fmla="*/ 2147483647 w 1192"/>
              <a:gd name="T95" fmla="*/ 2147483647 h 902"/>
              <a:gd name="T96" fmla="*/ 2147483647 w 1192"/>
              <a:gd name="T97" fmla="*/ 2147483647 h 902"/>
              <a:gd name="T98" fmla="*/ 2147483647 w 1192"/>
              <a:gd name="T99" fmla="*/ 2147483647 h 902"/>
              <a:gd name="T100" fmla="*/ 2147483647 w 1192"/>
              <a:gd name="T101" fmla="*/ 2147483647 h 902"/>
              <a:gd name="T102" fmla="*/ 2147483647 w 1192"/>
              <a:gd name="T103" fmla="*/ 2147483647 h 902"/>
              <a:gd name="T104" fmla="*/ 2147483647 w 1192"/>
              <a:gd name="T105" fmla="*/ 2147483647 h 902"/>
              <a:gd name="T106" fmla="*/ 2147483647 w 1192"/>
              <a:gd name="T107" fmla="*/ 2147483647 h 902"/>
              <a:gd name="T108" fmla="*/ 2147483647 w 1192"/>
              <a:gd name="T109" fmla="*/ 2147483647 h 902"/>
              <a:gd name="T110" fmla="*/ 2147483647 w 1192"/>
              <a:gd name="T111" fmla="*/ 2147483647 h 902"/>
              <a:gd name="T112" fmla="*/ 2147483647 w 1192"/>
              <a:gd name="T113" fmla="*/ 2147483647 h 902"/>
              <a:gd name="T114" fmla="*/ 2147483647 w 1192"/>
              <a:gd name="T115" fmla="*/ 2147483647 h 902"/>
              <a:gd name="T116" fmla="*/ 2147483647 w 1192"/>
              <a:gd name="T117" fmla="*/ 2147483647 h 902"/>
              <a:gd name="T118" fmla="*/ 2147483647 w 1192"/>
              <a:gd name="T119" fmla="*/ 2147483647 h 902"/>
              <a:gd name="T120" fmla="*/ 2147483647 w 1192"/>
              <a:gd name="T121" fmla="*/ 2147483647 h 902"/>
              <a:gd name="T122" fmla="*/ 2147483647 w 1192"/>
              <a:gd name="T123" fmla="*/ 2147483647 h 902"/>
              <a:gd name="T124" fmla="*/ 2147483647 w 1192"/>
              <a:gd name="T125" fmla="*/ 2147483647 h 902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1192"/>
              <a:gd name="T190" fmla="*/ 0 h 902"/>
              <a:gd name="T191" fmla="*/ 1192 w 1192"/>
              <a:gd name="T192" fmla="*/ 902 h 902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1192" h="902">
                <a:moveTo>
                  <a:pt x="816" y="45"/>
                </a:moveTo>
                <a:lnTo>
                  <a:pt x="826" y="53"/>
                </a:lnTo>
                <a:lnTo>
                  <a:pt x="837" y="60"/>
                </a:lnTo>
                <a:lnTo>
                  <a:pt x="847" y="65"/>
                </a:lnTo>
                <a:lnTo>
                  <a:pt x="857" y="69"/>
                </a:lnTo>
                <a:lnTo>
                  <a:pt x="867" y="72"/>
                </a:lnTo>
                <a:lnTo>
                  <a:pt x="879" y="74"/>
                </a:lnTo>
                <a:lnTo>
                  <a:pt x="890" y="75"/>
                </a:lnTo>
                <a:lnTo>
                  <a:pt x="902" y="74"/>
                </a:lnTo>
                <a:lnTo>
                  <a:pt x="896" y="67"/>
                </a:lnTo>
                <a:lnTo>
                  <a:pt x="889" y="60"/>
                </a:lnTo>
                <a:lnTo>
                  <a:pt x="896" y="55"/>
                </a:lnTo>
                <a:lnTo>
                  <a:pt x="899" y="48"/>
                </a:lnTo>
                <a:lnTo>
                  <a:pt x="902" y="42"/>
                </a:lnTo>
                <a:lnTo>
                  <a:pt x="904" y="35"/>
                </a:lnTo>
                <a:lnTo>
                  <a:pt x="904" y="26"/>
                </a:lnTo>
                <a:lnTo>
                  <a:pt x="902" y="18"/>
                </a:lnTo>
                <a:lnTo>
                  <a:pt x="899" y="10"/>
                </a:lnTo>
                <a:lnTo>
                  <a:pt x="894" y="0"/>
                </a:lnTo>
                <a:lnTo>
                  <a:pt x="912" y="25"/>
                </a:lnTo>
                <a:lnTo>
                  <a:pt x="931" y="48"/>
                </a:lnTo>
                <a:lnTo>
                  <a:pt x="941" y="64"/>
                </a:lnTo>
                <a:lnTo>
                  <a:pt x="949" y="79"/>
                </a:lnTo>
                <a:lnTo>
                  <a:pt x="959" y="94"/>
                </a:lnTo>
                <a:lnTo>
                  <a:pt x="970" y="109"/>
                </a:lnTo>
                <a:lnTo>
                  <a:pt x="968" y="112"/>
                </a:lnTo>
                <a:lnTo>
                  <a:pt x="965" y="116"/>
                </a:lnTo>
                <a:lnTo>
                  <a:pt x="959" y="112"/>
                </a:lnTo>
                <a:lnTo>
                  <a:pt x="954" y="107"/>
                </a:lnTo>
                <a:lnTo>
                  <a:pt x="951" y="111"/>
                </a:lnTo>
                <a:lnTo>
                  <a:pt x="946" y="112"/>
                </a:lnTo>
                <a:lnTo>
                  <a:pt x="939" y="112"/>
                </a:lnTo>
                <a:lnTo>
                  <a:pt x="933" y="112"/>
                </a:lnTo>
                <a:lnTo>
                  <a:pt x="927" y="124"/>
                </a:lnTo>
                <a:lnTo>
                  <a:pt x="924" y="134"/>
                </a:lnTo>
                <a:lnTo>
                  <a:pt x="931" y="134"/>
                </a:lnTo>
                <a:lnTo>
                  <a:pt x="938" y="133"/>
                </a:lnTo>
                <a:lnTo>
                  <a:pt x="939" y="128"/>
                </a:lnTo>
                <a:lnTo>
                  <a:pt x="941" y="122"/>
                </a:lnTo>
                <a:lnTo>
                  <a:pt x="943" y="121"/>
                </a:lnTo>
                <a:lnTo>
                  <a:pt x="946" y="121"/>
                </a:lnTo>
                <a:lnTo>
                  <a:pt x="946" y="126"/>
                </a:lnTo>
                <a:lnTo>
                  <a:pt x="946" y="131"/>
                </a:lnTo>
                <a:lnTo>
                  <a:pt x="953" y="131"/>
                </a:lnTo>
                <a:lnTo>
                  <a:pt x="958" y="131"/>
                </a:lnTo>
                <a:lnTo>
                  <a:pt x="965" y="134"/>
                </a:lnTo>
                <a:lnTo>
                  <a:pt x="971" y="138"/>
                </a:lnTo>
                <a:lnTo>
                  <a:pt x="975" y="138"/>
                </a:lnTo>
                <a:lnTo>
                  <a:pt x="980" y="138"/>
                </a:lnTo>
                <a:lnTo>
                  <a:pt x="976" y="131"/>
                </a:lnTo>
                <a:lnTo>
                  <a:pt x="975" y="122"/>
                </a:lnTo>
                <a:lnTo>
                  <a:pt x="976" y="119"/>
                </a:lnTo>
                <a:lnTo>
                  <a:pt x="976" y="117"/>
                </a:lnTo>
                <a:lnTo>
                  <a:pt x="986" y="134"/>
                </a:lnTo>
                <a:lnTo>
                  <a:pt x="995" y="153"/>
                </a:lnTo>
                <a:lnTo>
                  <a:pt x="1005" y="180"/>
                </a:lnTo>
                <a:lnTo>
                  <a:pt x="1012" y="205"/>
                </a:lnTo>
                <a:lnTo>
                  <a:pt x="1018" y="227"/>
                </a:lnTo>
                <a:lnTo>
                  <a:pt x="1020" y="244"/>
                </a:lnTo>
                <a:lnTo>
                  <a:pt x="1037" y="276"/>
                </a:lnTo>
                <a:lnTo>
                  <a:pt x="1054" y="303"/>
                </a:lnTo>
                <a:lnTo>
                  <a:pt x="1062" y="316"/>
                </a:lnTo>
                <a:lnTo>
                  <a:pt x="1072" y="328"/>
                </a:lnTo>
                <a:lnTo>
                  <a:pt x="1081" y="338"/>
                </a:lnTo>
                <a:lnTo>
                  <a:pt x="1092" y="348"/>
                </a:lnTo>
                <a:lnTo>
                  <a:pt x="1101" y="350"/>
                </a:lnTo>
                <a:lnTo>
                  <a:pt x="1108" y="350"/>
                </a:lnTo>
                <a:lnTo>
                  <a:pt x="1113" y="353"/>
                </a:lnTo>
                <a:lnTo>
                  <a:pt x="1118" y="355"/>
                </a:lnTo>
                <a:lnTo>
                  <a:pt x="1126" y="360"/>
                </a:lnTo>
                <a:lnTo>
                  <a:pt x="1133" y="365"/>
                </a:lnTo>
                <a:lnTo>
                  <a:pt x="1138" y="372"/>
                </a:lnTo>
                <a:lnTo>
                  <a:pt x="1141" y="377"/>
                </a:lnTo>
                <a:lnTo>
                  <a:pt x="1145" y="384"/>
                </a:lnTo>
                <a:lnTo>
                  <a:pt x="1146" y="389"/>
                </a:lnTo>
                <a:lnTo>
                  <a:pt x="1146" y="395"/>
                </a:lnTo>
                <a:lnTo>
                  <a:pt x="1146" y="402"/>
                </a:lnTo>
                <a:lnTo>
                  <a:pt x="1136" y="407"/>
                </a:lnTo>
                <a:lnTo>
                  <a:pt x="1126" y="412"/>
                </a:lnTo>
                <a:lnTo>
                  <a:pt x="1129" y="432"/>
                </a:lnTo>
                <a:lnTo>
                  <a:pt x="1135" y="453"/>
                </a:lnTo>
                <a:lnTo>
                  <a:pt x="1151" y="453"/>
                </a:lnTo>
                <a:lnTo>
                  <a:pt x="1168" y="453"/>
                </a:lnTo>
                <a:lnTo>
                  <a:pt x="1178" y="473"/>
                </a:lnTo>
                <a:lnTo>
                  <a:pt x="1188" y="493"/>
                </a:lnTo>
                <a:lnTo>
                  <a:pt x="1190" y="513"/>
                </a:lnTo>
                <a:lnTo>
                  <a:pt x="1192" y="535"/>
                </a:lnTo>
                <a:lnTo>
                  <a:pt x="1185" y="535"/>
                </a:lnTo>
                <a:lnTo>
                  <a:pt x="1177" y="535"/>
                </a:lnTo>
                <a:lnTo>
                  <a:pt x="1175" y="528"/>
                </a:lnTo>
                <a:lnTo>
                  <a:pt x="1170" y="523"/>
                </a:lnTo>
                <a:lnTo>
                  <a:pt x="1161" y="518"/>
                </a:lnTo>
                <a:lnTo>
                  <a:pt x="1146" y="517"/>
                </a:lnTo>
                <a:lnTo>
                  <a:pt x="1145" y="518"/>
                </a:lnTo>
                <a:lnTo>
                  <a:pt x="1145" y="520"/>
                </a:lnTo>
                <a:lnTo>
                  <a:pt x="1145" y="522"/>
                </a:lnTo>
                <a:lnTo>
                  <a:pt x="1146" y="525"/>
                </a:lnTo>
                <a:lnTo>
                  <a:pt x="1155" y="530"/>
                </a:lnTo>
                <a:lnTo>
                  <a:pt x="1173" y="538"/>
                </a:lnTo>
                <a:lnTo>
                  <a:pt x="1172" y="559"/>
                </a:lnTo>
                <a:lnTo>
                  <a:pt x="1170" y="579"/>
                </a:lnTo>
                <a:lnTo>
                  <a:pt x="1156" y="579"/>
                </a:lnTo>
                <a:lnTo>
                  <a:pt x="1141" y="581"/>
                </a:lnTo>
                <a:lnTo>
                  <a:pt x="1138" y="577"/>
                </a:lnTo>
                <a:lnTo>
                  <a:pt x="1135" y="574"/>
                </a:lnTo>
                <a:lnTo>
                  <a:pt x="1131" y="570"/>
                </a:lnTo>
                <a:lnTo>
                  <a:pt x="1126" y="569"/>
                </a:lnTo>
                <a:lnTo>
                  <a:pt x="1116" y="569"/>
                </a:lnTo>
                <a:lnTo>
                  <a:pt x="1104" y="569"/>
                </a:lnTo>
                <a:lnTo>
                  <a:pt x="1109" y="581"/>
                </a:lnTo>
                <a:lnTo>
                  <a:pt x="1116" y="591"/>
                </a:lnTo>
                <a:lnTo>
                  <a:pt x="1119" y="594"/>
                </a:lnTo>
                <a:lnTo>
                  <a:pt x="1123" y="597"/>
                </a:lnTo>
                <a:lnTo>
                  <a:pt x="1128" y="599"/>
                </a:lnTo>
                <a:lnTo>
                  <a:pt x="1133" y="597"/>
                </a:lnTo>
                <a:lnTo>
                  <a:pt x="1140" y="602"/>
                </a:lnTo>
                <a:lnTo>
                  <a:pt x="1146" y="609"/>
                </a:lnTo>
                <a:lnTo>
                  <a:pt x="1146" y="629"/>
                </a:lnTo>
                <a:lnTo>
                  <a:pt x="1146" y="650"/>
                </a:lnTo>
                <a:lnTo>
                  <a:pt x="1135" y="639"/>
                </a:lnTo>
                <a:lnTo>
                  <a:pt x="1123" y="628"/>
                </a:lnTo>
                <a:lnTo>
                  <a:pt x="1104" y="628"/>
                </a:lnTo>
                <a:lnTo>
                  <a:pt x="1087" y="628"/>
                </a:lnTo>
                <a:lnTo>
                  <a:pt x="1069" y="626"/>
                </a:lnTo>
                <a:lnTo>
                  <a:pt x="1050" y="621"/>
                </a:lnTo>
                <a:lnTo>
                  <a:pt x="1034" y="618"/>
                </a:lnTo>
                <a:lnTo>
                  <a:pt x="1015" y="611"/>
                </a:lnTo>
                <a:lnTo>
                  <a:pt x="998" y="606"/>
                </a:lnTo>
                <a:lnTo>
                  <a:pt x="981" y="597"/>
                </a:lnTo>
                <a:lnTo>
                  <a:pt x="965" y="597"/>
                </a:lnTo>
                <a:lnTo>
                  <a:pt x="949" y="597"/>
                </a:lnTo>
                <a:lnTo>
                  <a:pt x="934" y="597"/>
                </a:lnTo>
                <a:lnTo>
                  <a:pt x="917" y="597"/>
                </a:lnTo>
                <a:lnTo>
                  <a:pt x="917" y="592"/>
                </a:lnTo>
                <a:lnTo>
                  <a:pt x="917" y="587"/>
                </a:lnTo>
                <a:lnTo>
                  <a:pt x="921" y="584"/>
                </a:lnTo>
                <a:lnTo>
                  <a:pt x="924" y="581"/>
                </a:lnTo>
                <a:lnTo>
                  <a:pt x="922" y="575"/>
                </a:lnTo>
                <a:lnTo>
                  <a:pt x="922" y="572"/>
                </a:lnTo>
                <a:lnTo>
                  <a:pt x="917" y="569"/>
                </a:lnTo>
                <a:lnTo>
                  <a:pt x="914" y="567"/>
                </a:lnTo>
                <a:lnTo>
                  <a:pt x="909" y="567"/>
                </a:lnTo>
                <a:lnTo>
                  <a:pt x="902" y="569"/>
                </a:lnTo>
                <a:lnTo>
                  <a:pt x="901" y="572"/>
                </a:lnTo>
                <a:lnTo>
                  <a:pt x="897" y="577"/>
                </a:lnTo>
                <a:lnTo>
                  <a:pt x="899" y="581"/>
                </a:lnTo>
                <a:lnTo>
                  <a:pt x="899" y="586"/>
                </a:lnTo>
                <a:lnTo>
                  <a:pt x="902" y="587"/>
                </a:lnTo>
                <a:lnTo>
                  <a:pt x="907" y="589"/>
                </a:lnTo>
                <a:lnTo>
                  <a:pt x="907" y="594"/>
                </a:lnTo>
                <a:lnTo>
                  <a:pt x="909" y="601"/>
                </a:lnTo>
                <a:lnTo>
                  <a:pt x="889" y="602"/>
                </a:lnTo>
                <a:lnTo>
                  <a:pt x="869" y="606"/>
                </a:lnTo>
                <a:lnTo>
                  <a:pt x="870" y="597"/>
                </a:lnTo>
                <a:lnTo>
                  <a:pt x="870" y="591"/>
                </a:lnTo>
                <a:lnTo>
                  <a:pt x="870" y="579"/>
                </a:lnTo>
                <a:lnTo>
                  <a:pt x="870" y="567"/>
                </a:lnTo>
                <a:lnTo>
                  <a:pt x="869" y="562"/>
                </a:lnTo>
                <a:lnTo>
                  <a:pt x="867" y="557"/>
                </a:lnTo>
                <a:lnTo>
                  <a:pt x="867" y="552"/>
                </a:lnTo>
                <a:lnTo>
                  <a:pt x="867" y="547"/>
                </a:lnTo>
                <a:lnTo>
                  <a:pt x="872" y="547"/>
                </a:lnTo>
                <a:lnTo>
                  <a:pt x="877" y="547"/>
                </a:lnTo>
                <a:lnTo>
                  <a:pt x="880" y="550"/>
                </a:lnTo>
                <a:lnTo>
                  <a:pt x="882" y="555"/>
                </a:lnTo>
                <a:lnTo>
                  <a:pt x="882" y="537"/>
                </a:lnTo>
                <a:lnTo>
                  <a:pt x="880" y="520"/>
                </a:lnTo>
                <a:lnTo>
                  <a:pt x="874" y="523"/>
                </a:lnTo>
                <a:lnTo>
                  <a:pt x="867" y="525"/>
                </a:lnTo>
                <a:lnTo>
                  <a:pt x="862" y="532"/>
                </a:lnTo>
                <a:lnTo>
                  <a:pt x="857" y="537"/>
                </a:lnTo>
                <a:lnTo>
                  <a:pt x="857" y="542"/>
                </a:lnTo>
                <a:lnTo>
                  <a:pt x="857" y="545"/>
                </a:lnTo>
                <a:lnTo>
                  <a:pt x="857" y="557"/>
                </a:lnTo>
                <a:lnTo>
                  <a:pt x="857" y="567"/>
                </a:lnTo>
                <a:lnTo>
                  <a:pt x="848" y="567"/>
                </a:lnTo>
                <a:lnTo>
                  <a:pt x="840" y="567"/>
                </a:lnTo>
                <a:lnTo>
                  <a:pt x="837" y="560"/>
                </a:lnTo>
                <a:lnTo>
                  <a:pt x="837" y="554"/>
                </a:lnTo>
                <a:lnTo>
                  <a:pt x="837" y="547"/>
                </a:lnTo>
                <a:lnTo>
                  <a:pt x="840" y="540"/>
                </a:lnTo>
                <a:lnTo>
                  <a:pt x="825" y="528"/>
                </a:lnTo>
                <a:lnTo>
                  <a:pt x="808" y="517"/>
                </a:lnTo>
                <a:lnTo>
                  <a:pt x="808" y="527"/>
                </a:lnTo>
                <a:lnTo>
                  <a:pt x="808" y="537"/>
                </a:lnTo>
                <a:lnTo>
                  <a:pt x="813" y="542"/>
                </a:lnTo>
                <a:lnTo>
                  <a:pt x="816" y="545"/>
                </a:lnTo>
                <a:lnTo>
                  <a:pt x="820" y="549"/>
                </a:lnTo>
                <a:lnTo>
                  <a:pt x="821" y="554"/>
                </a:lnTo>
                <a:lnTo>
                  <a:pt x="821" y="559"/>
                </a:lnTo>
                <a:lnTo>
                  <a:pt x="820" y="562"/>
                </a:lnTo>
                <a:lnTo>
                  <a:pt x="816" y="567"/>
                </a:lnTo>
                <a:lnTo>
                  <a:pt x="813" y="572"/>
                </a:lnTo>
                <a:lnTo>
                  <a:pt x="808" y="575"/>
                </a:lnTo>
                <a:lnTo>
                  <a:pt x="808" y="581"/>
                </a:lnTo>
                <a:lnTo>
                  <a:pt x="810" y="586"/>
                </a:lnTo>
                <a:lnTo>
                  <a:pt x="815" y="592"/>
                </a:lnTo>
                <a:lnTo>
                  <a:pt x="823" y="592"/>
                </a:lnTo>
                <a:lnTo>
                  <a:pt x="826" y="594"/>
                </a:lnTo>
                <a:lnTo>
                  <a:pt x="828" y="599"/>
                </a:lnTo>
                <a:lnTo>
                  <a:pt x="825" y="606"/>
                </a:lnTo>
                <a:lnTo>
                  <a:pt x="843" y="607"/>
                </a:lnTo>
                <a:lnTo>
                  <a:pt x="862" y="609"/>
                </a:lnTo>
                <a:lnTo>
                  <a:pt x="840" y="618"/>
                </a:lnTo>
                <a:lnTo>
                  <a:pt x="820" y="628"/>
                </a:lnTo>
                <a:lnTo>
                  <a:pt x="803" y="639"/>
                </a:lnTo>
                <a:lnTo>
                  <a:pt x="788" y="653"/>
                </a:lnTo>
                <a:lnTo>
                  <a:pt x="774" y="660"/>
                </a:lnTo>
                <a:lnTo>
                  <a:pt x="763" y="668"/>
                </a:lnTo>
                <a:lnTo>
                  <a:pt x="757" y="673"/>
                </a:lnTo>
                <a:lnTo>
                  <a:pt x="754" y="678"/>
                </a:lnTo>
                <a:lnTo>
                  <a:pt x="751" y="683"/>
                </a:lnTo>
                <a:lnTo>
                  <a:pt x="749" y="690"/>
                </a:lnTo>
                <a:lnTo>
                  <a:pt x="737" y="707"/>
                </a:lnTo>
                <a:lnTo>
                  <a:pt x="725" y="719"/>
                </a:lnTo>
                <a:lnTo>
                  <a:pt x="719" y="722"/>
                </a:lnTo>
                <a:lnTo>
                  <a:pt x="714" y="725"/>
                </a:lnTo>
                <a:lnTo>
                  <a:pt x="707" y="727"/>
                </a:lnTo>
                <a:lnTo>
                  <a:pt x="700" y="727"/>
                </a:lnTo>
                <a:lnTo>
                  <a:pt x="683" y="737"/>
                </a:lnTo>
                <a:lnTo>
                  <a:pt x="667" y="746"/>
                </a:lnTo>
                <a:lnTo>
                  <a:pt x="653" y="757"/>
                </a:lnTo>
                <a:lnTo>
                  <a:pt x="640" y="767"/>
                </a:lnTo>
                <a:lnTo>
                  <a:pt x="626" y="779"/>
                </a:lnTo>
                <a:lnTo>
                  <a:pt x="616" y="793"/>
                </a:lnTo>
                <a:lnTo>
                  <a:pt x="606" y="805"/>
                </a:lnTo>
                <a:lnTo>
                  <a:pt x="596" y="818"/>
                </a:lnTo>
                <a:lnTo>
                  <a:pt x="581" y="830"/>
                </a:lnTo>
                <a:lnTo>
                  <a:pt x="564" y="842"/>
                </a:lnTo>
                <a:lnTo>
                  <a:pt x="549" y="853"/>
                </a:lnTo>
                <a:lnTo>
                  <a:pt x="534" y="867"/>
                </a:lnTo>
                <a:lnTo>
                  <a:pt x="535" y="862"/>
                </a:lnTo>
                <a:lnTo>
                  <a:pt x="537" y="857"/>
                </a:lnTo>
                <a:lnTo>
                  <a:pt x="529" y="857"/>
                </a:lnTo>
                <a:lnTo>
                  <a:pt x="522" y="855"/>
                </a:lnTo>
                <a:lnTo>
                  <a:pt x="515" y="850"/>
                </a:lnTo>
                <a:lnTo>
                  <a:pt x="510" y="845"/>
                </a:lnTo>
                <a:lnTo>
                  <a:pt x="507" y="847"/>
                </a:lnTo>
                <a:lnTo>
                  <a:pt x="503" y="848"/>
                </a:lnTo>
                <a:lnTo>
                  <a:pt x="515" y="858"/>
                </a:lnTo>
                <a:lnTo>
                  <a:pt x="527" y="869"/>
                </a:lnTo>
                <a:lnTo>
                  <a:pt x="525" y="875"/>
                </a:lnTo>
                <a:lnTo>
                  <a:pt x="524" y="880"/>
                </a:lnTo>
                <a:lnTo>
                  <a:pt x="520" y="885"/>
                </a:lnTo>
                <a:lnTo>
                  <a:pt x="515" y="889"/>
                </a:lnTo>
                <a:lnTo>
                  <a:pt x="507" y="895"/>
                </a:lnTo>
                <a:lnTo>
                  <a:pt x="495" y="902"/>
                </a:lnTo>
                <a:lnTo>
                  <a:pt x="486" y="901"/>
                </a:lnTo>
                <a:lnTo>
                  <a:pt x="478" y="899"/>
                </a:lnTo>
                <a:lnTo>
                  <a:pt x="478" y="889"/>
                </a:lnTo>
                <a:lnTo>
                  <a:pt x="476" y="879"/>
                </a:lnTo>
                <a:lnTo>
                  <a:pt x="475" y="870"/>
                </a:lnTo>
                <a:lnTo>
                  <a:pt x="473" y="862"/>
                </a:lnTo>
                <a:lnTo>
                  <a:pt x="471" y="853"/>
                </a:lnTo>
                <a:lnTo>
                  <a:pt x="466" y="847"/>
                </a:lnTo>
                <a:lnTo>
                  <a:pt x="460" y="842"/>
                </a:lnTo>
                <a:lnTo>
                  <a:pt x="451" y="837"/>
                </a:lnTo>
                <a:lnTo>
                  <a:pt x="444" y="835"/>
                </a:lnTo>
                <a:lnTo>
                  <a:pt x="438" y="833"/>
                </a:lnTo>
                <a:lnTo>
                  <a:pt x="433" y="830"/>
                </a:lnTo>
                <a:lnTo>
                  <a:pt x="428" y="826"/>
                </a:lnTo>
                <a:lnTo>
                  <a:pt x="423" y="823"/>
                </a:lnTo>
                <a:lnTo>
                  <a:pt x="419" y="820"/>
                </a:lnTo>
                <a:lnTo>
                  <a:pt x="416" y="816"/>
                </a:lnTo>
                <a:lnTo>
                  <a:pt x="414" y="811"/>
                </a:lnTo>
                <a:lnTo>
                  <a:pt x="412" y="803"/>
                </a:lnTo>
                <a:lnTo>
                  <a:pt x="412" y="794"/>
                </a:lnTo>
                <a:lnTo>
                  <a:pt x="399" y="788"/>
                </a:lnTo>
                <a:lnTo>
                  <a:pt x="389" y="783"/>
                </a:lnTo>
                <a:lnTo>
                  <a:pt x="382" y="778"/>
                </a:lnTo>
                <a:lnTo>
                  <a:pt x="377" y="773"/>
                </a:lnTo>
                <a:lnTo>
                  <a:pt x="377" y="769"/>
                </a:lnTo>
                <a:lnTo>
                  <a:pt x="377" y="766"/>
                </a:lnTo>
                <a:lnTo>
                  <a:pt x="379" y="764"/>
                </a:lnTo>
                <a:lnTo>
                  <a:pt x="380" y="761"/>
                </a:lnTo>
                <a:lnTo>
                  <a:pt x="387" y="756"/>
                </a:lnTo>
                <a:lnTo>
                  <a:pt x="399" y="749"/>
                </a:lnTo>
                <a:lnTo>
                  <a:pt x="406" y="739"/>
                </a:lnTo>
                <a:lnTo>
                  <a:pt x="411" y="730"/>
                </a:lnTo>
                <a:lnTo>
                  <a:pt x="409" y="727"/>
                </a:lnTo>
                <a:lnTo>
                  <a:pt x="407" y="724"/>
                </a:lnTo>
                <a:lnTo>
                  <a:pt x="404" y="722"/>
                </a:lnTo>
                <a:lnTo>
                  <a:pt x="397" y="719"/>
                </a:lnTo>
                <a:lnTo>
                  <a:pt x="382" y="714"/>
                </a:lnTo>
                <a:lnTo>
                  <a:pt x="365" y="709"/>
                </a:lnTo>
                <a:lnTo>
                  <a:pt x="355" y="705"/>
                </a:lnTo>
                <a:lnTo>
                  <a:pt x="347" y="703"/>
                </a:lnTo>
                <a:lnTo>
                  <a:pt x="337" y="705"/>
                </a:lnTo>
                <a:lnTo>
                  <a:pt x="328" y="707"/>
                </a:lnTo>
                <a:lnTo>
                  <a:pt x="310" y="720"/>
                </a:lnTo>
                <a:lnTo>
                  <a:pt x="291" y="734"/>
                </a:lnTo>
                <a:lnTo>
                  <a:pt x="273" y="747"/>
                </a:lnTo>
                <a:lnTo>
                  <a:pt x="254" y="761"/>
                </a:lnTo>
                <a:lnTo>
                  <a:pt x="244" y="767"/>
                </a:lnTo>
                <a:lnTo>
                  <a:pt x="234" y="773"/>
                </a:lnTo>
                <a:lnTo>
                  <a:pt x="229" y="773"/>
                </a:lnTo>
                <a:lnTo>
                  <a:pt x="224" y="771"/>
                </a:lnTo>
                <a:lnTo>
                  <a:pt x="219" y="766"/>
                </a:lnTo>
                <a:lnTo>
                  <a:pt x="214" y="759"/>
                </a:lnTo>
                <a:lnTo>
                  <a:pt x="207" y="749"/>
                </a:lnTo>
                <a:lnTo>
                  <a:pt x="200" y="744"/>
                </a:lnTo>
                <a:lnTo>
                  <a:pt x="195" y="741"/>
                </a:lnTo>
                <a:lnTo>
                  <a:pt x="190" y="741"/>
                </a:lnTo>
                <a:lnTo>
                  <a:pt x="180" y="746"/>
                </a:lnTo>
                <a:lnTo>
                  <a:pt x="172" y="756"/>
                </a:lnTo>
                <a:lnTo>
                  <a:pt x="168" y="761"/>
                </a:lnTo>
                <a:lnTo>
                  <a:pt x="163" y="764"/>
                </a:lnTo>
                <a:lnTo>
                  <a:pt x="158" y="766"/>
                </a:lnTo>
                <a:lnTo>
                  <a:pt x="153" y="767"/>
                </a:lnTo>
                <a:lnTo>
                  <a:pt x="150" y="766"/>
                </a:lnTo>
                <a:lnTo>
                  <a:pt x="145" y="766"/>
                </a:lnTo>
                <a:lnTo>
                  <a:pt x="140" y="762"/>
                </a:lnTo>
                <a:lnTo>
                  <a:pt x="135" y="761"/>
                </a:lnTo>
                <a:lnTo>
                  <a:pt x="131" y="754"/>
                </a:lnTo>
                <a:lnTo>
                  <a:pt x="126" y="751"/>
                </a:lnTo>
                <a:lnTo>
                  <a:pt x="121" y="751"/>
                </a:lnTo>
                <a:lnTo>
                  <a:pt x="116" y="751"/>
                </a:lnTo>
                <a:lnTo>
                  <a:pt x="111" y="752"/>
                </a:lnTo>
                <a:lnTo>
                  <a:pt x="104" y="757"/>
                </a:lnTo>
                <a:lnTo>
                  <a:pt x="99" y="764"/>
                </a:lnTo>
                <a:lnTo>
                  <a:pt x="93" y="773"/>
                </a:lnTo>
                <a:lnTo>
                  <a:pt x="81" y="779"/>
                </a:lnTo>
                <a:lnTo>
                  <a:pt x="69" y="786"/>
                </a:lnTo>
                <a:lnTo>
                  <a:pt x="59" y="791"/>
                </a:lnTo>
                <a:lnTo>
                  <a:pt x="49" y="794"/>
                </a:lnTo>
                <a:lnTo>
                  <a:pt x="32" y="798"/>
                </a:lnTo>
                <a:lnTo>
                  <a:pt x="15" y="799"/>
                </a:lnTo>
                <a:lnTo>
                  <a:pt x="8" y="799"/>
                </a:lnTo>
                <a:lnTo>
                  <a:pt x="0" y="799"/>
                </a:lnTo>
                <a:lnTo>
                  <a:pt x="20" y="773"/>
                </a:lnTo>
                <a:lnTo>
                  <a:pt x="40" y="747"/>
                </a:lnTo>
                <a:lnTo>
                  <a:pt x="52" y="735"/>
                </a:lnTo>
                <a:lnTo>
                  <a:pt x="62" y="725"/>
                </a:lnTo>
                <a:lnTo>
                  <a:pt x="74" y="717"/>
                </a:lnTo>
                <a:lnTo>
                  <a:pt x="84" y="709"/>
                </a:lnTo>
                <a:lnTo>
                  <a:pt x="93" y="700"/>
                </a:lnTo>
                <a:lnTo>
                  <a:pt x="101" y="695"/>
                </a:lnTo>
                <a:lnTo>
                  <a:pt x="104" y="693"/>
                </a:lnTo>
                <a:lnTo>
                  <a:pt x="108" y="692"/>
                </a:lnTo>
                <a:lnTo>
                  <a:pt x="113" y="693"/>
                </a:lnTo>
                <a:lnTo>
                  <a:pt x="116" y="693"/>
                </a:lnTo>
                <a:lnTo>
                  <a:pt x="123" y="693"/>
                </a:lnTo>
                <a:lnTo>
                  <a:pt x="128" y="690"/>
                </a:lnTo>
                <a:lnTo>
                  <a:pt x="131" y="687"/>
                </a:lnTo>
                <a:lnTo>
                  <a:pt x="135" y="682"/>
                </a:lnTo>
                <a:lnTo>
                  <a:pt x="136" y="673"/>
                </a:lnTo>
                <a:lnTo>
                  <a:pt x="140" y="668"/>
                </a:lnTo>
                <a:lnTo>
                  <a:pt x="141" y="665"/>
                </a:lnTo>
                <a:lnTo>
                  <a:pt x="145" y="665"/>
                </a:lnTo>
                <a:lnTo>
                  <a:pt x="150" y="666"/>
                </a:lnTo>
                <a:lnTo>
                  <a:pt x="157" y="673"/>
                </a:lnTo>
                <a:lnTo>
                  <a:pt x="170" y="673"/>
                </a:lnTo>
                <a:lnTo>
                  <a:pt x="182" y="673"/>
                </a:lnTo>
                <a:lnTo>
                  <a:pt x="195" y="673"/>
                </a:lnTo>
                <a:lnTo>
                  <a:pt x="207" y="673"/>
                </a:lnTo>
                <a:lnTo>
                  <a:pt x="214" y="673"/>
                </a:lnTo>
                <a:lnTo>
                  <a:pt x="219" y="671"/>
                </a:lnTo>
                <a:lnTo>
                  <a:pt x="222" y="668"/>
                </a:lnTo>
                <a:lnTo>
                  <a:pt x="224" y="666"/>
                </a:lnTo>
                <a:lnTo>
                  <a:pt x="226" y="663"/>
                </a:lnTo>
                <a:lnTo>
                  <a:pt x="226" y="658"/>
                </a:lnTo>
                <a:lnTo>
                  <a:pt x="224" y="653"/>
                </a:lnTo>
                <a:lnTo>
                  <a:pt x="222" y="648"/>
                </a:lnTo>
                <a:lnTo>
                  <a:pt x="217" y="641"/>
                </a:lnTo>
                <a:lnTo>
                  <a:pt x="215" y="636"/>
                </a:lnTo>
                <a:lnTo>
                  <a:pt x="217" y="631"/>
                </a:lnTo>
                <a:lnTo>
                  <a:pt x="221" y="628"/>
                </a:lnTo>
                <a:lnTo>
                  <a:pt x="226" y="619"/>
                </a:lnTo>
                <a:lnTo>
                  <a:pt x="227" y="609"/>
                </a:lnTo>
                <a:lnTo>
                  <a:pt x="227" y="599"/>
                </a:lnTo>
                <a:lnTo>
                  <a:pt x="227" y="587"/>
                </a:lnTo>
                <a:lnTo>
                  <a:pt x="226" y="584"/>
                </a:lnTo>
                <a:lnTo>
                  <a:pt x="226" y="581"/>
                </a:lnTo>
                <a:lnTo>
                  <a:pt x="226" y="577"/>
                </a:lnTo>
                <a:lnTo>
                  <a:pt x="227" y="575"/>
                </a:lnTo>
                <a:lnTo>
                  <a:pt x="231" y="574"/>
                </a:lnTo>
                <a:lnTo>
                  <a:pt x="234" y="574"/>
                </a:lnTo>
                <a:lnTo>
                  <a:pt x="237" y="575"/>
                </a:lnTo>
                <a:lnTo>
                  <a:pt x="241" y="579"/>
                </a:lnTo>
                <a:lnTo>
                  <a:pt x="249" y="579"/>
                </a:lnTo>
                <a:lnTo>
                  <a:pt x="254" y="579"/>
                </a:lnTo>
                <a:lnTo>
                  <a:pt x="258" y="577"/>
                </a:lnTo>
                <a:lnTo>
                  <a:pt x="258" y="575"/>
                </a:lnTo>
                <a:lnTo>
                  <a:pt x="258" y="572"/>
                </a:lnTo>
                <a:lnTo>
                  <a:pt x="254" y="567"/>
                </a:lnTo>
                <a:lnTo>
                  <a:pt x="251" y="564"/>
                </a:lnTo>
                <a:lnTo>
                  <a:pt x="249" y="560"/>
                </a:lnTo>
                <a:lnTo>
                  <a:pt x="249" y="557"/>
                </a:lnTo>
                <a:lnTo>
                  <a:pt x="249" y="555"/>
                </a:lnTo>
                <a:lnTo>
                  <a:pt x="254" y="552"/>
                </a:lnTo>
                <a:lnTo>
                  <a:pt x="264" y="552"/>
                </a:lnTo>
                <a:lnTo>
                  <a:pt x="271" y="549"/>
                </a:lnTo>
                <a:lnTo>
                  <a:pt x="278" y="545"/>
                </a:lnTo>
                <a:lnTo>
                  <a:pt x="281" y="535"/>
                </a:lnTo>
                <a:lnTo>
                  <a:pt x="283" y="533"/>
                </a:lnTo>
                <a:lnTo>
                  <a:pt x="286" y="535"/>
                </a:lnTo>
                <a:lnTo>
                  <a:pt x="290" y="543"/>
                </a:lnTo>
                <a:lnTo>
                  <a:pt x="295" y="554"/>
                </a:lnTo>
                <a:lnTo>
                  <a:pt x="298" y="559"/>
                </a:lnTo>
                <a:lnTo>
                  <a:pt x="301" y="557"/>
                </a:lnTo>
                <a:lnTo>
                  <a:pt x="303" y="549"/>
                </a:lnTo>
                <a:lnTo>
                  <a:pt x="303" y="540"/>
                </a:lnTo>
                <a:lnTo>
                  <a:pt x="305" y="533"/>
                </a:lnTo>
                <a:lnTo>
                  <a:pt x="306" y="528"/>
                </a:lnTo>
                <a:lnTo>
                  <a:pt x="308" y="527"/>
                </a:lnTo>
                <a:lnTo>
                  <a:pt x="313" y="525"/>
                </a:lnTo>
                <a:lnTo>
                  <a:pt x="316" y="525"/>
                </a:lnTo>
                <a:lnTo>
                  <a:pt x="322" y="528"/>
                </a:lnTo>
                <a:lnTo>
                  <a:pt x="328" y="532"/>
                </a:lnTo>
                <a:lnTo>
                  <a:pt x="333" y="545"/>
                </a:lnTo>
                <a:lnTo>
                  <a:pt x="340" y="557"/>
                </a:lnTo>
                <a:lnTo>
                  <a:pt x="342" y="562"/>
                </a:lnTo>
                <a:lnTo>
                  <a:pt x="343" y="564"/>
                </a:lnTo>
                <a:lnTo>
                  <a:pt x="347" y="565"/>
                </a:lnTo>
                <a:lnTo>
                  <a:pt x="348" y="567"/>
                </a:lnTo>
                <a:lnTo>
                  <a:pt x="353" y="564"/>
                </a:lnTo>
                <a:lnTo>
                  <a:pt x="360" y="557"/>
                </a:lnTo>
                <a:lnTo>
                  <a:pt x="362" y="547"/>
                </a:lnTo>
                <a:lnTo>
                  <a:pt x="365" y="540"/>
                </a:lnTo>
                <a:lnTo>
                  <a:pt x="369" y="535"/>
                </a:lnTo>
                <a:lnTo>
                  <a:pt x="372" y="532"/>
                </a:lnTo>
                <a:lnTo>
                  <a:pt x="375" y="528"/>
                </a:lnTo>
                <a:lnTo>
                  <a:pt x="380" y="528"/>
                </a:lnTo>
                <a:lnTo>
                  <a:pt x="387" y="528"/>
                </a:lnTo>
                <a:lnTo>
                  <a:pt x="392" y="530"/>
                </a:lnTo>
                <a:lnTo>
                  <a:pt x="401" y="532"/>
                </a:lnTo>
                <a:lnTo>
                  <a:pt x="407" y="530"/>
                </a:lnTo>
                <a:lnTo>
                  <a:pt x="416" y="528"/>
                </a:lnTo>
                <a:lnTo>
                  <a:pt x="424" y="523"/>
                </a:lnTo>
                <a:lnTo>
                  <a:pt x="431" y="518"/>
                </a:lnTo>
                <a:lnTo>
                  <a:pt x="438" y="515"/>
                </a:lnTo>
                <a:lnTo>
                  <a:pt x="444" y="517"/>
                </a:lnTo>
                <a:lnTo>
                  <a:pt x="453" y="520"/>
                </a:lnTo>
                <a:lnTo>
                  <a:pt x="466" y="522"/>
                </a:lnTo>
                <a:lnTo>
                  <a:pt x="480" y="522"/>
                </a:lnTo>
                <a:lnTo>
                  <a:pt x="492" y="522"/>
                </a:lnTo>
                <a:lnTo>
                  <a:pt x="503" y="520"/>
                </a:lnTo>
                <a:lnTo>
                  <a:pt x="512" y="517"/>
                </a:lnTo>
                <a:lnTo>
                  <a:pt x="518" y="515"/>
                </a:lnTo>
                <a:lnTo>
                  <a:pt x="524" y="510"/>
                </a:lnTo>
                <a:lnTo>
                  <a:pt x="525" y="506"/>
                </a:lnTo>
                <a:lnTo>
                  <a:pt x="527" y="495"/>
                </a:lnTo>
                <a:lnTo>
                  <a:pt x="529" y="488"/>
                </a:lnTo>
                <a:lnTo>
                  <a:pt x="532" y="481"/>
                </a:lnTo>
                <a:lnTo>
                  <a:pt x="537" y="478"/>
                </a:lnTo>
                <a:lnTo>
                  <a:pt x="542" y="476"/>
                </a:lnTo>
                <a:lnTo>
                  <a:pt x="547" y="476"/>
                </a:lnTo>
                <a:lnTo>
                  <a:pt x="552" y="479"/>
                </a:lnTo>
                <a:lnTo>
                  <a:pt x="559" y="483"/>
                </a:lnTo>
                <a:lnTo>
                  <a:pt x="567" y="485"/>
                </a:lnTo>
                <a:lnTo>
                  <a:pt x="574" y="483"/>
                </a:lnTo>
                <a:lnTo>
                  <a:pt x="581" y="481"/>
                </a:lnTo>
                <a:lnTo>
                  <a:pt x="586" y="478"/>
                </a:lnTo>
                <a:lnTo>
                  <a:pt x="589" y="474"/>
                </a:lnTo>
                <a:lnTo>
                  <a:pt x="593" y="468"/>
                </a:lnTo>
                <a:lnTo>
                  <a:pt x="594" y="461"/>
                </a:lnTo>
                <a:lnTo>
                  <a:pt x="598" y="453"/>
                </a:lnTo>
                <a:lnTo>
                  <a:pt x="598" y="441"/>
                </a:lnTo>
                <a:lnTo>
                  <a:pt x="598" y="431"/>
                </a:lnTo>
                <a:lnTo>
                  <a:pt x="601" y="421"/>
                </a:lnTo>
                <a:lnTo>
                  <a:pt x="604" y="414"/>
                </a:lnTo>
                <a:lnTo>
                  <a:pt x="608" y="409"/>
                </a:lnTo>
                <a:lnTo>
                  <a:pt x="614" y="405"/>
                </a:lnTo>
                <a:lnTo>
                  <a:pt x="621" y="404"/>
                </a:lnTo>
                <a:lnTo>
                  <a:pt x="630" y="404"/>
                </a:lnTo>
                <a:lnTo>
                  <a:pt x="641" y="402"/>
                </a:lnTo>
                <a:lnTo>
                  <a:pt x="651" y="402"/>
                </a:lnTo>
                <a:lnTo>
                  <a:pt x="660" y="404"/>
                </a:lnTo>
                <a:lnTo>
                  <a:pt x="665" y="409"/>
                </a:lnTo>
                <a:lnTo>
                  <a:pt x="668" y="414"/>
                </a:lnTo>
                <a:lnTo>
                  <a:pt x="670" y="421"/>
                </a:lnTo>
                <a:lnTo>
                  <a:pt x="672" y="429"/>
                </a:lnTo>
                <a:lnTo>
                  <a:pt x="670" y="439"/>
                </a:lnTo>
                <a:lnTo>
                  <a:pt x="656" y="454"/>
                </a:lnTo>
                <a:lnTo>
                  <a:pt x="643" y="468"/>
                </a:lnTo>
                <a:lnTo>
                  <a:pt x="641" y="473"/>
                </a:lnTo>
                <a:lnTo>
                  <a:pt x="640" y="478"/>
                </a:lnTo>
                <a:lnTo>
                  <a:pt x="640" y="481"/>
                </a:lnTo>
                <a:lnTo>
                  <a:pt x="641" y="483"/>
                </a:lnTo>
                <a:lnTo>
                  <a:pt x="643" y="485"/>
                </a:lnTo>
                <a:lnTo>
                  <a:pt x="646" y="486"/>
                </a:lnTo>
                <a:lnTo>
                  <a:pt x="650" y="486"/>
                </a:lnTo>
                <a:lnTo>
                  <a:pt x="656" y="486"/>
                </a:lnTo>
                <a:lnTo>
                  <a:pt x="675" y="481"/>
                </a:lnTo>
                <a:lnTo>
                  <a:pt x="694" y="478"/>
                </a:lnTo>
                <a:lnTo>
                  <a:pt x="697" y="474"/>
                </a:lnTo>
                <a:lnTo>
                  <a:pt x="702" y="473"/>
                </a:lnTo>
                <a:lnTo>
                  <a:pt x="705" y="473"/>
                </a:lnTo>
                <a:lnTo>
                  <a:pt x="710" y="474"/>
                </a:lnTo>
                <a:lnTo>
                  <a:pt x="717" y="478"/>
                </a:lnTo>
                <a:lnTo>
                  <a:pt x="725" y="485"/>
                </a:lnTo>
                <a:lnTo>
                  <a:pt x="729" y="490"/>
                </a:lnTo>
                <a:lnTo>
                  <a:pt x="732" y="493"/>
                </a:lnTo>
                <a:lnTo>
                  <a:pt x="734" y="496"/>
                </a:lnTo>
                <a:lnTo>
                  <a:pt x="737" y="498"/>
                </a:lnTo>
                <a:lnTo>
                  <a:pt x="741" y="498"/>
                </a:lnTo>
                <a:lnTo>
                  <a:pt x="744" y="496"/>
                </a:lnTo>
                <a:lnTo>
                  <a:pt x="747" y="493"/>
                </a:lnTo>
                <a:lnTo>
                  <a:pt x="751" y="491"/>
                </a:lnTo>
                <a:lnTo>
                  <a:pt x="763" y="478"/>
                </a:lnTo>
                <a:lnTo>
                  <a:pt x="776" y="464"/>
                </a:lnTo>
                <a:lnTo>
                  <a:pt x="776" y="451"/>
                </a:lnTo>
                <a:lnTo>
                  <a:pt x="778" y="441"/>
                </a:lnTo>
                <a:lnTo>
                  <a:pt x="779" y="436"/>
                </a:lnTo>
                <a:lnTo>
                  <a:pt x="781" y="434"/>
                </a:lnTo>
                <a:lnTo>
                  <a:pt x="784" y="432"/>
                </a:lnTo>
                <a:lnTo>
                  <a:pt x="788" y="434"/>
                </a:lnTo>
                <a:lnTo>
                  <a:pt x="803" y="437"/>
                </a:lnTo>
                <a:lnTo>
                  <a:pt x="820" y="442"/>
                </a:lnTo>
                <a:lnTo>
                  <a:pt x="828" y="444"/>
                </a:lnTo>
                <a:lnTo>
                  <a:pt x="838" y="444"/>
                </a:lnTo>
                <a:lnTo>
                  <a:pt x="842" y="444"/>
                </a:lnTo>
                <a:lnTo>
                  <a:pt x="845" y="441"/>
                </a:lnTo>
                <a:lnTo>
                  <a:pt x="848" y="437"/>
                </a:lnTo>
                <a:lnTo>
                  <a:pt x="852" y="434"/>
                </a:lnTo>
                <a:lnTo>
                  <a:pt x="857" y="426"/>
                </a:lnTo>
                <a:lnTo>
                  <a:pt x="862" y="416"/>
                </a:lnTo>
                <a:lnTo>
                  <a:pt x="864" y="407"/>
                </a:lnTo>
                <a:lnTo>
                  <a:pt x="864" y="397"/>
                </a:lnTo>
                <a:lnTo>
                  <a:pt x="862" y="387"/>
                </a:lnTo>
                <a:lnTo>
                  <a:pt x="858" y="378"/>
                </a:lnTo>
                <a:lnTo>
                  <a:pt x="855" y="367"/>
                </a:lnTo>
                <a:lnTo>
                  <a:pt x="850" y="357"/>
                </a:lnTo>
                <a:lnTo>
                  <a:pt x="837" y="328"/>
                </a:lnTo>
                <a:lnTo>
                  <a:pt x="828" y="299"/>
                </a:lnTo>
                <a:lnTo>
                  <a:pt x="825" y="286"/>
                </a:lnTo>
                <a:lnTo>
                  <a:pt x="823" y="272"/>
                </a:lnTo>
                <a:lnTo>
                  <a:pt x="823" y="259"/>
                </a:lnTo>
                <a:lnTo>
                  <a:pt x="826" y="247"/>
                </a:lnTo>
                <a:lnTo>
                  <a:pt x="826" y="232"/>
                </a:lnTo>
                <a:lnTo>
                  <a:pt x="826" y="215"/>
                </a:lnTo>
                <a:lnTo>
                  <a:pt x="816" y="220"/>
                </a:lnTo>
                <a:lnTo>
                  <a:pt x="808" y="222"/>
                </a:lnTo>
                <a:lnTo>
                  <a:pt x="796" y="224"/>
                </a:lnTo>
                <a:lnTo>
                  <a:pt x="784" y="222"/>
                </a:lnTo>
                <a:lnTo>
                  <a:pt x="776" y="222"/>
                </a:lnTo>
                <a:lnTo>
                  <a:pt x="771" y="224"/>
                </a:lnTo>
                <a:lnTo>
                  <a:pt x="766" y="227"/>
                </a:lnTo>
                <a:lnTo>
                  <a:pt x="761" y="232"/>
                </a:lnTo>
                <a:lnTo>
                  <a:pt x="756" y="242"/>
                </a:lnTo>
                <a:lnTo>
                  <a:pt x="751" y="249"/>
                </a:lnTo>
                <a:lnTo>
                  <a:pt x="744" y="254"/>
                </a:lnTo>
                <a:lnTo>
                  <a:pt x="737" y="256"/>
                </a:lnTo>
                <a:lnTo>
                  <a:pt x="734" y="256"/>
                </a:lnTo>
                <a:lnTo>
                  <a:pt x="731" y="254"/>
                </a:lnTo>
                <a:lnTo>
                  <a:pt x="727" y="252"/>
                </a:lnTo>
                <a:lnTo>
                  <a:pt x="725" y="249"/>
                </a:lnTo>
                <a:lnTo>
                  <a:pt x="722" y="240"/>
                </a:lnTo>
                <a:lnTo>
                  <a:pt x="720" y="229"/>
                </a:lnTo>
                <a:lnTo>
                  <a:pt x="724" y="213"/>
                </a:lnTo>
                <a:lnTo>
                  <a:pt x="727" y="198"/>
                </a:lnTo>
                <a:lnTo>
                  <a:pt x="736" y="186"/>
                </a:lnTo>
                <a:lnTo>
                  <a:pt x="746" y="176"/>
                </a:lnTo>
                <a:lnTo>
                  <a:pt x="751" y="171"/>
                </a:lnTo>
                <a:lnTo>
                  <a:pt x="757" y="168"/>
                </a:lnTo>
                <a:lnTo>
                  <a:pt x="763" y="165"/>
                </a:lnTo>
                <a:lnTo>
                  <a:pt x="769" y="161"/>
                </a:lnTo>
                <a:lnTo>
                  <a:pt x="784" y="158"/>
                </a:lnTo>
                <a:lnTo>
                  <a:pt x="801" y="156"/>
                </a:lnTo>
                <a:lnTo>
                  <a:pt x="806" y="154"/>
                </a:lnTo>
                <a:lnTo>
                  <a:pt x="810" y="151"/>
                </a:lnTo>
                <a:lnTo>
                  <a:pt x="811" y="146"/>
                </a:lnTo>
                <a:lnTo>
                  <a:pt x="813" y="143"/>
                </a:lnTo>
                <a:lnTo>
                  <a:pt x="816" y="131"/>
                </a:lnTo>
                <a:lnTo>
                  <a:pt x="816" y="117"/>
                </a:lnTo>
                <a:lnTo>
                  <a:pt x="816" y="106"/>
                </a:lnTo>
                <a:lnTo>
                  <a:pt x="818" y="94"/>
                </a:lnTo>
                <a:lnTo>
                  <a:pt x="816" y="70"/>
                </a:lnTo>
                <a:lnTo>
                  <a:pt x="816" y="45"/>
                </a:lnTo>
                <a:close/>
              </a:path>
            </a:pathLst>
          </a:custGeom>
          <a:solidFill>
            <a:srgbClr val="CCECFF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332913" name="Oval 29"/>
          <p:cNvSpPr>
            <a:spLocks noChangeAspect="1" noChangeArrowheads="1"/>
          </p:cNvSpPr>
          <p:nvPr>
            <p:custDataLst>
              <p:tags r:id="rId19"/>
            </p:custDataLst>
          </p:nvPr>
        </p:nvSpPr>
        <p:spPr bwMode="auto">
          <a:xfrm>
            <a:off x="3236913" y="2425700"/>
            <a:ext cx="57150" cy="55563"/>
          </a:xfrm>
          <a:prstGeom prst="ellipse">
            <a:avLst/>
          </a:prstGeom>
          <a:solidFill>
            <a:srgbClr val="808080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</a:pPr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332914" name="Oval 30"/>
          <p:cNvSpPr>
            <a:spLocks noChangeAspect="1" noChangeArrowheads="1"/>
          </p:cNvSpPr>
          <p:nvPr>
            <p:custDataLst>
              <p:tags r:id="rId20"/>
            </p:custDataLst>
          </p:nvPr>
        </p:nvSpPr>
        <p:spPr bwMode="auto">
          <a:xfrm>
            <a:off x="2252663" y="2871788"/>
            <a:ext cx="58737" cy="55562"/>
          </a:xfrm>
          <a:prstGeom prst="ellipse">
            <a:avLst/>
          </a:prstGeom>
          <a:solidFill>
            <a:srgbClr val="808080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</a:pPr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332915" name="Oval 31"/>
          <p:cNvSpPr>
            <a:spLocks noChangeAspect="1" noChangeArrowheads="1"/>
          </p:cNvSpPr>
          <p:nvPr>
            <p:custDataLst>
              <p:tags r:id="rId21"/>
            </p:custDataLst>
          </p:nvPr>
        </p:nvSpPr>
        <p:spPr bwMode="auto">
          <a:xfrm>
            <a:off x="3743325" y="3184525"/>
            <a:ext cx="55563" cy="53975"/>
          </a:xfrm>
          <a:prstGeom prst="ellipse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</a:pPr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332916" name="Oval 32"/>
          <p:cNvSpPr>
            <a:spLocks noChangeAspect="1" noChangeArrowheads="1"/>
          </p:cNvSpPr>
          <p:nvPr>
            <p:custDataLst>
              <p:tags r:id="rId22"/>
            </p:custDataLst>
          </p:nvPr>
        </p:nvSpPr>
        <p:spPr bwMode="auto">
          <a:xfrm>
            <a:off x="3862388" y="2690813"/>
            <a:ext cx="58737" cy="53975"/>
          </a:xfrm>
          <a:prstGeom prst="ellipse">
            <a:avLst/>
          </a:prstGeom>
          <a:solidFill>
            <a:srgbClr val="808080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</a:pPr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332917" name="Oval 33"/>
          <p:cNvSpPr>
            <a:spLocks noChangeAspect="1" noChangeArrowheads="1"/>
          </p:cNvSpPr>
          <p:nvPr>
            <p:custDataLst>
              <p:tags r:id="rId23"/>
            </p:custDataLst>
          </p:nvPr>
        </p:nvSpPr>
        <p:spPr bwMode="auto">
          <a:xfrm>
            <a:off x="3243263" y="3017838"/>
            <a:ext cx="57150" cy="57150"/>
          </a:xfrm>
          <a:prstGeom prst="ellipse">
            <a:avLst/>
          </a:prstGeom>
          <a:solidFill>
            <a:srgbClr val="808080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</a:pPr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332918" name="Text Box 40"/>
          <p:cNvSpPr txBox="1">
            <a:spLocks noChangeAspect="1" noChangeArrowheads="1"/>
          </p:cNvSpPr>
          <p:nvPr>
            <p:custDataLst>
              <p:tags r:id="rId24"/>
            </p:custDataLst>
          </p:nvPr>
        </p:nvSpPr>
        <p:spPr bwMode="auto">
          <a:xfrm>
            <a:off x="5686425" y="4810125"/>
            <a:ext cx="714375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/>
            <a:r>
              <a:rPr lang="ru-RU" sz="800" b="1"/>
              <a:t>Беринговский</a:t>
            </a:r>
          </a:p>
        </p:txBody>
      </p:sp>
      <p:sp>
        <p:nvSpPr>
          <p:cNvPr id="332919" name="Text Box 41"/>
          <p:cNvSpPr txBox="1">
            <a:spLocks noChangeAspect="1" noChangeArrowheads="1"/>
          </p:cNvSpPr>
          <p:nvPr>
            <p:custDataLst>
              <p:tags r:id="rId25"/>
            </p:custDataLst>
          </p:nvPr>
        </p:nvSpPr>
        <p:spPr bwMode="auto">
          <a:xfrm>
            <a:off x="5786438" y="2876550"/>
            <a:ext cx="582612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/>
            <a:r>
              <a:rPr lang="ru-RU" sz="900" b="1"/>
              <a:t>Эгвекинот</a:t>
            </a:r>
          </a:p>
        </p:txBody>
      </p:sp>
      <p:sp>
        <p:nvSpPr>
          <p:cNvPr id="332920" name="Text Box 42"/>
          <p:cNvSpPr txBox="1">
            <a:spLocks noChangeAspect="1" noChangeArrowheads="1"/>
          </p:cNvSpPr>
          <p:nvPr>
            <p:custDataLst>
              <p:tags r:id="rId26"/>
            </p:custDataLst>
          </p:nvPr>
        </p:nvSpPr>
        <p:spPr bwMode="auto">
          <a:xfrm>
            <a:off x="3289300" y="2306638"/>
            <a:ext cx="573088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/>
            <a:r>
              <a:rPr lang="ru-RU" sz="900" b="1"/>
              <a:t>Билибино</a:t>
            </a:r>
          </a:p>
        </p:txBody>
      </p:sp>
      <p:sp>
        <p:nvSpPr>
          <p:cNvPr id="332921" name="Text Box 43"/>
          <p:cNvSpPr txBox="1">
            <a:spLocks noChangeAspect="1" noChangeArrowheads="1"/>
          </p:cNvSpPr>
          <p:nvPr>
            <p:custDataLst>
              <p:tags r:id="rId27"/>
            </p:custDataLst>
          </p:nvPr>
        </p:nvSpPr>
        <p:spPr bwMode="auto">
          <a:xfrm>
            <a:off x="3713163" y="1450975"/>
            <a:ext cx="355600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algn="ctr"/>
            <a:r>
              <a:rPr lang="ru-RU" sz="900" b="1"/>
              <a:t>Певек</a:t>
            </a:r>
          </a:p>
        </p:txBody>
      </p:sp>
      <p:sp>
        <p:nvSpPr>
          <p:cNvPr id="332922" name="Text Box 44"/>
          <p:cNvSpPr txBox="1">
            <a:spLocks noChangeAspect="1" noChangeArrowheads="1"/>
          </p:cNvSpPr>
          <p:nvPr>
            <p:custDataLst>
              <p:tags r:id="rId28"/>
            </p:custDataLst>
          </p:nvPr>
        </p:nvSpPr>
        <p:spPr bwMode="auto">
          <a:xfrm>
            <a:off x="2706688" y="2454275"/>
            <a:ext cx="579437" cy="1222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algn="ctr"/>
            <a:r>
              <a:rPr lang="ru-RU" sz="800" i="1"/>
              <a:t>Каральвеем</a:t>
            </a:r>
          </a:p>
        </p:txBody>
      </p:sp>
      <p:sp>
        <p:nvSpPr>
          <p:cNvPr id="332923" name="Text Box 45"/>
          <p:cNvSpPr txBox="1">
            <a:spLocks noChangeAspect="1" noChangeArrowheads="1"/>
          </p:cNvSpPr>
          <p:nvPr>
            <p:custDataLst>
              <p:tags r:id="rId29"/>
            </p:custDataLst>
          </p:nvPr>
        </p:nvSpPr>
        <p:spPr bwMode="auto">
          <a:xfrm>
            <a:off x="3876675" y="2570163"/>
            <a:ext cx="404813" cy="1222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/>
            <a:r>
              <a:rPr lang="ru-RU" sz="800" i="1"/>
              <a:t>Двойное</a:t>
            </a:r>
          </a:p>
        </p:txBody>
      </p:sp>
      <p:sp>
        <p:nvSpPr>
          <p:cNvPr id="332924" name="Text Box 46"/>
          <p:cNvSpPr txBox="1">
            <a:spLocks noChangeAspect="1" noChangeArrowheads="1"/>
          </p:cNvSpPr>
          <p:nvPr>
            <p:custDataLst>
              <p:tags r:id="rId30"/>
            </p:custDataLst>
          </p:nvPr>
        </p:nvSpPr>
        <p:spPr bwMode="auto">
          <a:xfrm>
            <a:off x="5576888" y="3109913"/>
            <a:ext cx="595312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/>
            <a:r>
              <a:rPr lang="ru-RU" sz="800" i="1"/>
              <a:t>Валунистое</a:t>
            </a:r>
          </a:p>
        </p:txBody>
      </p:sp>
      <p:sp>
        <p:nvSpPr>
          <p:cNvPr id="332925" name="Freeform 47"/>
          <p:cNvSpPr>
            <a:spLocks noChangeAspect="1"/>
          </p:cNvSpPr>
          <p:nvPr>
            <p:custDataLst>
              <p:tags r:id="rId31"/>
            </p:custDataLst>
          </p:nvPr>
        </p:nvSpPr>
        <p:spPr bwMode="auto">
          <a:xfrm rot="-7298297">
            <a:off x="4625181" y="3661570"/>
            <a:ext cx="1184275" cy="868362"/>
          </a:xfrm>
          <a:custGeom>
            <a:avLst/>
            <a:gdLst>
              <a:gd name="T0" fmla="*/ 2147483647 w 394"/>
              <a:gd name="T1" fmla="*/ 2147483647 h 307"/>
              <a:gd name="T2" fmla="*/ 2147483647 w 394"/>
              <a:gd name="T3" fmla="*/ 2147483647 h 307"/>
              <a:gd name="T4" fmla="*/ 2147483647 w 394"/>
              <a:gd name="T5" fmla="*/ 2147483647 h 307"/>
              <a:gd name="T6" fmla="*/ 2147483647 w 394"/>
              <a:gd name="T7" fmla="*/ 2147483647 h 307"/>
              <a:gd name="T8" fmla="*/ 2147483647 w 394"/>
              <a:gd name="T9" fmla="*/ 2147483647 h 307"/>
              <a:gd name="T10" fmla="*/ 2147483647 w 394"/>
              <a:gd name="T11" fmla="*/ 2147483647 h 307"/>
              <a:gd name="T12" fmla="*/ 2147483647 w 394"/>
              <a:gd name="T13" fmla="*/ 2147483647 h 307"/>
              <a:gd name="T14" fmla="*/ 2147483647 w 394"/>
              <a:gd name="T15" fmla="*/ 2147483647 h 307"/>
              <a:gd name="T16" fmla="*/ 2147483647 w 394"/>
              <a:gd name="T17" fmla="*/ 2147483647 h 307"/>
              <a:gd name="T18" fmla="*/ 2147483647 w 394"/>
              <a:gd name="T19" fmla="*/ 0 h 307"/>
              <a:gd name="T20" fmla="*/ 2147483647 w 394"/>
              <a:gd name="T21" fmla="*/ 2147483647 h 307"/>
              <a:gd name="T22" fmla="*/ 2147483647 w 394"/>
              <a:gd name="T23" fmla="*/ 2147483647 h 307"/>
              <a:gd name="T24" fmla="*/ 2147483647 w 394"/>
              <a:gd name="T25" fmla="*/ 2147483647 h 307"/>
              <a:gd name="T26" fmla="*/ 2147483647 w 394"/>
              <a:gd name="T27" fmla="*/ 2147483647 h 307"/>
              <a:gd name="T28" fmla="*/ 2147483647 w 394"/>
              <a:gd name="T29" fmla="*/ 2147483647 h 307"/>
              <a:gd name="T30" fmla="*/ 2147483647 w 394"/>
              <a:gd name="T31" fmla="*/ 2147483647 h 307"/>
              <a:gd name="T32" fmla="*/ 2147483647 w 394"/>
              <a:gd name="T33" fmla="*/ 2147483647 h 307"/>
              <a:gd name="T34" fmla="*/ 2147483647 w 394"/>
              <a:gd name="T35" fmla="*/ 2147483647 h 307"/>
              <a:gd name="T36" fmla="*/ 2147483647 w 394"/>
              <a:gd name="T37" fmla="*/ 2147483647 h 307"/>
              <a:gd name="T38" fmla="*/ 2147483647 w 394"/>
              <a:gd name="T39" fmla="*/ 2147483647 h 307"/>
              <a:gd name="T40" fmla="*/ 2147483647 w 394"/>
              <a:gd name="T41" fmla="*/ 2147483647 h 307"/>
              <a:gd name="T42" fmla="*/ 2147483647 w 394"/>
              <a:gd name="T43" fmla="*/ 2147483647 h 307"/>
              <a:gd name="T44" fmla="*/ 2147483647 w 394"/>
              <a:gd name="T45" fmla="*/ 2147483647 h 307"/>
              <a:gd name="T46" fmla="*/ 2147483647 w 394"/>
              <a:gd name="T47" fmla="*/ 2147483647 h 307"/>
              <a:gd name="T48" fmla="*/ 2147483647 w 394"/>
              <a:gd name="T49" fmla="*/ 2147483647 h 307"/>
              <a:gd name="T50" fmla="*/ 2147483647 w 394"/>
              <a:gd name="T51" fmla="*/ 2147483647 h 307"/>
              <a:gd name="T52" fmla="*/ 2147483647 w 394"/>
              <a:gd name="T53" fmla="*/ 2147483647 h 307"/>
              <a:gd name="T54" fmla="*/ 2147483647 w 394"/>
              <a:gd name="T55" fmla="*/ 2147483647 h 307"/>
              <a:gd name="T56" fmla="*/ 2147483647 w 394"/>
              <a:gd name="T57" fmla="*/ 2147483647 h 307"/>
              <a:gd name="T58" fmla="*/ 2147483647 w 394"/>
              <a:gd name="T59" fmla="*/ 2147483647 h 307"/>
              <a:gd name="T60" fmla="*/ 2147483647 w 394"/>
              <a:gd name="T61" fmla="*/ 2147483647 h 307"/>
              <a:gd name="T62" fmla="*/ 2147483647 w 394"/>
              <a:gd name="T63" fmla="*/ 2147483647 h 307"/>
              <a:gd name="T64" fmla="*/ 2147483647 w 394"/>
              <a:gd name="T65" fmla="*/ 2147483647 h 307"/>
              <a:gd name="T66" fmla="*/ 2147483647 w 394"/>
              <a:gd name="T67" fmla="*/ 2147483647 h 307"/>
              <a:gd name="T68" fmla="*/ 2147483647 w 394"/>
              <a:gd name="T69" fmla="*/ 2147483647 h 307"/>
              <a:gd name="T70" fmla="*/ 2147483647 w 394"/>
              <a:gd name="T71" fmla="*/ 2147483647 h 307"/>
              <a:gd name="T72" fmla="*/ 2147483647 w 394"/>
              <a:gd name="T73" fmla="*/ 2147483647 h 307"/>
              <a:gd name="T74" fmla="*/ 2147483647 w 394"/>
              <a:gd name="T75" fmla="*/ 2147483647 h 307"/>
              <a:gd name="T76" fmla="*/ 2147483647 w 394"/>
              <a:gd name="T77" fmla="*/ 2147483647 h 307"/>
              <a:gd name="T78" fmla="*/ 2147483647 w 394"/>
              <a:gd name="T79" fmla="*/ 2147483647 h 307"/>
              <a:gd name="T80" fmla="*/ 2147483647 w 394"/>
              <a:gd name="T81" fmla="*/ 2147483647 h 307"/>
              <a:gd name="T82" fmla="*/ 2147483647 w 394"/>
              <a:gd name="T83" fmla="*/ 2147483647 h 307"/>
              <a:gd name="T84" fmla="*/ 2147483647 w 394"/>
              <a:gd name="T85" fmla="*/ 2147483647 h 307"/>
              <a:gd name="T86" fmla="*/ 2147483647 w 394"/>
              <a:gd name="T87" fmla="*/ 2147483647 h 307"/>
              <a:gd name="T88" fmla="*/ 0 w 394"/>
              <a:gd name="T89" fmla="*/ 2147483647 h 307"/>
              <a:gd name="T90" fmla="*/ 2147483647 w 394"/>
              <a:gd name="T91" fmla="*/ 2147483647 h 307"/>
              <a:gd name="T92" fmla="*/ 2147483647 w 394"/>
              <a:gd name="T93" fmla="*/ 2147483647 h 307"/>
              <a:gd name="T94" fmla="*/ 2147483647 w 394"/>
              <a:gd name="T95" fmla="*/ 2147483647 h 307"/>
              <a:gd name="T96" fmla="*/ 2147483647 w 394"/>
              <a:gd name="T97" fmla="*/ 2147483647 h 307"/>
              <a:gd name="T98" fmla="*/ 2147483647 w 394"/>
              <a:gd name="T99" fmla="*/ 2147483647 h 307"/>
              <a:gd name="T100" fmla="*/ 2147483647 w 394"/>
              <a:gd name="T101" fmla="*/ 2147483647 h 307"/>
              <a:gd name="T102" fmla="*/ 2147483647 w 394"/>
              <a:gd name="T103" fmla="*/ 2147483647 h 307"/>
              <a:gd name="T104" fmla="*/ 2147483647 w 394"/>
              <a:gd name="T105" fmla="*/ 2147483647 h 307"/>
              <a:gd name="T106" fmla="*/ 2147483647 w 394"/>
              <a:gd name="T107" fmla="*/ 2147483647 h 307"/>
              <a:gd name="T108" fmla="*/ 2147483647 w 394"/>
              <a:gd name="T109" fmla="*/ 2147483647 h 307"/>
              <a:gd name="T110" fmla="*/ 2147483647 w 394"/>
              <a:gd name="T111" fmla="*/ 2147483647 h 307"/>
              <a:gd name="T112" fmla="*/ 2147483647 w 394"/>
              <a:gd name="T113" fmla="*/ 2147483647 h 307"/>
              <a:gd name="T114" fmla="*/ 2147483647 w 394"/>
              <a:gd name="T115" fmla="*/ 2147483647 h 307"/>
              <a:gd name="T116" fmla="*/ 2147483647 w 394"/>
              <a:gd name="T117" fmla="*/ 2147483647 h 307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394"/>
              <a:gd name="T178" fmla="*/ 0 h 307"/>
              <a:gd name="T179" fmla="*/ 394 w 394"/>
              <a:gd name="T180" fmla="*/ 307 h 307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394" h="307">
                <a:moveTo>
                  <a:pt x="118" y="43"/>
                </a:moveTo>
                <a:lnTo>
                  <a:pt x="120" y="37"/>
                </a:lnTo>
                <a:lnTo>
                  <a:pt x="121" y="34"/>
                </a:lnTo>
                <a:lnTo>
                  <a:pt x="125" y="31"/>
                </a:lnTo>
                <a:lnTo>
                  <a:pt x="130" y="27"/>
                </a:lnTo>
                <a:lnTo>
                  <a:pt x="140" y="26"/>
                </a:lnTo>
                <a:lnTo>
                  <a:pt x="152" y="24"/>
                </a:lnTo>
                <a:lnTo>
                  <a:pt x="165" y="22"/>
                </a:lnTo>
                <a:lnTo>
                  <a:pt x="179" y="21"/>
                </a:lnTo>
                <a:lnTo>
                  <a:pt x="189" y="19"/>
                </a:lnTo>
                <a:lnTo>
                  <a:pt x="195" y="14"/>
                </a:lnTo>
                <a:lnTo>
                  <a:pt x="179" y="12"/>
                </a:lnTo>
                <a:lnTo>
                  <a:pt x="162" y="11"/>
                </a:lnTo>
                <a:lnTo>
                  <a:pt x="160" y="9"/>
                </a:lnTo>
                <a:lnTo>
                  <a:pt x="160" y="7"/>
                </a:lnTo>
                <a:lnTo>
                  <a:pt x="163" y="5"/>
                </a:lnTo>
                <a:lnTo>
                  <a:pt x="167" y="5"/>
                </a:lnTo>
                <a:lnTo>
                  <a:pt x="184" y="4"/>
                </a:lnTo>
                <a:lnTo>
                  <a:pt x="209" y="2"/>
                </a:lnTo>
                <a:lnTo>
                  <a:pt x="233" y="0"/>
                </a:lnTo>
                <a:lnTo>
                  <a:pt x="256" y="2"/>
                </a:lnTo>
                <a:lnTo>
                  <a:pt x="268" y="4"/>
                </a:lnTo>
                <a:lnTo>
                  <a:pt x="280" y="5"/>
                </a:lnTo>
                <a:lnTo>
                  <a:pt x="291" y="11"/>
                </a:lnTo>
                <a:lnTo>
                  <a:pt x="303" y="14"/>
                </a:lnTo>
                <a:lnTo>
                  <a:pt x="308" y="16"/>
                </a:lnTo>
                <a:lnTo>
                  <a:pt x="315" y="19"/>
                </a:lnTo>
                <a:lnTo>
                  <a:pt x="322" y="24"/>
                </a:lnTo>
                <a:lnTo>
                  <a:pt x="327" y="29"/>
                </a:lnTo>
                <a:lnTo>
                  <a:pt x="339" y="41"/>
                </a:lnTo>
                <a:lnTo>
                  <a:pt x="352" y="59"/>
                </a:lnTo>
                <a:lnTo>
                  <a:pt x="360" y="66"/>
                </a:lnTo>
                <a:lnTo>
                  <a:pt x="369" y="71"/>
                </a:lnTo>
                <a:lnTo>
                  <a:pt x="372" y="71"/>
                </a:lnTo>
                <a:lnTo>
                  <a:pt x="376" y="71"/>
                </a:lnTo>
                <a:lnTo>
                  <a:pt x="381" y="69"/>
                </a:lnTo>
                <a:lnTo>
                  <a:pt x="384" y="68"/>
                </a:lnTo>
                <a:lnTo>
                  <a:pt x="389" y="76"/>
                </a:lnTo>
                <a:lnTo>
                  <a:pt x="392" y="85"/>
                </a:lnTo>
                <a:lnTo>
                  <a:pt x="394" y="95"/>
                </a:lnTo>
                <a:lnTo>
                  <a:pt x="394" y="103"/>
                </a:lnTo>
                <a:lnTo>
                  <a:pt x="392" y="112"/>
                </a:lnTo>
                <a:lnTo>
                  <a:pt x="387" y="122"/>
                </a:lnTo>
                <a:lnTo>
                  <a:pt x="379" y="130"/>
                </a:lnTo>
                <a:lnTo>
                  <a:pt x="369" y="139"/>
                </a:lnTo>
                <a:lnTo>
                  <a:pt x="365" y="147"/>
                </a:lnTo>
                <a:lnTo>
                  <a:pt x="359" y="154"/>
                </a:lnTo>
                <a:lnTo>
                  <a:pt x="349" y="160"/>
                </a:lnTo>
                <a:lnTo>
                  <a:pt x="334" y="164"/>
                </a:lnTo>
                <a:lnTo>
                  <a:pt x="327" y="174"/>
                </a:lnTo>
                <a:lnTo>
                  <a:pt x="317" y="181"/>
                </a:lnTo>
                <a:lnTo>
                  <a:pt x="312" y="182"/>
                </a:lnTo>
                <a:lnTo>
                  <a:pt x="307" y="184"/>
                </a:lnTo>
                <a:lnTo>
                  <a:pt x="302" y="184"/>
                </a:lnTo>
                <a:lnTo>
                  <a:pt x="295" y="184"/>
                </a:lnTo>
                <a:lnTo>
                  <a:pt x="278" y="192"/>
                </a:lnTo>
                <a:lnTo>
                  <a:pt x="263" y="203"/>
                </a:lnTo>
                <a:lnTo>
                  <a:pt x="249" y="214"/>
                </a:lnTo>
                <a:lnTo>
                  <a:pt x="236" y="226"/>
                </a:lnTo>
                <a:lnTo>
                  <a:pt x="217" y="236"/>
                </a:lnTo>
                <a:lnTo>
                  <a:pt x="202" y="243"/>
                </a:lnTo>
                <a:lnTo>
                  <a:pt x="197" y="243"/>
                </a:lnTo>
                <a:lnTo>
                  <a:pt x="194" y="243"/>
                </a:lnTo>
                <a:lnTo>
                  <a:pt x="192" y="238"/>
                </a:lnTo>
                <a:lnTo>
                  <a:pt x="195" y="231"/>
                </a:lnTo>
                <a:lnTo>
                  <a:pt x="190" y="228"/>
                </a:lnTo>
                <a:lnTo>
                  <a:pt x="179" y="224"/>
                </a:lnTo>
                <a:lnTo>
                  <a:pt x="162" y="221"/>
                </a:lnTo>
                <a:lnTo>
                  <a:pt x="143" y="218"/>
                </a:lnTo>
                <a:lnTo>
                  <a:pt x="128" y="238"/>
                </a:lnTo>
                <a:lnTo>
                  <a:pt x="115" y="256"/>
                </a:lnTo>
                <a:lnTo>
                  <a:pt x="108" y="265"/>
                </a:lnTo>
                <a:lnTo>
                  <a:pt x="101" y="268"/>
                </a:lnTo>
                <a:lnTo>
                  <a:pt x="98" y="270"/>
                </a:lnTo>
                <a:lnTo>
                  <a:pt x="94" y="270"/>
                </a:lnTo>
                <a:lnTo>
                  <a:pt x="93" y="268"/>
                </a:lnTo>
                <a:lnTo>
                  <a:pt x="89" y="266"/>
                </a:lnTo>
                <a:lnTo>
                  <a:pt x="81" y="266"/>
                </a:lnTo>
                <a:lnTo>
                  <a:pt x="73" y="268"/>
                </a:lnTo>
                <a:lnTo>
                  <a:pt x="66" y="272"/>
                </a:lnTo>
                <a:lnTo>
                  <a:pt x="59" y="278"/>
                </a:lnTo>
                <a:lnTo>
                  <a:pt x="47" y="293"/>
                </a:lnTo>
                <a:lnTo>
                  <a:pt x="36" y="307"/>
                </a:lnTo>
                <a:lnTo>
                  <a:pt x="34" y="295"/>
                </a:lnTo>
                <a:lnTo>
                  <a:pt x="32" y="283"/>
                </a:lnTo>
                <a:lnTo>
                  <a:pt x="22" y="273"/>
                </a:lnTo>
                <a:lnTo>
                  <a:pt x="14" y="261"/>
                </a:lnTo>
                <a:lnTo>
                  <a:pt x="7" y="250"/>
                </a:lnTo>
                <a:lnTo>
                  <a:pt x="2" y="238"/>
                </a:lnTo>
                <a:lnTo>
                  <a:pt x="0" y="228"/>
                </a:lnTo>
                <a:lnTo>
                  <a:pt x="0" y="216"/>
                </a:lnTo>
                <a:lnTo>
                  <a:pt x="2" y="206"/>
                </a:lnTo>
                <a:lnTo>
                  <a:pt x="9" y="194"/>
                </a:lnTo>
                <a:lnTo>
                  <a:pt x="10" y="184"/>
                </a:lnTo>
                <a:lnTo>
                  <a:pt x="12" y="174"/>
                </a:lnTo>
                <a:lnTo>
                  <a:pt x="15" y="167"/>
                </a:lnTo>
                <a:lnTo>
                  <a:pt x="19" y="164"/>
                </a:lnTo>
                <a:lnTo>
                  <a:pt x="24" y="159"/>
                </a:lnTo>
                <a:lnTo>
                  <a:pt x="31" y="155"/>
                </a:lnTo>
                <a:lnTo>
                  <a:pt x="39" y="149"/>
                </a:lnTo>
                <a:lnTo>
                  <a:pt x="46" y="139"/>
                </a:lnTo>
                <a:lnTo>
                  <a:pt x="51" y="127"/>
                </a:lnTo>
                <a:lnTo>
                  <a:pt x="56" y="115"/>
                </a:lnTo>
                <a:lnTo>
                  <a:pt x="59" y="101"/>
                </a:lnTo>
                <a:lnTo>
                  <a:pt x="64" y="91"/>
                </a:lnTo>
                <a:lnTo>
                  <a:pt x="69" y="83"/>
                </a:lnTo>
                <a:lnTo>
                  <a:pt x="78" y="78"/>
                </a:lnTo>
                <a:lnTo>
                  <a:pt x="83" y="78"/>
                </a:lnTo>
                <a:lnTo>
                  <a:pt x="84" y="78"/>
                </a:lnTo>
                <a:lnTo>
                  <a:pt x="88" y="78"/>
                </a:lnTo>
                <a:lnTo>
                  <a:pt x="89" y="76"/>
                </a:lnTo>
                <a:lnTo>
                  <a:pt x="91" y="69"/>
                </a:lnTo>
                <a:lnTo>
                  <a:pt x="91" y="63"/>
                </a:lnTo>
                <a:lnTo>
                  <a:pt x="93" y="56"/>
                </a:lnTo>
                <a:lnTo>
                  <a:pt x="98" y="49"/>
                </a:lnTo>
                <a:lnTo>
                  <a:pt x="101" y="46"/>
                </a:lnTo>
                <a:lnTo>
                  <a:pt x="105" y="44"/>
                </a:lnTo>
                <a:lnTo>
                  <a:pt x="111" y="43"/>
                </a:lnTo>
                <a:lnTo>
                  <a:pt x="118" y="43"/>
                </a:lnTo>
              </a:path>
            </a:pathLst>
          </a:custGeom>
          <a:solidFill>
            <a:srgbClr val="CCECFF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332926" name="Text Box 60"/>
          <p:cNvSpPr txBox="1">
            <a:spLocks noChangeAspect="1" noChangeArrowheads="1"/>
          </p:cNvSpPr>
          <p:nvPr>
            <p:custDataLst>
              <p:tags r:id="rId32"/>
            </p:custDataLst>
          </p:nvPr>
        </p:nvSpPr>
        <p:spPr bwMode="auto">
          <a:xfrm>
            <a:off x="5610225" y="4600575"/>
            <a:ext cx="450850" cy="244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/>
            <a:r>
              <a:rPr lang="ru-RU" sz="800" i="1"/>
              <a:t>Бухта</a:t>
            </a:r>
          </a:p>
          <a:p>
            <a:pPr algn="ctr"/>
            <a:r>
              <a:rPr lang="ru-RU" sz="800" i="1"/>
              <a:t>Угольная</a:t>
            </a:r>
          </a:p>
        </p:txBody>
      </p:sp>
      <p:sp>
        <p:nvSpPr>
          <p:cNvPr id="332927" name="Oval 61"/>
          <p:cNvSpPr>
            <a:spLocks noChangeAspect="1" noChangeArrowheads="1"/>
          </p:cNvSpPr>
          <p:nvPr>
            <p:custDataLst>
              <p:tags r:id="rId33"/>
            </p:custDataLst>
          </p:nvPr>
        </p:nvSpPr>
        <p:spPr bwMode="auto">
          <a:xfrm>
            <a:off x="3894138" y="3127375"/>
            <a:ext cx="58737" cy="53975"/>
          </a:xfrm>
          <a:prstGeom prst="ellipse">
            <a:avLst/>
          </a:prstGeom>
          <a:solidFill>
            <a:srgbClr val="808080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</a:pPr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332928" name="Oval 62"/>
          <p:cNvSpPr>
            <a:spLocks noChangeAspect="1" noChangeArrowheads="1"/>
          </p:cNvSpPr>
          <p:nvPr>
            <p:custDataLst>
              <p:tags r:id="rId34"/>
            </p:custDataLst>
          </p:nvPr>
        </p:nvSpPr>
        <p:spPr bwMode="auto">
          <a:xfrm rot="-758529">
            <a:off x="4676775" y="1906588"/>
            <a:ext cx="58738" cy="53975"/>
          </a:xfrm>
          <a:prstGeom prst="ellipse">
            <a:avLst/>
          </a:prstGeom>
          <a:solidFill>
            <a:srgbClr val="808080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</a:pPr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332929" name="Oval 63"/>
          <p:cNvSpPr>
            <a:spLocks noChangeAspect="1" noChangeArrowheads="1"/>
          </p:cNvSpPr>
          <p:nvPr>
            <p:custDataLst>
              <p:tags r:id="rId35"/>
            </p:custDataLst>
          </p:nvPr>
        </p:nvSpPr>
        <p:spPr bwMode="auto">
          <a:xfrm>
            <a:off x="5524500" y="3095625"/>
            <a:ext cx="58738" cy="53975"/>
          </a:xfrm>
          <a:prstGeom prst="ellipse">
            <a:avLst/>
          </a:prstGeom>
          <a:solidFill>
            <a:srgbClr val="808080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</a:pPr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332930" name="Oval 64"/>
          <p:cNvSpPr>
            <a:spLocks noChangeAspect="1" noChangeArrowheads="1"/>
          </p:cNvSpPr>
          <p:nvPr>
            <p:custDataLst>
              <p:tags r:id="rId36"/>
            </p:custDataLst>
          </p:nvPr>
        </p:nvSpPr>
        <p:spPr bwMode="auto">
          <a:xfrm>
            <a:off x="5600700" y="4441825"/>
            <a:ext cx="58738" cy="53975"/>
          </a:xfrm>
          <a:prstGeom prst="ellipse">
            <a:avLst/>
          </a:prstGeom>
          <a:solidFill>
            <a:srgbClr val="808080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</a:pPr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332931" name="Oval 65"/>
          <p:cNvSpPr>
            <a:spLocks noChangeAspect="1" noChangeArrowheads="1"/>
          </p:cNvSpPr>
          <p:nvPr>
            <p:custDataLst>
              <p:tags r:id="rId37"/>
            </p:custDataLst>
          </p:nvPr>
        </p:nvSpPr>
        <p:spPr bwMode="auto">
          <a:xfrm>
            <a:off x="5538788" y="4560888"/>
            <a:ext cx="58737" cy="53975"/>
          </a:xfrm>
          <a:prstGeom prst="ellipse">
            <a:avLst/>
          </a:prstGeom>
          <a:solidFill>
            <a:srgbClr val="808080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</a:pPr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332932" name="Oval 67"/>
          <p:cNvSpPr>
            <a:spLocks noChangeAspect="1" noChangeArrowheads="1"/>
          </p:cNvSpPr>
          <p:nvPr>
            <p:custDataLst>
              <p:tags r:id="rId38"/>
            </p:custDataLst>
          </p:nvPr>
        </p:nvSpPr>
        <p:spPr bwMode="auto">
          <a:xfrm>
            <a:off x="4287838" y="1681163"/>
            <a:ext cx="57150" cy="57150"/>
          </a:xfrm>
          <a:prstGeom prst="ellipse">
            <a:avLst/>
          </a:prstGeom>
          <a:solidFill>
            <a:srgbClr val="808080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</a:pPr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1226824" name="Oval 72"/>
          <p:cNvSpPr>
            <a:spLocks noChangeAspect="1" noChangeArrowheads="1"/>
          </p:cNvSpPr>
          <p:nvPr>
            <p:custDataLst>
              <p:tags r:id="rId39"/>
            </p:custDataLst>
          </p:nvPr>
        </p:nvSpPr>
        <p:spPr bwMode="auto">
          <a:xfrm>
            <a:off x="4564063" y="1954213"/>
            <a:ext cx="207962" cy="201612"/>
          </a:xfrm>
          <a:prstGeom prst="ellipse">
            <a:avLst/>
          </a:prstGeom>
          <a:solidFill>
            <a:srgbClr val="CC0000">
              <a:alpha val="80000"/>
            </a:srgbClr>
          </a:solidFill>
          <a:ln w="9525" algn="ctr">
            <a:solidFill>
              <a:schemeClr val="bg1"/>
            </a:solidFill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  <a:defRPr/>
            </a:pPr>
            <a:endParaRPr lang="en-US" sz="1000">
              <a:solidFill>
                <a:srgbClr val="000000"/>
              </a:solidFill>
              <a:cs typeface="+mn-cs"/>
            </a:endParaRPr>
          </a:p>
        </p:txBody>
      </p:sp>
      <p:sp>
        <p:nvSpPr>
          <p:cNvPr id="1226829" name="Oval 77"/>
          <p:cNvSpPr>
            <a:spLocks noChangeAspect="1" noChangeArrowheads="1"/>
          </p:cNvSpPr>
          <p:nvPr>
            <p:custDataLst>
              <p:tags r:id="rId40"/>
            </p:custDataLst>
          </p:nvPr>
        </p:nvSpPr>
        <p:spPr bwMode="auto">
          <a:xfrm>
            <a:off x="711200" y="5794375"/>
            <a:ext cx="233363" cy="227013"/>
          </a:xfrm>
          <a:prstGeom prst="ellipse">
            <a:avLst/>
          </a:prstGeom>
          <a:solidFill>
            <a:srgbClr val="CC0000">
              <a:alpha val="80000"/>
            </a:srgbClr>
          </a:solidFill>
          <a:ln w="9525">
            <a:solidFill>
              <a:schemeClr val="bg1"/>
            </a:solidFill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  <a:defRPr/>
            </a:pPr>
            <a:endParaRPr lang="en-US" sz="1000">
              <a:solidFill>
                <a:srgbClr val="000000"/>
              </a:solidFill>
              <a:cs typeface="+mn-cs"/>
            </a:endParaRPr>
          </a:p>
        </p:txBody>
      </p:sp>
      <p:sp>
        <p:nvSpPr>
          <p:cNvPr id="1226831" name="AutoShape 79"/>
          <p:cNvSpPr>
            <a:spLocks noChangeArrowheads="1"/>
          </p:cNvSpPr>
          <p:nvPr>
            <p:custDataLst>
              <p:tags r:id="rId41"/>
            </p:custDataLst>
          </p:nvPr>
        </p:nvSpPr>
        <p:spPr bwMode="auto">
          <a:xfrm>
            <a:off x="1736725" y="6091238"/>
            <a:ext cx="144463" cy="360362"/>
          </a:xfrm>
          <a:prstGeom prst="triangle">
            <a:avLst>
              <a:gd name="adj" fmla="val 50000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  <a:defRPr/>
            </a:pPr>
            <a:endParaRPr lang="en-US" sz="1000">
              <a:solidFill>
                <a:srgbClr val="000000"/>
              </a:solidFill>
              <a:cs typeface="+mn-cs"/>
            </a:endParaRPr>
          </a:p>
        </p:txBody>
      </p:sp>
      <p:sp>
        <p:nvSpPr>
          <p:cNvPr id="1226832" name="AutoShape 80"/>
          <p:cNvSpPr>
            <a:spLocks noChangeArrowheads="1"/>
          </p:cNvSpPr>
          <p:nvPr>
            <p:custDataLst>
              <p:tags r:id="rId42"/>
            </p:custDataLst>
          </p:nvPr>
        </p:nvSpPr>
        <p:spPr bwMode="auto">
          <a:xfrm>
            <a:off x="2624138" y="6099175"/>
            <a:ext cx="146050" cy="358775"/>
          </a:xfrm>
          <a:prstGeom prst="triangle">
            <a:avLst>
              <a:gd name="adj" fmla="val 50000"/>
            </a:avLst>
          </a:prstGeom>
          <a:solidFill>
            <a:schemeClr val="tx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  <a:defRPr/>
            </a:pPr>
            <a:endParaRPr lang="en-US" sz="1000">
              <a:solidFill>
                <a:srgbClr val="000000"/>
              </a:solidFill>
              <a:cs typeface="+mn-cs"/>
            </a:endParaRPr>
          </a:p>
        </p:txBody>
      </p:sp>
      <p:sp>
        <p:nvSpPr>
          <p:cNvPr id="332937" name="Text Box 81"/>
          <p:cNvSpPr txBox="1">
            <a:spLocks noChangeArrowheads="1"/>
          </p:cNvSpPr>
          <p:nvPr>
            <p:custDataLst>
              <p:tags r:id="rId43"/>
            </p:custDataLst>
          </p:nvPr>
        </p:nvSpPr>
        <p:spPr bwMode="auto">
          <a:xfrm>
            <a:off x="928688" y="5794375"/>
            <a:ext cx="604837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900" i="1"/>
              <a:t>Золото</a:t>
            </a:r>
          </a:p>
        </p:txBody>
      </p:sp>
      <p:sp>
        <p:nvSpPr>
          <p:cNvPr id="332938" name="Text Box 82"/>
          <p:cNvSpPr txBox="1">
            <a:spLocks noChangeArrowheads="1"/>
          </p:cNvSpPr>
          <p:nvPr>
            <p:custDataLst>
              <p:tags r:id="rId44"/>
            </p:custDataLst>
          </p:nvPr>
        </p:nvSpPr>
        <p:spPr bwMode="auto">
          <a:xfrm>
            <a:off x="1906588" y="6192838"/>
            <a:ext cx="36195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900" i="1"/>
              <a:t>Газ</a:t>
            </a:r>
          </a:p>
        </p:txBody>
      </p:sp>
      <p:sp>
        <p:nvSpPr>
          <p:cNvPr id="332939" name="Text Box 83"/>
          <p:cNvSpPr txBox="1">
            <a:spLocks noChangeArrowheads="1"/>
          </p:cNvSpPr>
          <p:nvPr>
            <p:custDataLst>
              <p:tags r:id="rId45"/>
            </p:custDataLst>
          </p:nvPr>
        </p:nvSpPr>
        <p:spPr bwMode="auto">
          <a:xfrm>
            <a:off x="2768600" y="6196013"/>
            <a:ext cx="581025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900" i="1"/>
              <a:t>Нефть</a:t>
            </a:r>
          </a:p>
        </p:txBody>
      </p:sp>
      <p:sp>
        <p:nvSpPr>
          <p:cNvPr id="332940" name="Text Box 84"/>
          <p:cNvSpPr txBox="1">
            <a:spLocks noChangeArrowheads="1"/>
          </p:cNvSpPr>
          <p:nvPr>
            <p:custDataLst>
              <p:tags r:id="rId46"/>
            </p:custDataLst>
          </p:nvPr>
        </p:nvSpPr>
        <p:spPr bwMode="auto">
          <a:xfrm>
            <a:off x="947738" y="6186488"/>
            <a:ext cx="522287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900" i="1"/>
              <a:t>Уголь</a:t>
            </a:r>
          </a:p>
        </p:txBody>
      </p:sp>
      <p:sp>
        <p:nvSpPr>
          <p:cNvPr id="332941" name="Oval 85"/>
          <p:cNvSpPr>
            <a:spLocks noChangeArrowheads="1"/>
          </p:cNvSpPr>
          <p:nvPr>
            <p:custDataLst>
              <p:tags r:id="rId47"/>
            </p:custDataLst>
          </p:nvPr>
        </p:nvSpPr>
        <p:spPr bwMode="auto">
          <a:xfrm rot="-1279477">
            <a:off x="1606550" y="1477963"/>
            <a:ext cx="4044950" cy="2074862"/>
          </a:xfrm>
          <a:prstGeom prst="ellipse">
            <a:avLst/>
          </a:prstGeom>
          <a:noFill/>
          <a:ln w="19050">
            <a:solidFill>
              <a:srgbClr val="0066CC"/>
            </a:solidFill>
            <a:prstDash val="lgDash"/>
            <a:round/>
            <a:headEnd/>
            <a:tailEnd/>
          </a:ln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</a:pPr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332942" name="Oval 87"/>
          <p:cNvSpPr>
            <a:spLocks noChangeArrowheads="1"/>
          </p:cNvSpPr>
          <p:nvPr>
            <p:custDataLst>
              <p:tags r:id="rId48"/>
            </p:custDataLst>
          </p:nvPr>
        </p:nvSpPr>
        <p:spPr bwMode="auto">
          <a:xfrm rot="-2549471">
            <a:off x="4148138" y="3003550"/>
            <a:ext cx="3033712" cy="2303463"/>
          </a:xfrm>
          <a:prstGeom prst="ellipse">
            <a:avLst/>
          </a:prstGeom>
          <a:noFill/>
          <a:ln w="19050">
            <a:solidFill>
              <a:srgbClr val="0066CC"/>
            </a:solidFill>
            <a:prstDash val="lgDash"/>
            <a:round/>
            <a:headEnd/>
            <a:tailEnd/>
          </a:ln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</a:pPr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1226840" name="AutoShape 88"/>
          <p:cNvSpPr>
            <a:spLocks noChangeArrowheads="1"/>
          </p:cNvSpPr>
          <p:nvPr>
            <p:custDataLst>
              <p:tags r:id="rId49"/>
            </p:custDataLst>
          </p:nvPr>
        </p:nvSpPr>
        <p:spPr bwMode="auto">
          <a:xfrm>
            <a:off x="6753225" y="4010025"/>
            <a:ext cx="2201863" cy="2486025"/>
          </a:xfrm>
          <a:prstGeom prst="wedgeRoundRectCallout">
            <a:avLst>
              <a:gd name="adj1" fmla="val -66440"/>
              <a:gd name="adj2" fmla="val -24204"/>
              <a:gd name="adj3" fmla="val 16667"/>
            </a:avLst>
          </a:prstGeom>
          <a:solidFill>
            <a:schemeClr val="bg1"/>
          </a:solidFill>
          <a:ln w="9525" algn="ctr">
            <a:solidFill>
              <a:srgbClr val="808080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lIns="0" tIns="46800" rIns="0" bIns="46800" anchor="ctr"/>
          <a:lstStyle/>
          <a:p>
            <a:pPr marL="88900" indent="-88900" algn="ctr">
              <a:lnSpc>
                <a:spcPct val="90000"/>
              </a:lnSpc>
              <a:spcBef>
                <a:spcPct val="50000"/>
              </a:spcBef>
              <a:buClr>
                <a:schemeClr val="hlink"/>
              </a:buClr>
              <a:buSzPct val="110000"/>
              <a:defRPr/>
            </a:pPr>
            <a:r>
              <a:rPr lang="ru-RU" sz="1000" b="1"/>
              <a:t>Уголь, нефть, газ</a:t>
            </a:r>
          </a:p>
          <a:p>
            <a:pPr marL="88900" indent="-88900">
              <a:lnSpc>
                <a:spcPct val="90000"/>
              </a:lnSpc>
              <a:spcBef>
                <a:spcPct val="50000"/>
              </a:spcBef>
              <a:buClr>
                <a:schemeClr val="tx1"/>
              </a:buClr>
              <a:buSzPct val="110000"/>
              <a:buFontTx/>
              <a:buChar char="•"/>
              <a:defRPr/>
            </a:pPr>
            <a:r>
              <a:rPr lang="ru-RU" sz="1000"/>
              <a:t>Ведется добыча угля и газа           для внутренних нужд округа</a:t>
            </a:r>
          </a:p>
          <a:p>
            <a:pPr marL="88900" indent="-88900">
              <a:lnSpc>
                <a:spcPct val="90000"/>
              </a:lnSpc>
              <a:spcBef>
                <a:spcPct val="50000"/>
              </a:spcBef>
              <a:buClr>
                <a:schemeClr val="tx1"/>
              </a:buClr>
              <a:buSzPct val="110000"/>
              <a:buFontTx/>
              <a:buChar char="•"/>
              <a:defRPr/>
            </a:pPr>
            <a:r>
              <a:rPr lang="ru-RU" sz="1000"/>
              <a:t>2014-2028 годы              Освоение Амаамского и Алькатваммского месторождений угля Беринговского бассейна, поставки в страны АТР –           до 12 млн.т угля в год</a:t>
            </a:r>
          </a:p>
          <a:p>
            <a:pPr marL="88900" indent="-88900">
              <a:lnSpc>
                <a:spcPct val="90000"/>
              </a:lnSpc>
              <a:spcBef>
                <a:spcPct val="50000"/>
              </a:spcBef>
              <a:buClr>
                <a:schemeClr val="tx1"/>
              </a:buClr>
              <a:buSzPct val="110000"/>
              <a:buFontTx/>
              <a:buChar char="•"/>
              <a:defRPr/>
            </a:pPr>
            <a:r>
              <a:rPr lang="ru-RU" sz="1000">
                <a:solidFill>
                  <a:srgbClr val="000000"/>
                </a:solidFill>
              </a:rPr>
              <a:t>До 2030 года                        Освоение Верхне-Телекайского нефтегазового месторождения для внутренних нужд – до 350  тыс. т нефтепродуктов в год</a:t>
            </a:r>
          </a:p>
        </p:txBody>
      </p:sp>
      <p:sp>
        <p:nvSpPr>
          <p:cNvPr id="1226841" name="Oval 89"/>
          <p:cNvSpPr>
            <a:spLocks noChangeAspect="1" noChangeArrowheads="1"/>
          </p:cNvSpPr>
          <p:nvPr>
            <p:custDataLst>
              <p:tags r:id="rId50"/>
            </p:custDataLst>
          </p:nvPr>
        </p:nvSpPr>
        <p:spPr bwMode="auto">
          <a:xfrm>
            <a:off x="3030538" y="2252663"/>
            <a:ext cx="207962" cy="203200"/>
          </a:xfrm>
          <a:prstGeom prst="ellipse">
            <a:avLst/>
          </a:prstGeom>
          <a:solidFill>
            <a:srgbClr val="CC0000">
              <a:alpha val="80000"/>
            </a:srgbClr>
          </a:solidFill>
          <a:ln w="9525" algn="ctr">
            <a:solidFill>
              <a:schemeClr val="bg1"/>
            </a:solidFill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  <a:defRPr/>
            </a:pPr>
            <a:endParaRPr lang="en-US" sz="1000">
              <a:solidFill>
                <a:srgbClr val="000000"/>
              </a:solidFill>
              <a:cs typeface="+mn-cs"/>
            </a:endParaRPr>
          </a:p>
        </p:txBody>
      </p:sp>
      <p:sp>
        <p:nvSpPr>
          <p:cNvPr id="332945" name="Text Box 90"/>
          <p:cNvSpPr txBox="1">
            <a:spLocks noChangeAspect="1" noChangeArrowheads="1"/>
          </p:cNvSpPr>
          <p:nvPr>
            <p:custDataLst>
              <p:tags r:id="rId51"/>
            </p:custDataLst>
          </p:nvPr>
        </p:nvSpPr>
        <p:spPr bwMode="auto">
          <a:xfrm>
            <a:off x="4762500" y="1890713"/>
            <a:ext cx="407988" cy="1222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/>
            <a:r>
              <a:rPr lang="ru-RU" sz="800" i="1"/>
              <a:t>Майское</a:t>
            </a:r>
          </a:p>
        </p:txBody>
      </p:sp>
      <p:sp>
        <p:nvSpPr>
          <p:cNvPr id="1226845" name="Rectangle 93"/>
          <p:cNvSpPr>
            <a:spLocks noChangeArrowheads="1"/>
          </p:cNvSpPr>
          <p:nvPr>
            <p:custDataLst>
              <p:tags r:id="rId52"/>
            </p:custDataLst>
          </p:nvPr>
        </p:nvSpPr>
        <p:spPr bwMode="auto">
          <a:xfrm>
            <a:off x="5772150" y="3822700"/>
            <a:ext cx="195263" cy="161925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  <a:defRPr/>
            </a:pPr>
            <a:endParaRPr lang="en-US" sz="1000">
              <a:solidFill>
                <a:srgbClr val="000000"/>
              </a:solidFill>
              <a:cs typeface="+mn-cs"/>
            </a:endParaRPr>
          </a:p>
        </p:txBody>
      </p:sp>
      <p:sp>
        <p:nvSpPr>
          <p:cNvPr id="1226855" name="AutoShape 103"/>
          <p:cNvSpPr>
            <a:spLocks noChangeArrowheads="1"/>
          </p:cNvSpPr>
          <p:nvPr>
            <p:custDataLst>
              <p:tags r:id="rId53"/>
            </p:custDataLst>
          </p:nvPr>
        </p:nvSpPr>
        <p:spPr bwMode="auto">
          <a:xfrm>
            <a:off x="188913" y="1481138"/>
            <a:ext cx="1871662" cy="2936875"/>
          </a:xfrm>
          <a:prstGeom prst="wedgeRoundRectCallout">
            <a:avLst>
              <a:gd name="adj1" fmla="val 73069"/>
              <a:gd name="adj2" fmla="val -22486"/>
              <a:gd name="adj3" fmla="val 16667"/>
            </a:avLst>
          </a:prstGeom>
          <a:solidFill>
            <a:schemeClr val="bg1"/>
          </a:solidFill>
          <a:ln w="9525" algn="ctr">
            <a:solidFill>
              <a:srgbClr val="808080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lIns="18000" tIns="46800" rIns="18000" bIns="46800" anchor="ctr"/>
          <a:lstStyle/>
          <a:p>
            <a:pPr marL="88900" indent="-88900" algn="ctr">
              <a:lnSpc>
                <a:spcPct val="85000"/>
              </a:lnSpc>
              <a:spcBef>
                <a:spcPct val="20000"/>
              </a:spcBef>
              <a:defRPr/>
            </a:pPr>
            <a:r>
              <a:rPr lang="ru-RU" sz="1000" b="1"/>
              <a:t>Золото, серебро, медь,    олово, вольфрам</a:t>
            </a:r>
          </a:p>
          <a:p>
            <a:pPr marL="88900" indent="-88900">
              <a:lnSpc>
                <a:spcPct val="85000"/>
              </a:lnSpc>
              <a:spcBef>
                <a:spcPct val="20000"/>
              </a:spcBef>
              <a:defRPr/>
            </a:pPr>
            <a:endParaRPr lang="ru-RU" sz="400"/>
          </a:p>
          <a:p>
            <a:pPr marL="88900" indent="-88900">
              <a:lnSpc>
                <a:spcPct val="85000"/>
              </a:lnSpc>
              <a:spcBef>
                <a:spcPct val="20000"/>
              </a:spcBef>
              <a:buFontTx/>
              <a:buChar char="•"/>
              <a:defRPr/>
            </a:pPr>
            <a:r>
              <a:rPr lang="ru-RU" sz="1000"/>
              <a:t>2003-2013 годы</a:t>
            </a:r>
          </a:p>
          <a:p>
            <a:pPr marL="88900" indent="-88900">
              <a:lnSpc>
                <a:spcPct val="85000"/>
              </a:lnSpc>
              <a:spcBef>
                <a:spcPct val="20000"/>
              </a:spcBef>
              <a:defRPr/>
            </a:pPr>
            <a:r>
              <a:rPr lang="ru-RU" sz="1000"/>
              <a:t>   Ввод в эксплуатацию    месторождений золота и серебра Купол, Майское, возобновлена добыча на Двойном, Каральвееме</a:t>
            </a:r>
          </a:p>
          <a:p>
            <a:pPr marL="88900" indent="-88900">
              <a:lnSpc>
                <a:spcPct val="85000"/>
              </a:lnSpc>
              <a:spcBef>
                <a:spcPct val="20000"/>
              </a:spcBef>
              <a:buFontTx/>
              <a:buChar char="•"/>
              <a:defRPr/>
            </a:pPr>
            <a:r>
              <a:rPr lang="ru-RU" sz="1000"/>
              <a:t>До 2018 года </a:t>
            </a:r>
          </a:p>
          <a:p>
            <a:pPr marL="88900" indent="-88900">
              <a:lnSpc>
                <a:spcPct val="85000"/>
              </a:lnSpc>
              <a:spcBef>
                <a:spcPct val="20000"/>
              </a:spcBef>
              <a:defRPr/>
            </a:pPr>
            <a:r>
              <a:rPr lang="ru-RU" sz="1000"/>
              <a:t>   Ввод в эксплуатацию месторождений золота и серебра Клен и Кекура</a:t>
            </a:r>
          </a:p>
          <a:p>
            <a:pPr marL="88900" indent="-88900">
              <a:lnSpc>
                <a:spcPct val="85000"/>
              </a:lnSpc>
              <a:spcBef>
                <a:spcPct val="20000"/>
              </a:spcBef>
              <a:buFontTx/>
              <a:buChar char="•"/>
              <a:defRPr/>
            </a:pPr>
            <a:r>
              <a:rPr lang="ru-RU" sz="1000"/>
              <a:t>До 2025 года</a:t>
            </a:r>
          </a:p>
          <a:p>
            <a:pPr marL="88900" indent="-88900">
              <a:lnSpc>
                <a:spcPct val="85000"/>
              </a:lnSpc>
              <a:spcBef>
                <a:spcPct val="20000"/>
              </a:spcBef>
              <a:defRPr/>
            </a:pPr>
            <a:r>
              <a:rPr lang="ru-RU" sz="1000"/>
              <a:t>  Освоение месторождений   Баимской рудной зоны, </a:t>
            </a:r>
          </a:p>
          <a:p>
            <a:pPr marL="88900" indent="-88900">
              <a:lnSpc>
                <a:spcPct val="85000"/>
              </a:lnSpc>
              <a:spcBef>
                <a:spcPct val="20000"/>
              </a:spcBef>
              <a:defRPr/>
            </a:pPr>
            <a:r>
              <a:rPr lang="ru-RU" sz="1000"/>
              <a:t>  ресурсный потенциал – 27 млн.т меди, 1600 т золота, в т.ч. ввод в эксплуатацию месторождения Песчанка</a:t>
            </a:r>
          </a:p>
        </p:txBody>
      </p:sp>
      <p:sp>
        <p:nvSpPr>
          <p:cNvPr id="332948" name="AutoShape 104"/>
          <p:cNvSpPr>
            <a:spLocks/>
          </p:cNvSpPr>
          <p:nvPr>
            <p:custDataLst>
              <p:tags r:id="rId54"/>
            </p:custDataLst>
          </p:nvPr>
        </p:nvSpPr>
        <p:spPr bwMode="auto">
          <a:xfrm>
            <a:off x="968375" y="4578350"/>
            <a:ext cx="2241550" cy="784225"/>
          </a:xfrm>
          <a:prstGeom prst="accentCallout2">
            <a:avLst>
              <a:gd name="adj1" fmla="val 14574"/>
              <a:gd name="adj2" fmla="val 103398"/>
              <a:gd name="adj3" fmla="val 14574"/>
              <a:gd name="adj4" fmla="val 116079"/>
              <a:gd name="adj5" fmla="val -68218"/>
              <a:gd name="adj6" fmla="val 131093"/>
            </a:avLst>
          </a:prstGeom>
          <a:noFill/>
          <a:ln w="9525">
            <a:solidFill>
              <a:srgbClr val="000099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ru-RU" sz="900"/>
              <a:t>Развитие традиционных отраслей хозяйствования коренных народов (оленеводство, морской зверобойный промысел, рыболовство, народные ремесла и др.)</a:t>
            </a:r>
          </a:p>
        </p:txBody>
      </p:sp>
      <p:sp>
        <p:nvSpPr>
          <p:cNvPr id="332949" name="Text Box 74"/>
          <p:cNvSpPr txBox="1">
            <a:spLocks noChangeAspect="1" noChangeArrowheads="1"/>
          </p:cNvSpPr>
          <p:nvPr>
            <p:custDataLst>
              <p:tags r:id="rId55"/>
            </p:custDataLst>
          </p:nvPr>
        </p:nvSpPr>
        <p:spPr bwMode="auto">
          <a:xfrm>
            <a:off x="4552950" y="4294188"/>
            <a:ext cx="844550" cy="1222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/>
            <a:r>
              <a:rPr lang="ru-RU" sz="800" i="1"/>
              <a:t>Западно-Озерное</a:t>
            </a:r>
          </a:p>
        </p:txBody>
      </p:sp>
      <p:sp>
        <p:nvSpPr>
          <p:cNvPr id="332950" name="Text Box 75"/>
          <p:cNvSpPr txBox="1">
            <a:spLocks noChangeAspect="1" noChangeArrowheads="1"/>
          </p:cNvSpPr>
          <p:nvPr>
            <p:custDataLst>
              <p:tags r:id="rId56"/>
            </p:custDataLst>
          </p:nvPr>
        </p:nvSpPr>
        <p:spPr bwMode="auto">
          <a:xfrm>
            <a:off x="4376738" y="4475163"/>
            <a:ext cx="987425" cy="1222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/>
            <a:r>
              <a:rPr lang="ru-RU" sz="800" i="1"/>
              <a:t>Верхне-Телекайское</a:t>
            </a:r>
          </a:p>
        </p:txBody>
      </p:sp>
      <p:sp>
        <p:nvSpPr>
          <p:cNvPr id="1226846" name="AutoShape 94"/>
          <p:cNvSpPr>
            <a:spLocks noChangeArrowheads="1"/>
          </p:cNvSpPr>
          <p:nvPr>
            <p:custDataLst>
              <p:tags r:id="rId57"/>
            </p:custDataLst>
          </p:nvPr>
        </p:nvSpPr>
        <p:spPr bwMode="auto">
          <a:xfrm>
            <a:off x="5434013" y="4119563"/>
            <a:ext cx="144462" cy="360362"/>
          </a:xfrm>
          <a:prstGeom prst="triangle">
            <a:avLst>
              <a:gd name="adj" fmla="val 50000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  <a:defRPr/>
            </a:pPr>
            <a:endParaRPr lang="en-US" sz="1000">
              <a:solidFill>
                <a:srgbClr val="000000"/>
              </a:solidFill>
              <a:cs typeface="+mn-cs"/>
            </a:endParaRPr>
          </a:p>
        </p:txBody>
      </p:sp>
      <p:sp>
        <p:nvSpPr>
          <p:cNvPr id="332952" name="Text Box 39"/>
          <p:cNvSpPr txBox="1">
            <a:spLocks noChangeAspect="1" noChangeArrowheads="1"/>
          </p:cNvSpPr>
          <p:nvPr>
            <p:custDataLst>
              <p:tags r:id="rId58"/>
            </p:custDataLst>
          </p:nvPr>
        </p:nvSpPr>
        <p:spPr bwMode="auto">
          <a:xfrm>
            <a:off x="5102225" y="3857625"/>
            <a:ext cx="58261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/>
            <a:r>
              <a:rPr lang="ru-RU" sz="1000" b="1"/>
              <a:t>Анадырь</a:t>
            </a:r>
          </a:p>
        </p:txBody>
      </p:sp>
      <p:graphicFrame>
        <p:nvGraphicFramePr>
          <p:cNvPr id="332895" name="Rectangle 148" hidden="1"/>
          <p:cNvGraphicFramePr>
            <a:graphicFrameLocks/>
          </p:cNvGraphicFramePr>
          <p:nvPr>
            <p:custDataLst>
              <p:tags r:id="rId59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32895" r:id="rId121" imgW="0" imgH="0" progId="">
              <p:embed/>
            </p:oleObj>
          </a:graphicData>
        </a:graphic>
      </p:graphicFrame>
      <p:sp>
        <p:nvSpPr>
          <p:cNvPr id="332953" name="Text Box 157"/>
          <p:cNvSpPr txBox="1">
            <a:spLocks noChangeAspect="1" noChangeArrowheads="1"/>
          </p:cNvSpPr>
          <p:nvPr>
            <p:custDataLst>
              <p:tags r:id="rId60"/>
            </p:custDataLst>
          </p:nvPr>
        </p:nvSpPr>
        <p:spPr bwMode="auto">
          <a:xfrm>
            <a:off x="4160838" y="1444625"/>
            <a:ext cx="673100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/>
            <a:r>
              <a:rPr lang="ru-RU" sz="800"/>
              <a:t>Пыркакайское</a:t>
            </a:r>
          </a:p>
        </p:txBody>
      </p:sp>
      <p:sp>
        <p:nvSpPr>
          <p:cNvPr id="332954" name="Oval 158"/>
          <p:cNvSpPr>
            <a:spLocks noChangeAspect="1" noChangeArrowheads="1"/>
          </p:cNvSpPr>
          <p:nvPr>
            <p:custDataLst>
              <p:tags r:id="rId61"/>
            </p:custDataLst>
          </p:nvPr>
        </p:nvSpPr>
        <p:spPr bwMode="auto">
          <a:xfrm>
            <a:off x="2930525" y="3292475"/>
            <a:ext cx="58738" cy="55563"/>
          </a:xfrm>
          <a:prstGeom prst="ellipse">
            <a:avLst/>
          </a:prstGeom>
          <a:solidFill>
            <a:srgbClr val="808080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</a:pPr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332955" name="Text Box 159"/>
          <p:cNvSpPr txBox="1">
            <a:spLocks noChangeAspect="1" noChangeArrowheads="1"/>
          </p:cNvSpPr>
          <p:nvPr>
            <p:custDataLst>
              <p:tags r:id="rId62"/>
            </p:custDataLst>
          </p:nvPr>
        </p:nvSpPr>
        <p:spPr bwMode="auto">
          <a:xfrm>
            <a:off x="2868613" y="3346450"/>
            <a:ext cx="450850" cy="1222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/>
            <a:r>
              <a:rPr lang="ru-RU" sz="800" i="1"/>
              <a:t>Песчанка</a:t>
            </a:r>
          </a:p>
        </p:txBody>
      </p:sp>
      <p:sp>
        <p:nvSpPr>
          <p:cNvPr id="332956" name="Text Box 162"/>
          <p:cNvSpPr txBox="1">
            <a:spLocks noChangeArrowheads="1"/>
          </p:cNvSpPr>
          <p:nvPr>
            <p:custDataLst>
              <p:tags r:id="rId63"/>
            </p:custDataLst>
          </p:nvPr>
        </p:nvSpPr>
        <p:spPr bwMode="auto">
          <a:xfrm>
            <a:off x="655638" y="5500688"/>
            <a:ext cx="2778125" cy="228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342900" indent="-342900">
              <a:lnSpc>
                <a:spcPct val="90000"/>
              </a:lnSpc>
              <a:spcBef>
                <a:spcPct val="50000"/>
              </a:spcBef>
              <a:buClr>
                <a:schemeClr val="hlink"/>
              </a:buClr>
              <a:buSzPct val="110000"/>
            </a:pPr>
            <a:r>
              <a:rPr lang="ru-RU" sz="1000" b="1">
                <a:solidFill>
                  <a:srgbClr val="000000"/>
                </a:solidFill>
              </a:rPr>
              <a:t>Месторождения полезных ископаемых:</a:t>
            </a:r>
          </a:p>
        </p:txBody>
      </p:sp>
      <p:sp>
        <p:nvSpPr>
          <p:cNvPr id="3" name="Rectangle 93"/>
          <p:cNvSpPr>
            <a:spLocks noChangeArrowheads="1"/>
          </p:cNvSpPr>
          <p:nvPr>
            <p:custDataLst>
              <p:tags r:id="rId64"/>
            </p:custDataLst>
          </p:nvPr>
        </p:nvSpPr>
        <p:spPr bwMode="auto">
          <a:xfrm>
            <a:off x="6007100" y="4584700"/>
            <a:ext cx="195263" cy="161925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  <a:defRPr/>
            </a:pPr>
            <a:endParaRPr lang="en-US" sz="1000">
              <a:solidFill>
                <a:srgbClr val="000000"/>
              </a:solidFill>
              <a:cs typeface="+mn-cs"/>
            </a:endParaRPr>
          </a:p>
        </p:txBody>
      </p:sp>
      <p:sp>
        <p:nvSpPr>
          <p:cNvPr id="4" name="Rectangle 93"/>
          <p:cNvSpPr>
            <a:spLocks noChangeArrowheads="1"/>
          </p:cNvSpPr>
          <p:nvPr>
            <p:custDataLst>
              <p:tags r:id="rId65"/>
            </p:custDataLst>
          </p:nvPr>
        </p:nvSpPr>
        <p:spPr bwMode="auto">
          <a:xfrm>
            <a:off x="6026150" y="4946650"/>
            <a:ext cx="195263" cy="161925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  <a:defRPr/>
            </a:pPr>
            <a:endParaRPr lang="en-US" sz="1000">
              <a:solidFill>
                <a:srgbClr val="000000"/>
              </a:solidFill>
              <a:cs typeface="+mn-cs"/>
            </a:endParaRPr>
          </a:p>
        </p:txBody>
      </p:sp>
      <p:sp>
        <p:nvSpPr>
          <p:cNvPr id="332959" name="Text Box 74"/>
          <p:cNvSpPr txBox="1">
            <a:spLocks noChangeAspect="1" noChangeArrowheads="1"/>
          </p:cNvSpPr>
          <p:nvPr>
            <p:custDataLst>
              <p:tags r:id="rId66"/>
            </p:custDataLst>
          </p:nvPr>
        </p:nvSpPr>
        <p:spPr bwMode="auto">
          <a:xfrm>
            <a:off x="5578475" y="5099050"/>
            <a:ext cx="534988" cy="1222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/>
            <a:r>
              <a:rPr lang="ru-RU" sz="800" i="1"/>
              <a:t>Амаамское</a:t>
            </a:r>
          </a:p>
        </p:txBody>
      </p:sp>
      <p:sp>
        <p:nvSpPr>
          <p:cNvPr id="5" name="Rectangle 93"/>
          <p:cNvSpPr>
            <a:spLocks noChangeArrowheads="1"/>
          </p:cNvSpPr>
          <p:nvPr>
            <p:custDataLst>
              <p:tags r:id="rId67"/>
            </p:custDataLst>
          </p:nvPr>
        </p:nvSpPr>
        <p:spPr bwMode="auto">
          <a:xfrm>
            <a:off x="752475" y="6224588"/>
            <a:ext cx="195263" cy="161925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  <a:defRPr/>
            </a:pPr>
            <a:endParaRPr lang="en-US" sz="1000">
              <a:solidFill>
                <a:srgbClr val="000000"/>
              </a:solidFill>
              <a:cs typeface="+mn-cs"/>
            </a:endParaRPr>
          </a:p>
        </p:txBody>
      </p:sp>
      <p:sp>
        <p:nvSpPr>
          <p:cNvPr id="6" name="Oval 77"/>
          <p:cNvSpPr>
            <a:spLocks noChangeAspect="1" noChangeArrowheads="1"/>
          </p:cNvSpPr>
          <p:nvPr>
            <p:custDataLst>
              <p:tags r:id="rId68"/>
            </p:custDataLst>
          </p:nvPr>
        </p:nvSpPr>
        <p:spPr bwMode="auto">
          <a:xfrm>
            <a:off x="1690688" y="5792788"/>
            <a:ext cx="225425" cy="219075"/>
          </a:xfrm>
          <a:prstGeom prst="ellipse">
            <a:avLst/>
          </a:prstGeom>
          <a:solidFill>
            <a:srgbClr val="008000"/>
          </a:solidFill>
          <a:ln w="9525">
            <a:solidFill>
              <a:schemeClr val="bg1"/>
            </a:solidFill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  <a:defRPr/>
            </a:pPr>
            <a:endParaRPr lang="en-US" sz="1000">
              <a:solidFill>
                <a:srgbClr val="000000"/>
              </a:solidFill>
              <a:cs typeface="+mn-cs"/>
            </a:endParaRPr>
          </a:p>
        </p:txBody>
      </p:sp>
      <p:sp>
        <p:nvSpPr>
          <p:cNvPr id="332962" name="Text Box 81"/>
          <p:cNvSpPr txBox="1">
            <a:spLocks noChangeArrowheads="1"/>
          </p:cNvSpPr>
          <p:nvPr>
            <p:custDataLst>
              <p:tags r:id="rId69"/>
            </p:custDataLst>
          </p:nvPr>
        </p:nvSpPr>
        <p:spPr bwMode="auto">
          <a:xfrm>
            <a:off x="1893888" y="5802313"/>
            <a:ext cx="466725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900" i="1"/>
              <a:t>Медь</a:t>
            </a:r>
          </a:p>
        </p:txBody>
      </p:sp>
      <p:sp>
        <p:nvSpPr>
          <p:cNvPr id="8" name="Oval 77"/>
          <p:cNvSpPr>
            <a:spLocks noChangeAspect="1" noChangeArrowheads="1"/>
          </p:cNvSpPr>
          <p:nvPr>
            <p:custDataLst>
              <p:tags r:id="rId70"/>
            </p:custDataLst>
          </p:nvPr>
        </p:nvSpPr>
        <p:spPr bwMode="auto">
          <a:xfrm>
            <a:off x="2582863" y="5791200"/>
            <a:ext cx="225425" cy="219075"/>
          </a:xfrm>
          <a:prstGeom prst="ellipse">
            <a:avLst/>
          </a:prstGeom>
          <a:solidFill>
            <a:srgbClr val="993300">
              <a:alpha val="85001"/>
            </a:srgbClr>
          </a:solidFill>
          <a:ln w="9525">
            <a:solidFill>
              <a:schemeClr val="bg1"/>
            </a:solidFill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  <a:defRPr/>
            </a:pPr>
            <a:endParaRPr lang="en-US" sz="1000">
              <a:solidFill>
                <a:srgbClr val="000000"/>
              </a:solidFill>
              <a:cs typeface="+mn-cs"/>
            </a:endParaRPr>
          </a:p>
        </p:txBody>
      </p:sp>
      <p:sp>
        <p:nvSpPr>
          <p:cNvPr id="9" name="Oval 77"/>
          <p:cNvSpPr>
            <a:spLocks noChangeAspect="1" noChangeArrowheads="1"/>
          </p:cNvSpPr>
          <p:nvPr>
            <p:custDataLst>
              <p:tags r:id="rId71"/>
            </p:custDataLst>
          </p:nvPr>
        </p:nvSpPr>
        <p:spPr bwMode="auto">
          <a:xfrm>
            <a:off x="4337050" y="1558925"/>
            <a:ext cx="225425" cy="219075"/>
          </a:xfrm>
          <a:prstGeom prst="ellipse">
            <a:avLst/>
          </a:prstGeom>
          <a:solidFill>
            <a:srgbClr val="993300">
              <a:alpha val="85001"/>
            </a:srgbClr>
          </a:solidFill>
          <a:ln w="9525">
            <a:solidFill>
              <a:schemeClr val="bg1"/>
            </a:solidFill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  <a:defRPr/>
            </a:pPr>
            <a:endParaRPr lang="en-US" sz="1000">
              <a:solidFill>
                <a:srgbClr val="000000"/>
              </a:solidFill>
              <a:cs typeface="+mn-cs"/>
            </a:endParaRPr>
          </a:p>
        </p:txBody>
      </p:sp>
      <p:sp>
        <p:nvSpPr>
          <p:cNvPr id="332965" name="Text Box 81"/>
          <p:cNvSpPr txBox="1">
            <a:spLocks noChangeArrowheads="1"/>
          </p:cNvSpPr>
          <p:nvPr>
            <p:custDataLst>
              <p:tags r:id="rId72"/>
            </p:custDataLst>
          </p:nvPr>
        </p:nvSpPr>
        <p:spPr bwMode="auto">
          <a:xfrm>
            <a:off x="2782888" y="5802313"/>
            <a:ext cx="525462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900" i="1"/>
              <a:t>Олово</a:t>
            </a:r>
          </a:p>
        </p:txBody>
      </p:sp>
      <p:sp>
        <p:nvSpPr>
          <p:cNvPr id="10" name="Oval 72"/>
          <p:cNvSpPr>
            <a:spLocks noChangeAspect="1" noChangeArrowheads="1"/>
          </p:cNvSpPr>
          <p:nvPr>
            <p:custDataLst>
              <p:tags r:id="rId73"/>
            </p:custDataLst>
          </p:nvPr>
        </p:nvSpPr>
        <p:spPr bwMode="auto">
          <a:xfrm>
            <a:off x="5065713" y="1431925"/>
            <a:ext cx="207962" cy="201613"/>
          </a:xfrm>
          <a:prstGeom prst="ellipse">
            <a:avLst/>
          </a:prstGeom>
          <a:solidFill>
            <a:srgbClr val="CC0000">
              <a:alpha val="80000"/>
            </a:srgbClr>
          </a:solidFill>
          <a:ln w="9525" algn="ctr">
            <a:solidFill>
              <a:schemeClr val="bg1"/>
            </a:solidFill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  <a:defRPr/>
            </a:pPr>
            <a:endParaRPr lang="en-US" sz="1000">
              <a:solidFill>
                <a:srgbClr val="000000"/>
              </a:solidFill>
              <a:cs typeface="+mn-cs"/>
            </a:endParaRPr>
          </a:p>
        </p:txBody>
      </p:sp>
      <p:sp>
        <p:nvSpPr>
          <p:cNvPr id="332967" name="Oval 33"/>
          <p:cNvSpPr>
            <a:spLocks noChangeAspect="1" noChangeArrowheads="1"/>
          </p:cNvSpPr>
          <p:nvPr>
            <p:custDataLst>
              <p:tags r:id="rId74"/>
            </p:custDataLst>
          </p:nvPr>
        </p:nvSpPr>
        <p:spPr bwMode="auto">
          <a:xfrm>
            <a:off x="5276850" y="1585913"/>
            <a:ext cx="57150" cy="57150"/>
          </a:xfrm>
          <a:prstGeom prst="ellipse">
            <a:avLst/>
          </a:prstGeom>
          <a:solidFill>
            <a:srgbClr val="808080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</a:pPr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332968" name="Text Box 90"/>
          <p:cNvSpPr txBox="1">
            <a:spLocks noChangeAspect="1" noChangeArrowheads="1"/>
          </p:cNvSpPr>
          <p:nvPr>
            <p:custDataLst>
              <p:tags r:id="rId75"/>
            </p:custDataLst>
          </p:nvPr>
        </p:nvSpPr>
        <p:spPr bwMode="auto">
          <a:xfrm>
            <a:off x="5041900" y="1628775"/>
            <a:ext cx="409575" cy="1222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/>
            <a:r>
              <a:rPr lang="ru-RU" sz="800" i="1"/>
              <a:t>Совиное</a:t>
            </a:r>
          </a:p>
        </p:txBody>
      </p:sp>
      <p:sp>
        <p:nvSpPr>
          <p:cNvPr id="1226790" name="Oval 38"/>
          <p:cNvSpPr>
            <a:spLocks noChangeAspect="1" noChangeArrowheads="1"/>
          </p:cNvSpPr>
          <p:nvPr>
            <p:custDataLst>
              <p:tags r:id="rId76"/>
            </p:custDataLst>
          </p:nvPr>
        </p:nvSpPr>
        <p:spPr bwMode="auto">
          <a:xfrm>
            <a:off x="3313113" y="2451100"/>
            <a:ext cx="138112" cy="138113"/>
          </a:xfrm>
          <a:prstGeom prst="ellipse">
            <a:avLst/>
          </a:prstGeom>
          <a:solidFill>
            <a:srgbClr val="808080"/>
          </a:solidFill>
          <a:ln w="9525">
            <a:solidFill>
              <a:schemeClr val="bg1"/>
            </a:solidFill>
            <a:round/>
            <a:headEnd/>
            <a:tailEnd/>
          </a:ln>
          <a:effectLst>
            <a:prstShdw prst="shdw17" dist="17961" dir="2700000">
              <a:schemeClr val="bg1">
                <a:gamma/>
                <a:shade val="60000"/>
                <a:invGamma/>
              </a:schemeClr>
            </a:prstShdw>
          </a:effectLst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  <a:defRPr/>
            </a:pPr>
            <a:endParaRPr lang="en-US" sz="1000">
              <a:solidFill>
                <a:srgbClr val="000000"/>
              </a:solidFill>
              <a:cs typeface="+mn-cs"/>
            </a:endParaRPr>
          </a:p>
        </p:txBody>
      </p:sp>
      <p:sp>
        <p:nvSpPr>
          <p:cNvPr id="11" name="Oval 38"/>
          <p:cNvSpPr>
            <a:spLocks noChangeAspect="1" noChangeArrowheads="1"/>
          </p:cNvSpPr>
          <p:nvPr>
            <p:custDataLst>
              <p:tags r:id="rId77"/>
            </p:custDataLst>
          </p:nvPr>
        </p:nvSpPr>
        <p:spPr bwMode="auto">
          <a:xfrm>
            <a:off x="5599113" y="3998913"/>
            <a:ext cx="138112" cy="138112"/>
          </a:xfrm>
          <a:prstGeom prst="ellipse">
            <a:avLst/>
          </a:prstGeom>
          <a:solidFill>
            <a:srgbClr val="808080"/>
          </a:solidFill>
          <a:ln w="9525">
            <a:solidFill>
              <a:schemeClr val="bg1"/>
            </a:solidFill>
            <a:round/>
            <a:headEnd/>
            <a:tailEnd/>
          </a:ln>
          <a:effectLst>
            <a:prstShdw prst="shdw17" dist="17961" dir="2700000">
              <a:schemeClr val="bg1">
                <a:gamma/>
                <a:shade val="60000"/>
                <a:invGamma/>
              </a:schemeClr>
            </a:prstShdw>
          </a:effectLst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  <a:defRPr/>
            </a:pPr>
            <a:endParaRPr lang="en-US" sz="1000">
              <a:solidFill>
                <a:srgbClr val="000000"/>
              </a:solidFill>
              <a:cs typeface="+mn-cs"/>
            </a:endParaRPr>
          </a:p>
        </p:txBody>
      </p:sp>
      <p:sp>
        <p:nvSpPr>
          <p:cNvPr id="332971" name="Text Box 74"/>
          <p:cNvSpPr txBox="1">
            <a:spLocks noChangeAspect="1" noChangeArrowheads="1"/>
          </p:cNvSpPr>
          <p:nvPr>
            <p:custDataLst>
              <p:tags r:id="rId78"/>
            </p:custDataLst>
          </p:nvPr>
        </p:nvSpPr>
        <p:spPr bwMode="auto">
          <a:xfrm>
            <a:off x="5772150" y="3978275"/>
            <a:ext cx="581025" cy="1222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/>
            <a:r>
              <a:rPr lang="ru-RU" sz="800" i="1"/>
              <a:t>Анадырское</a:t>
            </a:r>
          </a:p>
        </p:txBody>
      </p:sp>
      <p:sp>
        <p:nvSpPr>
          <p:cNvPr id="332993" name="Text Box 193"/>
          <p:cNvSpPr txBox="1">
            <a:spLocks noChangeArrowheads="1"/>
          </p:cNvSpPr>
          <p:nvPr/>
        </p:nvSpPr>
        <p:spPr bwMode="auto">
          <a:xfrm>
            <a:off x="2276475" y="2598738"/>
            <a:ext cx="134620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ru-RU" sz="1000">
                <a:solidFill>
                  <a:schemeClr val="bg1"/>
                </a:solidFill>
              </a:rPr>
              <a:t>Б и л и б и н с к и й </a:t>
            </a:r>
          </a:p>
          <a:p>
            <a:pPr algn="ctr">
              <a:defRPr/>
            </a:pPr>
            <a:r>
              <a:rPr lang="ru-RU" sz="1000">
                <a:solidFill>
                  <a:schemeClr val="bg1"/>
                </a:solidFill>
              </a:rPr>
              <a:t>р а й о н</a:t>
            </a:r>
          </a:p>
        </p:txBody>
      </p:sp>
      <p:sp>
        <p:nvSpPr>
          <p:cNvPr id="332994" name="Text Box 194"/>
          <p:cNvSpPr txBox="1">
            <a:spLocks noChangeArrowheads="1"/>
          </p:cNvSpPr>
          <p:nvPr/>
        </p:nvSpPr>
        <p:spPr bwMode="auto">
          <a:xfrm>
            <a:off x="3703638" y="2144713"/>
            <a:ext cx="1012825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ru-RU" sz="1000">
                <a:solidFill>
                  <a:schemeClr val="bg1"/>
                </a:solidFill>
              </a:rPr>
              <a:t>Ч а у н с к и й </a:t>
            </a:r>
          </a:p>
          <a:p>
            <a:pPr algn="ctr">
              <a:defRPr/>
            </a:pPr>
            <a:r>
              <a:rPr lang="ru-RU" sz="1000">
                <a:solidFill>
                  <a:schemeClr val="bg1"/>
                </a:solidFill>
              </a:rPr>
              <a:t>р а й о н</a:t>
            </a:r>
          </a:p>
        </p:txBody>
      </p:sp>
      <p:sp>
        <p:nvSpPr>
          <p:cNvPr id="332995" name="Text Box 195"/>
          <p:cNvSpPr txBox="1">
            <a:spLocks noChangeArrowheads="1"/>
          </p:cNvSpPr>
          <p:nvPr/>
        </p:nvSpPr>
        <p:spPr bwMode="auto">
          <a:xfrm>
            <a:off x="5368925" y="2373313"/>
            <a:ext cx="132715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ru-RU" sz="1000">
                <a:solidFill>
                  <a:schemeClr val="bg1"/>
                </a:solidFill>
              </a:rPr>
              <a:t>И у л ь т и н с к и й </a:t>
            </a:r>
          </a:p>
          <a:p>
            <a:pPr algn="ctr">
              <a:defRPr/>
            </a:pPr>
            <a:r>
              <a:rPr lang="ru-RU" sz="1000">
                <a:solidFill>
                  <a:schemeClr val="bg1"/>
                </a:solidFill>
              </a:rPr>
              <a:t>р а й о н</a:t>
            </a:r>
          </a:p>
        </p:txBody>
      </p:sp>
      <p:sp>
        <p:nvSpPr>
          <p:cNvPr id="332996" name="Text Box 196"/>
          <p:cNvSpPr txBox="1">
            <a:spLocks noChangeArrowheads="1"/>
          </p:cNvSpPr>
          <p:nvPr/>
        </p:nvSpPr>
        <p:spPr bwMode="auto">
          <a:xfrm>
            <a:off x="3843338" y="3695700"/>
            <a:ext cx="1255712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ru-RU" sz="1000">
                <a:solidFill>
                  <a:schemeClr val="bg1"/>
                </a:solidFill>
              </a:rPr>
              <a:t>А н а д ы р с к и й </a:t>
            </a:r>
          </a:p>
          <a:p>
            <a:pPr algn="ctr">
              <a:defRPr/>
            </a:pPr>
            <a:r>
              <a:rPr lang="ru-RU" sz="1000">
                <a:solidFill>
                  <a:schemeClr val="bg1"/>
                </a:solidFill>
              </a:rPr>
              <a:t>р а й о н</a:t>
            </a:r>
          </a:p>
        </p:txBody>
      </p:sp>
      <p:sp>
        <p:nvSpPr>
          <p:cNvPr id="12" name="Oval 38"/>
          <p:cNvSpPr>
            <a:spLocks noChangeAspect="1" noChangeArrowheads="1"/>
          </p:cNvSpPr>
          <p:nvPr>
            <p:custDataLst>
              <p:tags r:id="rId79"/>
            </p:custDataLst>
          </p:nvPr>
        </p:nvSpPr>
        <p:spPr bwMode="auto">
          <a:xfrm>
            <a:off x="6221413" y="4719638"/>
            <a:ext cx="111125" cy="111125"/>
          </a:xfrm>
          <a:prstGeom prst="ellipse">
            <a:avLst/>
          </a:prstGeom>
          <a:solidFill>
            <a:srgbClr val="808080"/>
          </a:solidFill>
          <a:ln w="9525">
            <a:solidFill>
              <a:schemeClr val="bg1"/>
            </a:solidFill>
            <a:round/>
            <a:headEnd/>
            <a:tailEnd/>
          </a:ln>
          <a:effectLst>
            <a:prstShdw prst="shdw17" dist="17961" dir="2700000">
              <a:schemeClr val="bg1">
                <a:gamma/>
                <a:shade val="60000"/>
                <a:invGamma/>
              </a:schemeClr>
            </a:prstShdw>
          </a:effectLst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  <a:defRPr/>
            </a:pPr>
            <a:endParaRPr lang="en-US" sz="1000">
              <a:solidFill>
                <a:srgbClr val="000000"/>
              </a:solidFill>
              <a:cs typeface="+mn-cs"/>
            </a:endParaRPr>
          </a:p>
        </p:txBody>
      </p:sp>
      <p:sp>
        <p:nvSpPr>
          <p:cNvPr id="13" name="Oval 38"/>
          <p:cNvSpPr>
            <a:spLocks noChangeAspect="1" noChangeArrowheads="1"/>
          </p:cNvSpPr>
          <p:nvPr>
            <p:custDataLst>
              <p:tags r:id="rId80"/>
            </p:custDataLst>
          </p:nvPr>
        </p:nvSpPr>
        <p:spPr bwMode="auto">
          <a:xfrm>
            <a:off x="7659688" y="3646488"/>
            <a:ext cx="111125" cy="111125"/>
          </a:xfrm>
          <a:prstGeom prst="ellipse">
            <a:avLst/>
          </a:prstGeom>
          <a:solidFill>
            <a:srgbClr val="808080"/>
          </a:solidFill>
          <a:ln w="9525">
            <a:solidFill>
              <a:schemeClr val="bg1"/>
            </a:solidFill>
            <a:round/>
            <a:headEnd/>
            <a:tailEnd/>
          </a:ln>
          <a:effectLst>
            <a:prstShdw prst="shdw17" dist="17961" dir="2700000">
              <a:schemeClr val="bg1">
                <a:gamma/>
                <a:shade val="60000"/>
                <a:invGamma/>
              </a:schemeClr>
            </a:prstShdw>
          </a:effectLst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  <a:defRPr/>
            </a:pPr>
            <a:endParaRPr lang="en-US" sz="1000">
              <a:solidFill>
                <a:srgbClr val="000000"/>
              </a:solidFill>
              <a:cs typeface="+mn-cs"/>
            </a:endParaRPr>
          </a:p>
        </p:txBody>
      </p:sp>
      <p:sp>
        <p:nvSpPr>
          <p:cNvPr id="14" name="Oval 38"/>
          <p:cNvSpPr>
            <a:spLocks noChangeAspect="1" noChangeArrowheads="1"/>
          </p:cNvSpPr>
          <p:nvPr>
            <p:custDataLst>
              <p:tags r:id="rId81"/>
            </p:custDataLst>
          </p:nvPr>
        </p:nvSpPr>
        <p:spPr bwMode="auto">
          <a:xfrm>
            <a:off x="7910513" y="2895600"/>
            <a:ext cx="111125" cy="111125"/>
          </a:xfrm>
          <a:prstGeom prst="ellipse">
            <a:avLst/>
          </a:prstGeom>
          <a:solidFill>
            <a:srgbClr val="808080"/>
          </a:solidFill>
          <a:ln w="9525">
            <a:solidFill>
              <a:schemeClr val="bg1"/>
            </a:solidFill>
            <a:round/>
            <a:headEnd/>
            <a:tailEnd/>
          </a:ln>
          <a:effectLst>
            <a:prstShdw prst="shdw17" dist="17961" dir="2700000">
              <a:schemeClr val="bg1">
                <a:gamma/>
                <a:shade val="60000"/>
                <a:invGamma/>
              </a:schemeClr>
            </a:prstShdw>
          </a:effectLst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  <a:defRPr/>
            </a:pPr>
            <a:endParaRPr lang="en-US" sz="1000">
              <a:solidFill>
                <a:srgbClr val="000000"/>
              </a:solidFill>
              <a:cs typeface="+mn-cs"/>
            </a:endParaRPr>
          </a:p>
        </p:txBody>
      </p:sp>
      <p:sp>
        <p:nvSpPr>
          <p:cNvPr id="15" name="Oval 38"/>
          <p:cNvSpPr>
            <a:spLocks noChangeAspect="1" noChangeArrowheads="1"/>
          </p:cNvSpPr>
          <p:nvPr>
            <p:custDataLst>
              <p:tags r:id="rId82"/>
            </p:custDataLst>
          </p:nvPr>
        </p:nvSpPr>
        <p:spPr bwMode="auto">
          <a:xfrm>
            <a:off x="6192838" y="3006725"/>
            <a:ext cx="111125" cy="111125"/>
          </a:xfrm>
          <a:prstGeom prst="ellipse">
            <a:avLst/>
          </a:prstGeom>
          <a:solidFill>
            <a:srgbClr val="808080"/>
          </a:solidFill>
          <a:ln w="9525">
            <a:solidFill>
              <a:schemeClr val="bg1"/>
            </a:solidFill>
            <a:round/>
            <a:headEnd/>
            <a:tailEnd/>
          </a:ln>
          <a:effectLst>
            <a:prstShdw prst="shdw17" dist="17961" dir="2700000">
              <a:schemeClr val="bg1">
                <a:gamma/>
                <a:shade val="60000"/>
                <a:invGamma/>
              </a:schemeClr>
            </a:prstShdw>
          </a:effectLst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  <a:defRPr/>
            </a:pPr>
            <a:endParaRPr lang="en-US" sz="1000">
              <a:solidFill>
                <a:srgbClr val="000000"/>
              </a:solidFill>
              <a:cs typeface="+mn-cs"/>
            </a:endParaRPr>
          </a:p>
        </p:txBody>
      </p:sp>
      <p:sp>
        <p:nvSpPr>
          <p:cNvPr id="332980" name="Text Box 41"/>
          <p:cNvSpPr txBox="1">
            <a:spLocks noChangeAspect="1" noChangeArrowheads="1"/>
          </p:cNvSpPr>
          <p:nvPr>
            <p:custDataLst>
              <p:tags r:id="rId83"/>
            </p:custDataLst>
          </p:nvPr>
        </p:nvSpPr>
        <p:spPr bwMode="auto">
          <a:xfrm>
            <a:off x="7962900" y="2776538"/>
            <a:ext cx="608013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/>
            <a:r>
              <a:rPr lang="ru-RU" sz="900" b="1"/>
              <a:t>Лаврентия</a:t>
            </a:r>
          </a:p>
        </p:txBody>
      </p:sp>
      <p:sp>
        <p:nvSpPr>
          <p:cNvPr id="332981" name="Text Box 41"/>
          <p:cNvSpPr txBox="1">
            <a:spLocks noChangeAspect="1" noChangeArrowheads="1"/>
          </p:cNvSpPr>
          <p:nvPr>
            <p:custDataLst>
              <p:tags r:id="rId84"/>
            </p:custDataLst>
          </p:nvPr>
        </p:nvSpPr>
        <p:spPr bwMode="auto">
          <a:xfrm>
            <a:off x="7081838" y="3529013"/>
            <a:ext cx="703262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/>
            <a:r>
              <a:rPr lang="ru-RU" sz="900" b="1"/>
              <a:t>Провидения</a:t>
            </a:r>
          </a:p>
        </p:txBody>
      </p:sp>
      <p:sp>
        <p:nvSpPr>
          <p:cNvPr id="333004" name="Text Box 204"/>
          <p:cNvSpPr txBox="1">
            <a:spLocks noChangeArrowheads="1"/>
          </p:cNvSpPr>
          <p:nvPr/>
        </p:nvSpPr>
        <p:spPr bwMode="auto">
          <a:xfrm>
            <a:off x="7223125" y="2551113"/>
            <a:ext cx="847725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ru-RU" sz="1000">
                <a:solidFill>
                  <a:schemeClr val="bg1"/>
                </a:solidFill>
              </a:rPr>
              <a:t> Чукотский </a:t>
            </a:r>
          </a:p>
          <a:p>
            <a:pPr algn="ctr">
              <a:defRPr/>
            </a:pPr>
            <a:r>
              <a:rPr lang="ru-RU" sz="1000">
                <a:solidFill>
                  <a:schemeClr val="bg1"/>
                </a:solidFill>
              </a:rPr>
              <a:t>район</a:t>
            </a:r>
          </a:p>
        </p:txBody>
      </p:sp>
      <p:sp>
        <p:nvSpPr>
          <p:cNvPr id="333005" name="Text Box 205"/>
          <p:cNvSpPr txBox="1">
            <a:spLocks noChangeArrowheads="1"/>
          </p:cNvSpPr>
          <p:nvPr/>
        </p:nvSpPr>
        <p:spPr bwMode="auto">
          <a:xfrm>
            <a:off x="6829425" y="3168650"/>
            <a:ext cx="1101725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ru-RU" sz="1000">
                <a:solidFill>
                  <a:schemeClr val="bg1"/>
                </a:solidFill>
              </a:rPr>
              <a:t> Провиденский </a:t>
            </a:r>
          </a:p>
          <a:p>
            <a:pPr algn="ctr">
              <a:defRPr/>
            </a:pPr>
            <a:r>
              <a:rPr lang="ru-RU" sz="1000">
                <a:solidFill>
                  <a:schemeClr val="bg1"/>
                </a:solidFill>
              </a:rPr>
              <a:t>район</a:t>
            </a:r>
          </a:p>
        </p:txBody>
      </p:sp>
      <p:sp>
        <p:nvSpPr>
          <p:cNvPr id="332984" name="Text Box 22"/>
          <p:cNvSpPr txBox="1">
            <a:spLocks noChangeAspect="1" noChangeArrowheads="1"/>
          </p:cNvSpPr>
          <p:nvPr>
            <p:custDataLst>
              <p:tags r:id="rId85"/>
            </p:custDataLst>
          </p:nvPr>
        </p:nvSpPr>
        <p:spPr bwMode="auto">
          <a:xfrm>
            <a:off x="2197100" y="2917825"/>
            <a:ext cx="230188" cy="1222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/>
            <a:r>
              <a:rPr lang="ru-RU" sz="800" i="1"/>
              <a:t>Клен</a:t>
            </a:r>
          </a:p>
        </p:txBody>
      </p:sp>
      <p:sp>
        <p:nvSpPr>
          <p:cNvPr id="16" name="Oval 69"/>
          <p:cNvSpPr>
            <a:spLocks noChangeAspect="1" noChangeArrowheads="1"/>
          </p:cNvSpPr>
          <p:nvPr>
            <p:custDataLst>
              <p:tags r:id="rId86"/>
            </p:custDataLst>
          </p:nvPr>
        </p:nvSpPr>
        <p:spPr bwMode="auto">
          <a:xfrm>
            <a:off x="2089150" y="2662238"/>
            <a:ext cx="207963" cy="203200"/>
          </a:xfrm>
          <a:prstGeom prst="ellipse">
            <a:avLst/>
          </a:prstGeom>
          <a:solidFill>
            <a:srgbClr val="CC0000">
              <a:alpha val="80000"/>
            </a:srgbClr>
          </a:solidFill>
          <a:ln w="9525" algn="ctr">
            <a:solidFill>
              <a:schemeClr val="bg1"/>
            </a:solidFill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  <a:defRPr/>
            </a:pPr>
            <a:endParaRPr lang="en-US" sz="1000">
              <a:solidFill>
                <a:srgbClr val="000000"/>
              </a:solidFill>
              <a:cs typeface="+mn-cs"/>
            </a:endParaRPr>
          </a:p>
        </p:txBody>
      </p:sp>
      <p:sp>
        <p:nvSpPr>
          <p:cNvPr id="21" name="Oval 77"/>
          <p:cNvSpPr>
            <a:spLocks noChangeAspect="1" noChangeArrowheads="1"/>
          </p:cNvSpPr>
          <p:nvPr>
            <p:custDataLst>
              <p:tags r:id="rId87"/>
            </p:custDataLst>
          </p:nvPr>
        </p:nvSpPr>
        <p:spPr bwMode="auto">
          <a:xfrm>
            <a:off x="3914775" y="1628775"/>
            <a:ext cx="225425" cy="219075"/>
          </a:xfrm>
          <a:prstGeom prst="ellipse">
            <a:avLst/>
          </a:prstGeom>
          <a:solidFill>
            <a:srgbClr val="993300">
              <a:alpha val="85001"/>
            </a:srgbClr>
          </a:solidFill>
          <a:ln w="9525">
            <a:solidFill>
              <a:schemeClr val="bg1"/>
            </a:solidFill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  <a:defRPr/>
            </a:pPr>
            <a:endParaRPr lang="en-US" sz="1000">
              <a:solidFill>
                <a:srgbClr val="000000"/>
              </a:solidFill>
              <a:cs typeface="+mn-cs"/>
            </a:endParaRPr>
          </a:p>
        </p:txBody>
      </p:sp>
      <p:sp>
        <p:nvSpPr>
          <p:cNvPr id="332987" name="Text Box 157"/>
          <p:cNvSpPr txBox="1">
            <a:spLocks noChangeAspect="1" noChangeArrowheads="1"/>
          </p:cNvSpPr>
          <p:nvPr>
            <p:custDataLst>
              <p:tags r:id="rId88"/>
            </p:custDataLst>
          </p:nvPr>
        </p:nvSpPr>
        <p:spPr bwMode="auto">
          <a:xfrm>
            <a:off x="3200400" y="1628775"/>
            <a:ext cx="725488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/>
            <a:r>
              <a:rPr lang="ru-RU" sz="800"/>
              <a:t>Валькумейское</a:t>
            </a:r>
          </a:p>
        </p:txBody>
      </p:sp>
      <p:sp>
        <p:nvSpPr>
          <p:cNvPr id="332988" name="Oval 32"/>
          <p:cNvSpPr>
            <a:spLocks noChangeAspect="1" noChangeArrowheads="1"/>
          </p:cNvSpPr>
          <p:nvPr>
            <p:custDataLst>
              <p:tags r:id="rId89"/>
            </p:custDataLst>
          </p:nvPr>
        </p:nvSpPr>
        <p:spPr bwMode="auto">
          <a:xfrm>
            <a:off x="4003675" y="1697038"/>
            <a:ext cx="58738" cy="53975"/>
          </a:xfrm>
          <a:prstGeom prst="ellipse">
            <a:avLst/>
          </a:prstGeom>
          <a:solidFill>
            <a:srgbClr val="808080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</a:pPr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22" name="Oval 70"/>
          <p:cNvSpPr>
            <a:spLocks noChangeAspect="1" noChangeArrowheads="1"/>
          </p:cNvSpPr>
          <p:nvPr>
            <p:custDataLst>
              <p:tags r:id="rId90"/>
            </p:custDataLst>
          </p:nvPr>
        </p:nvSpPr>
        <p:spPr bwMode="auto">
          <a:xfrm>
            <a:off x="2628900" y="3255963"/>
            <a:ext cx="207963" cy="203200"/>
          </a:xfrm>
          <a:prstGeom prst="ellipse">
            <a:avLst/>
          </a:prstGeom>
          <a:solidFill>
            <a:srgbClr val="CC0000">
              <a:alpha val="80000"/>
            </a:srgbClr>
          </a:solidFill>
          <a:ln w="9525" algn="ctr">
            <a:solidFill>
              <a:schemeClr val="bg1"/>
            </a:solidFill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  <a:defRPr/>
            </a:pPr>
            <a:endParaRPr lang="en-US" sz="1000">
              <a:solidFill>
                <a:srgbClr val="000000"/>
              </a:solidFill>
              <a:cs typeface="+mn-cs"/>
            </a:endParaRPr>
          </a:p>
        </p:txBody>
      </p:sp>
      <p:sp>
        <p:nvSpPr>
          <p:cNvPr id="7" name="Oval 77"/>
          <p:cNvSpPr>
            <a:spLocks noChangeAspect="1" noChangeArrowheads="1"/>
          </p:cNvSpPr>
          <p:nvPr>
            <p:custDataLst>
              <p:tags r:id="rId91"/>
            </p:custDataLst>
          </p:nvPr>
        </p:nvSpPr>
        <p:spPr bwMode="auto">
          <a:xfrm>
            <a:off x="2705100" y="3098800"/>
            <a:ext cx="225425" cy="219075"/>
          </a:xfrm>
          <a:prstGeom prst="ellipse">
            <a:avLst/>
          </a:prstGeom>
          <a:solidFill>
            <a:srgbClr val="008000"/>
          </a:solidFill>
          <a:ln w="9525">
            <a:solidFill>
              <a:schemeClr val="bg1"/>
            </a:solidFill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  <a:defRPr/>
            </a:pPr>
            <a:endParaRPr lang="en-US" sz="1000">
              <a:solidFill>
                <a:srgbClr val="000000"/>
              </a:solidFill>
              <a:cs typeface="+mn-cs"/>
            </a:endParaRPr>
          </a:p>
        </p:txBody>
      </p:sp>
      <p:sp>
        <p:nvSpPr>
          <p:cNvPr id="23" name="Text Box 204"/>
          <p:cNvSpPr txBox="1">
            <a:spLocks noChangeArrowheads="1"/>
          </p:cNvSpPr>
          <p:nvPr/>
        </p:nvSpPr>
        <p:spPr bwMode="auto">
          <a:xfrm>
            <a:off x="187325" y="1223963"/>
            <a:ext cx="3794125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pPr>
              <a:defRPr/>
            </a:pPr>
            <a:r>
              <a:rPr lang="ru-RU" b="1">
                <a:solidFill>
                  <a:srgbClr val="003399"/>
                </a:solidFill>
              </a:rPr>
              <a:t>ЧАУН-БИЛИБИНСКАЯ  ПРОМЫШЛЕННАЯ  ЗОНА</a:t>
            </a:r>
          </a:p>
        </p:txBody>
      </p:sp>
      <p:sp>
        <p:nvSpPr>
          <p:cNvPr id="24" name="Text Box 205"/>
          <p:cNvSpPr txBox="1">
            <a:spLocks noChangeArrowheads="1"/>
          </p:cNvSpPr>
          <p:nvPr/>
        </p:nvSpPr>
        <p:spPr bwMode="auto">
          <a:xfrm>
            <a:off x="6053138" y="3752850"/>
            <a:ext cx="3090862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pPr>
              <a:defRPr/>
            </a:pPr>
            <a:r>
              <a:rPr lang="ru-RU" b="1">
                <a:solidFill>
                  <a:srgbClr val="003399"/>
                </a:solidFill>
              </a:rPr>
              <a:t>АНАДЫРСКАЯ  ПРОМЫШЛЕННАЯ  ЗОНА</a:t>
            </a:r>
          </a:p>
        </p:txBody>
      </p:sp>
      <p:sp>
        <p:nvSpPr>
          <p:cNvPr id="17" name="AutoShape 104"/>
          <p:cNvSpPr>
            <a:spLocks/>
          </p:cNvSpPr>
          <p:nvPr>
            <p:custDataLst>
              <p:tags r:id="rId92"/>
            </p:custDataLst>
          </p:nvPr>
        </p:nvSpPr>
        <p:spPr bwMode="auto">
          <a:xfrm>
            <a:off x="7456488" y="1824038"/>
            <a:ext cx="1330325" cy="374650"/>
          </a:xfrm>
          <a:prstGeom prst="accentCallout2">
            <a:avLst>
              <a:gd name="adj1" fmla="val 30509"/>
              <a:gd name="adj2" fmla="val -5727"/>
              <a:gd name="adj3" fmla="val 30509"/>
              <a:gd name="adj4" fmla="val -26491"/>
              <a:gd name="adj5" fmla="val 216949"/>
              <a:gd name="adj6" fmla="val -43319"/>
            </a:avLst>
          </a:prstGeom>
          <a:noFill/>
          <a:ln w="9525">
            <a:solidFill>
              <a:srgbClr val="000099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ru-RU" sz="900"/>
              <a:t>Развитие туризма, сферы услуг</a:t>
            </a:r>
          </a:p>
        </p:txBody>
      </p:sp>
      <p:sp>
        <p:nvSpPr>
          <p:cNvPr id="18" name="Line 207"/>
          <p:cNvSpPr>
            <a:spLocks noChangeShapeType="1"/>
          </p:cNvSpPr>
          <p:nvPr/>
        </p:nvSpPr>
        <p:spPr bwMode="auto">
          <a:xfrm flipV="1">
            <a:off x="138113" y="1146175"/>
            <a:ext cx="8899525" cy="7938"/>
          </a:xfrm>
          <a:prstGeom prst="line">
            <a:avLst/>
          </a:prstGeom>
          <a:noFill/>
          <a:ln w="9525">
            <a:solidFill>
              <a:srgbClr val="C0C0C0"/>
            </a:solidFill>
            <a:round/>
            <a:headEnd/>
            <a:tailEnd/>
          </a:ln>
          <a:effectLst>
            <a:prstShdw prst="shdw17" dist="17961" dir="2700000">
              <a:srgbClr val="737373"/>
            </a:prstShdw>
          </a:effectLst>
        </p:spPr>
        <p:txBody>
          <a:bodyPr/>
          <a:lstStyle/>
          <a:p>
            <a:endParaRPr lang="ru-RU"/>
          </a:p>
        </p:txBody>
      </p:sp>
      <p:sp>
        <p:nvSpPr>
          <p:cNvPr id="25" name="Oval 77"/>
          <p:cNvSpPr>
            <a:spLocks noChangeAspect="1" noChangeArrowheads="1"/>
          </p:cNvSpPr>
          <p:nvPr>
            <p:custDataLst>
              <p:tags r:id="rId93"/>
            </p:custDataLst>
          </p:nvPr>
        </p:nvSpPr>
        <p:spPr bwMode="auto">
          <a:xfrm>
            <a:off x="3443288" y="6200775"/>
            <a:ext cx="225425" cy="219075"/>
          </a:xfrm>
          <a:prstGeom prst="ellipse">
            <a:avLst/>
          </a:prstGeom>
          <a:solidFill>
            <a:srgbClr val="FF99FF">
              <a:alpha val="70000"/>
            </a:srgbClr>
          </a:solidFill>
          <a:ln w="9525">
            <a:solidFill>
              <a:schemeClr val="bg1"/>
            </a:solidFill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  <a:defRPr/>
            </a:pPr>
            <a:endParaRPr lang="en-US" sz="1000">
              <a:solidFill>
                <a:srgbClr val="000000"/>
              </a:solidFill>
              <a:cs typeface="+mn-cs"/>
            </a:endParaRPr>
          </a:p>
        </p:txBody>
      </p:sp>
      <p:sp>
        <p:nvSpPr>
          <p:cNvPr id="19" name="Text Box 81"/>
          <p:cNvSpPr txBox="1">
            <a:spLocks noChangeArrowheads="1"/>
          </p:cNvSpPr>
          <p:nvPr>
            <p:custDataLst>
              <p:tags r:id="rId94"/>
            </p:custDataLst>
          </p:nvPr>
        </p:nvSpPr>
        <p:spPr bwMode="auto">
          <a:xfrm>
            <a:off x="3641725" y="6203950"/>
            <a:ext cx="7493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900" i="1"/>
              <a:t>Вольфрам</a:t>
            </a:r>
          </a:p>
        </p:txBody>
      </p:sp>
      <p:sp>
        <p:nvSpPr>
          <p:cNvPr id="26" name="Oval 77"/>
          <p:cNvSpPr>
            <a:spLocks noChangeAspect="1" noChangeArrowheads="1"/>
          </p:cNvSpPr>
          <p:nvPr>
            <p:custDataLst>
              <p:tags r:id="rId95"/>
            </p:custDataLst>
          </p:nvPr>
        </p:nvSpPr>
        <p:spPr bwMode="auto">
          <a:xfrm>
            <a:off x="6149975" y="2216150"/>
            <a:ext cx="225425" cy="219075"/>
          </a:xfrm>
          <a:prstGeom prst="ellipse">
            <a:avLst/>
          </a:prstGeom>
          <a:solidFill>
            <a:srgbClr val="FF99FF">
              <a:alpha val="70000"/>
            </a:srgbClr>
          </a:solidFill>
          <a:ln w="9525">
            <a:solidFill>
              <a:schemeClr val="bg1"/>
            </a:solidFill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  <a:defRPr/>
            </a:pPr>
            <a:endParaRPr lang="en-US" sz="1000">
              <a:solidFill>
                <a:srgbClr val="000000"/>
              </a:solidFill>
              <a:cs typeface="+mn-cs"/>
            </a:endParaRPr>
          </a:p>
        </p:txBody>
      </p:sp>
      <p:sp>
        <p:nvSpPr>
          <p:cNvPr id="332998" name="Text Box 46"/>
          <p:cNvSpPr txBox="1">
            <a:spLocks noChangeAspect="1" noChangeArrowheads="1"/>
          </p:cNvSpPr>
          <p:nvPr>
            <p:custDataLst>
              <p:tags r:id="rId96"/>
            </p:custDataLst>
          </p:nvPr>
        </p:nvSpPr>
        <p:spPr bwMode="auto">
          <a:xfrm>
            <a:off x="5614988" y="2024063"/>
            <a:ext cx="438150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/>
            <a:r>
              <a:rPr lang="ru-RU" sz="800" i="1"/>
              <a:t>Светлое</a:t>
            </a:r>
          </a:p>
        </p:txBody>
      </p:sp>
      <p:sp>
        <p:nvSpPr>
          <p:cNvPr id="27" name="Oval 77"/>
          <p:cNvSpPr>
            <a:spLocks noChangeAspect="1" noChangeArrowheads="1"/>
          </p:cNvSpPr>
          <p:nvPr>
            <p:custDataLst>
              <p:tags r:id="rId97"/>
            </p:custDataLst>
          </p:nvPr>
        </p:nvSpPr>
        <p:spPr bwMode="auto">
          <a:xfrm>
            <a:off x="6072188" y="2051050"/>
            <a:ext cx="225425" cy="219075"/>
          </a:xfrm>
          <a:prstGeom prst="ellipse">
            <a:avLst/>
          </a:prstGeom>
          <a:solidFill>
            <a:srgbClr val="FF99FF">
              <a:alpha val="70000"/>
            </a:srgbClr>
          </a:solidFill>
          <a:ln w="9525">
            <a:solidFill>
              <a:schemeClr val="bg1"/>
            </a:solidFill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  <a:defRPr/>
            </a:pPr>
            <a:endParaRPr lang="en-US" sz="1000">
              <a:solidFill>
                <a:srgbClr val="000000"/>
              </a:solidFill>
              <a:cs typeface="+mn-cs"/>
            </a:endParaRPr>
          </a:p>
        </p:txBody>
      </p:sp>
      <p:sp>
        <p:nvSpPr>
          <p:cNvPr id="333000" name="Text Box 46"/>
          <p:cNvSpPr txBox="1">
            <a:spLocks noChangeAspect="1" noChangeArrowheads="1"/>
          </p:cNvSpPr>
          <p:nvPr>
            <p:custDataLst>
              <p:tags r:id="rId98"/>
            </p:custDataLst>
          </p:nvPr>
        </p:nvSpPr>
        <p:spPr bwMode="auto">
          <a:xfrm>
            <a:off x="5505450" y="2239963"/>
            <a:ext cx="644525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/>
            <a:r>
              <a:rPr lang="ru-RU" sz="800" i="1"/>
              <a:t>Иультинское</a:t>
            </a:r>
          </a:p>
        </p:txBody>
      </p:sp>
      <p:sp>
        <p:nvSpPr>
          <p:cNvPr id="28" name="Oval 77"/>
          <p:cNvSpPr>
            <a:spLocks noChangeAspect="1" noChangeArrowheads="1"/>
          </p:cNvSpPr>
          <p:nvPr>
            <p:custDataLst>
              <p:tags r:id="rId99"/>
            </p:custDataLst>
          </p:nvPr>
        </p:nvSpPr>
        <p:spPr bwMode="auto">
          <a:xfrm>
            <a:off x="3452813" y="5802313"/>
            <a:ext cx="225425" cy="219075"/>
          </a:xfrm>
          <a:prstGeom prst="ellipse">
            <a:avLst/>
          </a:prstGeom>
          <a:solidFill>
            <a:srgbClr val="800000"/>
          </a:solidFill>
          <a:ln w="9525">
            <a:solidFill>
              <a:schemeClr val="bg1"/>
            </a:solidFill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  <a:defRPr/>
            </a:pPr>
            <a:endParaRPr lang="en-US" sz="1000">
              <a:solidFill>
                <a:srgbClr val="000000"/>
              </a:solidFill>
              <a:cs typeface="+mn-cs"/>
            </a:endParaRPr>
          </a:p>
        </p:txBody>
      </p:sp>
      <p:sp>
        <p:nvSpPr>
          <p:cNvPr id="29" name="Oval 77"/>
          <p:cNvSpPr>
            <a:spLocks noChangeAspect="1" noChangeArrowheads="1"/>
          </p:cNvSpPr>
          <p:nvPr>
            <p:custDataLst>
              <p:tags r:id="rId100"/>
            </p:custDataLst>
          </p:nvPr>
        </p:nvSpPr>
        <p:spPr bwMode="auto">
          <a:xfrm>
            <a:off x="4873625" y="4778375"/>
            <a:ext cx="225425" cy="219075"/>
          </a:xfrm>
          <a:prstGeom prst="ellipse">
            <a:avLst/>
          </a:prstGeom>
          <a:solidFill>
            <a:srgbClr val="800000"/>
          </a:solidFill>
          <a:ln w="9525">
            <a:solidFill>
              <a:schemeClr val="bg1"/>
            </a:solidFill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  <a:defRPr/>
            </a:pPr>
            <a:endParaRPr lang="en-US" sz="1000">
              <a:solidFill>
                <a:srgbClr val="000000"/>
              </a:solidFill>
              <a:cs typeface="+mn-cs"/>
            </a:endParaRPr>
          </a:p>
        </p:txBody>
      </p:sp>
      <p:sp>
        <p:nvSpPr>
          <p:cNvPr id="333003" name="Text Box 81"/>
          <p:cNvSpPr txBox="1">
            <a:spLocks noChangeArrowheads="1"/>
          </p:cNvSpPr>
          <p:nvPr>
            <p:custDataLst>
              <p:tags r:id="rId101"/>
            </p:custDataLst>
          </p:nvPr>
        </p:nvSpPr>
        <p:spPr bwMode="auto">
          <a:xfrm>
            <a:off x="3663950" y="5810250"/>
            <a:ext cx="568325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900" i="1"/>
              <a:t>Ртуть</a:t>
            </a:r>
          </a:p>
        </p:txBody>
      </p:sp>
      <p:sp>
        <p:nvSpPr>
          <p:cNvPr id="30" name="Oval 77"/>
          <p:cNvSpPr>
            <a:spLocks noChangeAspect="1" noChangeArrowheads="1"/>
          </p:cNvSpPr>
          <p:nvPr>
            <p:custDataLst>
              <p:tags r:id="rId102"/>
            </p:custDataLst>
          </p:nvPr>
        </p:nvSpPr>
        <p:spPr bwMode="auto">
          <a:xfrm>
            <a:off x="4187825" y="1909763"/>
            <a:ext cx="225425" cy="219075"/>
          </a:xfrm>
          <a:prstGeom prst="ellipse">
            <a:avLst/>
          </a:prstGeom>
          <a:solidFill>
            <a:srgbClr val="800000"/>
          </a:solidFill>
          <a:ln w="9525">
            <a:solidFill>
              <a:schemeClr val="bg1"/>
            </a:solidFill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  <a:defRPr/>
            </a:pPr>
            <a:endParaRPr lang="en-US" sz="1000">
              <a:solidFill>
                <a:srgbClr val="000000"/>
              </a:solidFill>
              <a:cs typeface="+mn-cs"/>
            </a:endParaRPr>
          </a:p>
        </p:txBody>
      </p:sp>
      <p:sp>
        <p:nvSpPr>
          <p:cNvPr id="20" name="Oval 62"/>
          <p:cNvSpPr>
            <a:spLocks noChangeAspect="1" noChangeArrowheads="1"/>
          </p:cNvSpPr>
          <p:nvPr>
            <p:custDataLst>
              <p:tags r:id="rId103"/>
            </p:custDataLst>
          </p:nvPr>
        </p:nvSpPr>
        <p:spPr bwMode="auto">
          <a:xfrm rot="-758529">
            <a:off x="4400550" y="1908175"/>
            <a:ext cx="58738" cy="53975"/>
          </a:xfrm>
          <a:prstGeom prst="ellipse">
            <a:avLst/>
          </a:prstGeom>
          <a:solidFill>
            <a:srgbClr val="808080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</a:pPr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333006" name="Text Box 90"/>
          <p:cNvSpPr txBox="1">
            <a:spLocks noChangeAspect="1" noChangeArrowheads="1"/>
          </p:cNvSpPr>
          <p:nvPr>
            <p:custDataLst>
              <p:tags r:id="rId104"/>
            </p:custDataLst>
          </p:nvPr>
        </p:nvSpPr>
        <p:spPr bwMode="auto">
          <a:xfrm>
            <a:off x="3725863" y="1939925"/>
            <a:ext cx="509587" cy="244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/>
            <a:r>
              <a:rPr lang="ru-RU" sz="800" i="1"/>
              <a:t>Западно-</a:t>
            </a:r>
          </a:p>
          <a:p>
            <a:pPr algn="ctr"/>
            <a:r>
              <a:rPr lang="ru-RU" sz="800" i="1"/>
              <a:t>Полянское</a:t>
            </a:r>
          </a:p>
        </p:txBody>
      </p:sp>
      <p:sp>
        <p:nvSpPr>
          <p:cNvPr id="2" name="Oval 38"/>
          <p:cNvSpPr>
            <a:spLocks noChangeAspect="1" noChangeArrowheads="1"/>
          </p:cNvSpPr>
          <p:nvPr>
            <p:custDataLst>
              <p:tags r:id="rId105"/>
            </p:custDataLst>
          </p:nvPr>
        </p:nvSpPr>
        <p:spPr bwMode="auto">
          <a:xfrm>
            <a:off x="3940175" y="1576388"/>
            <a:ext cx="138113" cy="138112"/>
          </a:xfrm>
          <a:prstGeom prst="ellipse">
            <a:avLst/>
          </a:prstGeom>
          <a:solidFill>
            <a:srgbClr val="808080"/>
          </a:solidFill>
          <a:ln w="9525">
            <a:solidFill>
              <a:schemeClr val="bg1"/>
            </a:solidFill>
            <a:round/>
            <a:headEnd/>
            <a:tailEnd/>
          </a:ln>
          <a:effectLst>
            <a:prstShdw prst="shdw17" dist="17961" dir="2700000">
              <a:schemeClr val="bg1">
                <a:gamma/>
                <a:shade val="60000"/>
                <a:invGamma/>
              </a:schemeClr>
            </a:prstShdw>
          </a:effectLst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  <a:defRPr/>
            </a:pPr>
            <a:endParaRPr lang="en-US" sz="1000">
              <a:solidFill>
                <a:srgbClr val="000000"/>
              </a:solidFill>
              <a:cs typeface="+mn-cs"/>
            </a:endParaRPr>
          </a:p>
        </p:txBody>
      </p:sp>
      <p:sp>
        <p:nvSpPr>
          <p:cNvPr id="333008" name="Text Box 75"/>
          <p:cNvSpPr txBox="1">
            <a:spLocks noChangeAspect="1" noChangeArrowheads="1"/>
          </p:cNvSpPr>
          <p:nvPr>
            <p:custDataLst>
              <p:tags r:id="rId106"/>
            </p:custDataLst>
          </p:nvPr>
        </p:nvSpPr>
        <p:spPr bwMode="auto">
          <a:xfrm>
            <a:off x="4251325" y="4654550"/>
            <a:ext cx="765175" cy="1222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/>
            <a:r>
              <a:rPr lang="ru-RU" sz="800" i="1"/>
              <a:t>Тамватнейское</a:t>
            </a:r>
          </a:p>
        </p:txBody>
      </p:sp>
      <p:sp>
        <p:nvSpPr>
          <p:cNvPr id="333009" name="Oval 65"/>
          <p:cNvSpPr>
            <a:spLocks noChangeAspect="1" noChangeArrowheads="1"/>
          </p:cNvSpPr>
          <p:nvPr>
            <p:custDataLst>
              <p:tags r:id="rId107"/>
            </p:custDataLst>
          </p:nvPr>
        </p:nvSpPr>
        <p:spPr bwMode="auto">
          <a:xfrm>
            <a:off x="5048250" y="4745038"/>
            <a:ext cx="58738" cy="53975"/>
          </a:xfrm>
          <a:prstGeom prst="ellipse">
            <a:avLst/>
          </a:prstGeom>
          <a:solidFill>
            <a:srgbClr val="808080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</a:pPr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1226828" name="AutoShape 76"/>
          <p:cNvSpPr>
            <a:spLocks noChangeArrowheads="1"/>
          </p:cNvSpPr>
          <p:nvPr>
            <p:custDataLst>
              <p:tags r:id="rId108"/>
            </p:custDataLst>
          </p:nvPr>
        </p:nvSpPr>
        <p:spPr bwMode="auto">
          <a:xfrm>
            <a:off x="5356225" y="4303713"/>
            <a:ext cx="144463" cy="360362"/>
          </a:xfrm>
          <a:prstGeom prst="triangle">
            <a:avLst>
              <a:gd name="adj" fmla="val 50000"/>
            </a:avLst>
          </a:prstGeom>
          <a:solidFill>
            <a:schemeClr val="tx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  <a:defRPr/>
            </a:pPr>
            <a:endParaRPr lang="en-US" sz="1000">
              <a:solidFill>
                <a:srgbClr val="000000"/>
              </a:solidFill>
              <a:cs typeface="+mn-cs"/>
            </a:endParaRPr>
          </a:p>
        </p:txBody>
      </p:sp>
      <p:sp>
        <p:nvSpPr>
          <p:cNvPr id="31" name="Oval 77"/>
          <p:cNvSpPr>
            <a:spLocks noChangeAspect="1" noChangeArrowheads="1"/>
          </p:cNvSpPr>
          <p:nvPr>
            <p:custDataLst>
              <p:tags r:id="rId109"/>
            </p:custDataLst>
          </p:nvPr>
        </p:nvSpPr>
        <p:spPr bwMode="auto">
          <a:xfrm>
            <a:off x="4452938" y="5821363"/>
            <a:ext cx="233362" cy="227012"/>
          </a:xfrm>
          <a:prstGeom prst="ellipse">
            <a:avLst/>
          </a:prstGeom>
          <a:solidFill>
            <a:srgbClr val="FFFFFF">
              <a:alpha val="89999"/>
            </a:srgbClr>
          </a:solidFill>
          <a:ln w="9525">
            <a:solidFill>
              <a:schemeClr val="bg1"/>
            </a:solidFill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  <a:defRPr/>
            </a:pPr>
            <a:endParaRPr lang="en-US" sz="1000">
              <a:solidFill>
                <a:srgbClr val="000000"/>
              </a:solidFill>
              <a:cs typeface="+mn-cs"/>
            </a:endParaRPr>
          </a:p>
        </p:txBody>
      </p:sp>
      <p:sp>
        <p:nvSpPr>
          <p:cNvPr id="332864" name="Oval 77"/>
          <p:cNvSpPr>
            <a:spLocks noChangeAspect="1" noChangeArrowheads="1"/>
          </p:cNvSpPr>
          <p:nvPr>
            <p:custDataLst>
              <p:tags r:id="rId110"/>
            </p:custDataLst>
          </p:nvPr>
        </p:nvSpPr>
        <p:spPr bwMode="auto">
          <a:xfrm>
            <a:off x="4408488" y="5781675"/>
            <a:ext cx="233362" cy="227013"/>
          </a:xfrm>
          <a:prstGeom prst="ellipse">
            <a:avLst/>
          </a:prstGeom>
          <a:solidFill>
            <a:srgbClr val="CC0000">
              <a:alpha val="80000"/>
            </a:srgbClr>
          </a:solidFill>
          <a:ln w="9525">
            <a:solidFill>
              <a:schemeClr val="bg1"/>
            </a:solidFill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  <a:defRPr/>
            </a:pPr>
            <a:endParaRPr lang="en-US" sz="1000">
              <a:solidFill>
                <a:srgbClr val="000000"/>
              </a:solidFill>
              <a:cs typeface="+mn-cs"/>
            </a:endParaRPr>
          </a:p>
        </p:txBody>
      </p:sp>
      <p:sp>
        <p:nvSpPr>
          <p:cNvPr id="1226822" name="Oval 70"/>
          <p:cNvSpPr>
            <a:spLocks noChangeAspect="1" noChangeArrowheads="1"/>
          </p:cNvSpPr>
          <p:nvPr>
            <p:custDataLst>
              <p:tags r:id="rId111"/>
            </p:custDataLst>
          </p:nvPr>
        </p:nvSpPr>
        <p:spPr bwMode="auto">
          <a:xfrm>
            <a:off x="3711575" y="3130550"/>
            <a:ext cx="207963" cy="203200"/>
          </a:xfrm>
          <a:prstGeom prst="ellipse">
            <a:avLst/>
          </a:prstGeom>
          <a:solidFill>
            <a:srgbClr val="FFFFFF">
              <a:alpha val="80000"/>
            </a:srgbClr>
          </a:solidFill>
          <a:ln w="9525" algn="ctr">
            <a:solidFill>
              <a:schemeClr val="bg1"/>
            </a:solidFill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  <a:defRPr/>
            </a:pPr>
            <a:endParaRPr lang="en-US" sz="1000">
              <a:solidFill>
                <a:srgbClr val="000000"/>
              </a:solidFill>
              <a:cs typeface="+mn-cs"/>
            </a:endParaRPr>
          </a:p>
        </p:txBody>
      </p:sp>
      <p:sp>
        <p:nvSpPr>
          <p:cNvPr id="332865" name="Oval 70"/>
          <p:cNvSpPr>
            <a:spLocks noChangeAspect="1" noChangeArrowheads="1"/>
          </p:cNvSpPr>
          <p:nvPr>
            <p:custDataLst>
              <p:tags r:id="rId112"/>
            </p:custDataLst>
          </p:nvPr>
        </p:nvSpPr>
        <p:spPr bwMode="auto">
          <a:xfrm>
            <a:off x="3662363" y="3081338"/>
            <a:ext cx="207962" cy="203200"/>
          </a:xfrm>
          <a:prstGeom prst="ellipse">
            <a:avLst/>
          </a:prstGeom>
          <a:solidFill>
            <a:srgbClr val="CC0000">
              <a:alpha val="80000"/>
            </a:srgbClr>
          </a:solidFill>
          <a:ln w="9525" algn="ctr">
            <a:solidFill>
              <a:schemeClr val="bg1"/>
            </a:solidFill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  <a:defRPr/>
            </a:pPr>
            <a:endParaRPr lang="en-US" sz="1000">
              <a:solidFill>
                <a:srgbClr val="000000"/>
              </a:solidFill>
              <a:cs typeface="+mn-cs"/>
            </a:endParaRPr>
          </a:p>
        </p:txBody>
      </p:sp>
      <p:sp>
        <p:nvSpPr>
          <p:cNvPr id="332866" name="Oval 70"/>
          <p:cNvSpPr>
            <a:spLocks noChangeAspect="1" noChangeArrowheads="1"/>
          </p:cNvSpPr>
          <p:nvPr>
            <p:custDataLst>
              <p:tags r:id="rId113"/>
            </p:custDataLst>
          </p:nvPr>
        </p:nvSpPr>
        <p:spPr bwMode="auto">
          <a:xfrm>
            <a:off x="3651250" y="2665413"/>
            <a:ext cx="207963" cy="203200"/>
          </a:xfrm>
          <a:prstGeom prst="ellipse">
            <a:avLst/>
          </a:prstGeom>
          <a:solidFill>
            <a:srgbClr val="FFFFFF">
              <a:alpha val="80000"/>
            </a:srgbClr>
          </a:solidFill>
          <a:ln w="9525" algn="ctr">
            <a:solidFill>
              <a:schemeClr val="bg1"/>
            </a:solidFill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  <a:defRPr/>
            </a:pPr>
            <a:endParaRPr lang="en-US" sz="1000">
              <a:solidFill>
                <a:srgbClr val="000000"/>
              </a:solidFill>
              <a:cs typeface="+mn-cs"/>
            </a:endParaRPr>
          </a:p>
        </p:txBody>
      </p:sp>
      <p:sp>
        <p:nvSpPr>
          <p:cNvPr id="1226821" name="Oval 69"/>
          <p:cNvSpPr>
            <a:spLocks noChangeAspect="1" noChangeArrowheads="1"/>
          </p:cNvSpPr>
          <p:nvPr>
            <p:custDataLst>
              <p:tags r:id="rId114"/>
            </p:custDataLst>
          </p:nvPr>
        </p:nvSpPr>
        <p:spPr bwMode="auto">
          <a:xfrm>
            <a:off x="3605213" y="2613025"/>
            <a:ext cx="207962" cy="203200"/>
          </a:xfrm>
          <a:prstGeom prst="ellipse">
            <a:avLst/>
          </a:prstGeom>
          <a:solidFill>
            <a:srgbClr val="CC0000">
              <a:alpha val="80000"/>
            </a:srgbClr>
          </a:solidFill>
          <a:ln w="9525" algn="ctr">
            <a:solidFill>
              <a:schemeClr val="bg1"/>
            </a:solidFill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  <a:defRPr/>
            </a:pPr>
            <a:endParaRPr lang="en-US" sz="1000">
              <a:solidFill>
                <a:srgbClr val="000000"/>
              </a:solidFill>
              <a:cs typeface="+mn-cs"/>
            </a:endParaRPr>
          </a:p>
        </p:txBody>
      </p:sp>
      <p:sp>
        <p:nvSpPr>
          <p:cNvPr id="333017" name="Text Box 81"/>
          <p:cNvSpPr txBox="1">
            <a:spLocks noChangeArrowheads="1"/>
          </p:cNvSpPr>
          <p:nvPr>
            <p:custDataLst>
              <p:tags r:id="rId115"/>
            </p:custDataLst>
          </p:nvPr>
        </p:nvSpPr>
        <p:spPr bwMode="auto">
          <a:xfrm>
            <a:off x="4664075" y="5743575"/>
            <a:ext cx="636588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900" i="1"/>
              <a:t>Золото,</a:t>
            </a:r>
          </a:p>
          <a:p>
            <a:r>
              <a:rPr lang="ru-RU" sz="900" i="1"/>
              <a:t>серебро</a:t>
            </a:r>
          </a:p>
        </p:txBody>
      </p:sp>
      <p:sp>
        <p:nvSpPr>
          <p:cNvPr id="332867" name="Oval 70"/>
          <p:cNvSpPr>
            <a:spLocks noChangeAspect="1" noChangeArrowheads="1"/>
          </p:cNvSpPr>
          <p:nvPr>
            <p:custDataLst>
              <p:tags r:id="rId116"/>
            </p:custDataLst>
          </p:nvPr>
        </p:nvSpPr>
        <p:spPr bwMode="auto">
          <a:xfrm>
            <a:off x="5357813" y="3119438"/>
            <a:ext cx="207962" cy="203200"/>
          </a:xfrm>
          <a:prstGeom prst="ellipse">
            <a:avLst/>
          </a:prstGeom>
          <a:solidFill>
            <a:srgbClr val="FFFFFF">
              <a:alpha val="80000"/>
            </a:srgbClr>
          </a:solidFill>
          <a:ln w="9525" algn="ctr">
            <a:solidFill>
              <a:schemeClr val="bg1"/>
            </a:solidFill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  <a:defRPr/>
            </a:pPr>
            <a:endParaRPr lang="en-US" sz="1000">
              <a:solidFill>
                <a:srgbClr val="000000"/>
              </a:solidFill>
              <a:cs typeface="+mn-cs"/>
            </a:endParaRPr>
          </a:p>
        </p:txBody>
      </p:sp>
      <p:sp>
        <p:nvSpPr>
          <p:cNvPr id="1226825" name="Oval 73"/>
          <p:cNvSpPr>
            <a:spLocks noChangeAspect="1" noChangeArrowheads="1"/>
          </p:cNvSpPr>
          <p:nvPr>
            <p:custDataLst>
              <p:tags r:id="rId117"/>
            </p:custDataLst>
          </p:nvPr>
        </p:nvSpPr>
        <p:spPr bwMode="auto">
          <a:xfrm>
            <a:off x="5308600" y="3070225"/>
            <a:ext cx="207963" cy="203200"/>
          </a:xfrm>
          <a:prstGeom prst="ellipse">
            <a:avLst/>
          </a:prstGeom>
          <a:solidFill>
            <a:srgbClr val="CC0000">
              <a:alpha val="80000"/>
            </a:srgbClr>
          </a:solidFill>
          <a:ln w="9525" algn="ctr">
            <a:solidFill>
              <a:schemeClr val="bg1"/>
            </a:solidFill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  <a:defRPr/>
            </a:pPr>
            <a:endParaRPr lang="en-US" sz="1000">
              <a:solidFill>
                <a:srgbClr val="000000"/>
              </a:solidFill>
              <a:cs typeface="+mn-cs"/>
            </a:endParaRPr>
          </a:p>
        </p:txBody>
      </p:sp>
      <p:sp>
        <p:nvSpPr>
          <p:cNvPr id="332868" name="Oval 69"/>
          <p:cNvSpPr>
            <a:spLocks noChangeAspect="1" noChangeArrowheads="1"/>
          </p:cNvSpPr>
          <p:nvPr>
            <p:custDataLst>
              <p:tags r:id="rId118"/>
            </p:custDataLst>
          </p:nvPr>
        </p:nvSpPr>
        <p:spPr bwMode="auto">
          <a:xfrm>
            <a:off x="3009900" y="2955925"/>
            <a:ext cx="207963" cy="203200"/>
          </a:xfrm>
          <a:prstGeom prst="ellipse">
            <a:avLst/>
          </a:prstGeom>
          <a:solidFill>
            <a:srgbClr val="CC0000">
              <a:alpha val="80000"/>
            </a:srgbClr>
          </a:solidFill>
          <a:ln w="9525" algn="ctr">
            <a:solidFill>
              <a:schemeClr val="bg1"/>
            </a:solidFill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  <a:defRPr/>
            </a:pPr>
            <a:endParaRPr lang="en-US" sz="1000">
              <a:solidFill>
                <a:srgbClr val="000000"/>
              </a:solidFill>
              <a:cs typeface="+mn-cs"/>
            </a:endParaRPr>
          </a:p>
        </p:txBody>
      </p:sp>
      <p:sp>
        <p:nvSpPr>
          <p:cNvPr id="333021" name="Text Box 22"/>
          <p:cNvSpPr txBox="1">
            <a:spLocks noChangeAspect="1" noChangeArrowheads="1"/>
          </p:cNvSpPr>
          <p:nvPr>
            <p:custDataLst>
              <p:tags r:id="rId119"/>
            </p:custDataLst>
          </p:nvPr>
        </p:nvSpPr>
        <p:spPr bwMode="auto">
          <a:xfrm>
            <a:off x="3238500" y="3087688"/>
            <a:ext cx="330200" cy="1222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/>
            <a:r>
              <a:rPr lang="ru-RU" sz="800" i="1"/>
              <a:t>Кекура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576" name="AutoShape 632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-38100" y="-19050"/>
          <a:ext cx="158750" cy="158750"/>
        </p:xfrm>
        <a:graphic>
          <a:graphicData uri="http://schemas.openxmlformats.org/presentationml/2006/ole">
            <p:oleObj spid="_x0000_s83576" name="think-cell Slide" r:id="rId46" imgW="0" imgH="0" progId="">
              <p:embed/>
            </p:oleObj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en-US" sz="800">
              <a:sym typeface="Arial"/>
            </a:endParaRPr>
          </a:p>
        </p:txBody>
      </p:sp>
      <p:sp>
        <p:nvSpPr>
          <p:cNvPr id="83579" name="Rectangle 36"/>
          <p:cNvSpPr>
            <a:spLocks noChangeArrowheads="1"/>
          </p:cNvSpPr>
          <p:nvPr/>
        </p:nvSpPr>
        <p:spPr bwMode="auto">
          <a:xfrm>
            <a:off x="5148263" y="1484313"/>
            <a:ext cx="3887787" cy="3121025"/>
          </a:xfrm>
          <a:prstGeom prst="rect">
            <a:avLst/>
          </a:prstGeom>
          <a:noFill/>
          <a:ln w="9525" algn="ctr">
            <a:solidFill>
              <a:srgbClr val="0033CC"/>
            </a:solidFill>
            <a:prstDash val="dash"/>
            <a:miter lim="800000"/>
            <a:headEnd/>
            <a:tailEnd/>
          </a:ln>
        </p:spPr>
        <p:txBody>
          <a:bodyPr/>
          <a:lstStyle/>
          <a:p>
            <a:pPr marL="342900" indent="-342900" algn="ctr"/>
            <a:endParaRPr lang="ru-RU"/>
          </a:p>
          <a:p>
            <a:pPr marL="342900" indent="-342900" algn="ctr"/>
            <a:r>
              <a:rPr lang="ru-RU"/>
              <a:t>Динамика выручки, млрд. руб.*</a:t>
            </a:r>
          </a:p>
          <a:p>
            <a:pPr marL="342900" indent="-342900" algn="ctr"/>
            <a:endParaRPr lang="ru-RU"/>
          </a:p>
          <a:p>
            <a:pPr marL="342900" indent="-342900" algn="ctr"/>
            <a:endParaRPr lang="ru-RU"/>
          </a:p>
          <a:p>
            <a:pPr marL="342900" indent="-342900" algn="ctr"/>
            <a:endParaRPr lang="ru-RU"/>
          </a:p>
          <a:p>
            <a:pPr marL="342900" indent="-342900" algn="ctr"/>
            <a:endParaRPr lang="ru-RU"/>
          </a:p>
          <a:p>
            <a:pPr marL="342900" indent="-342900" algn="ctr"/>
            <a:endParaRPr lang="ru-RU"/>
          </a:p>
          <a:p>
            <a:pPr marL="342900" indent="-342900" algn="ctr"/>
            <a:endParaRPr lang="ru-RU"/>
          </a:p>
          <a:p>
            <a:pPr marL="342900" indent="-342900" algn="ctr"/>
            <a:endParaRPr lang="ru-RU"/>
          </a:p>
          <a:p>
            <a:pPr marL="342900" indent="-342900" algn="ctr"/>
            <a:endParaRPr lang="ru-RU"/>
          </a:p>
          <a:p>
            <a:pPr marL="342900" indent="-342900" algn="ctr"/>
            <a:endParaRPr lang="ru-RU"/>
          </a:p>
          <a:p>
            <a:pPr marL="342900" indent="-342900" algn="ctr"/>
            <a:endParaRPr lang="ru-RU"/>
          </a:p>
          <a:p>
            <a:pPr marL="342900" indent="-342900" algn="ctr"/>
            <a:endParaRPr lang="ru-RU"/>
          </a:p>
          <a:p>
            <a:pPr marL="342900" indent="-342900" algn="ctr"/>
            <a:endParaRPr lang="ru-RU"/>
          </a:p>
        </p:txBody>
      </p:sp>
      <p:grpSp>
        <p:nvGrpSpPr>
          <p:cNvPr id="83580" name="Group 6"/>
          <p:cNvGrpSpPr>
            <a:grpSpLocks/>
          </p:cNvGrpSpPr>
          <p:nvPr/>
        </p:nvGrpSpPr>
        <p:grpSpPr bwMode="auto">
          <a:xfrm>
            <a:off x="4608513" y="1593850"/>
            <a:ext cx="76200" cy="71438"/>
            <a:chOff x="3082" y="3547"/>
            <a:chExt cx="68" cy="66"/>
          </a:xfrm>
        </p:grpSpPr>
        <p:sp>
          <p:nvSpPr>
            <p:cNvPr id="83672" name="Rectangle 7"/>
            <p:cNvSpPr>
              <a:spLocks noChangeArrowheads="1"/>
            </p:cNvSpPr>
            <p:nvPr/>
          </p:nvSpPr>
          <p:spPr bwMode="auto">
            <a:xfrm>
              <a:off x="3082" y="3583"/>
              <a:ext cx="31" cy="3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3673" name="Freeform 8"/>
            <p:cNvSpPr>
              <a:spLocks/>
            </p:cNvSpPr>
            <p:nvPr/>
          </p:nvSpPr>
          <p:spPr bwMode="auto">
            <a:xfrm>
              <a:off x="3084" y="3584"/>
              <a:ext cx="27" cy="26"/>
            </a:xfrm>
            <a:custGeom>
              <a:avLst/>
              <a:gdLst>
                <a:gd name="T0" fmla="*/ 0 w 27"/>
                <a:gd name="T1" fmla="*/ 0 h 26"/>
                <a:gd name="T2" fmla="*/ 14 w 27"/>
                <a:gd name="T3" fmla="*/ 0 h 26"/>
                <a:gd name="T4" fmla="*/ 27 w 27"/>
                <a:gd name="T5" fmla="*/ 0 h 26"/>
                <a:gd name="T6" fmla="*/ 27 w 27"/>
                <a:gd name="T7" fmla="*/ 12 h 26"/>
                <a:gd name="T8" fmla="*/ 27 w 27"/>
                <a:gd name="T9" fmla="*/ 26 h 26"/>
                <a:gd name="T10" fmla="*/ 14 w 27"/>
                <a:gd name="T11" fmla="*/ 26 h 26"/>
                <a:gd name="T12" fmla="*/ 0 w 27"/>
                <a:gd name="T13" fmla="*/ 26 h 26"/>
                <a:gd name="T14" fmla="*/ 0 w 27"/>
                <a:gd name="T15" fmla="*/ 12 h 26"/>
                <a:gd name="T16" fmla="*/ 0 w 27"/>
                <a:gd name="T17" fmla="*/ 0 h 2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7"/>
                <a:gd name="T28" fmla="*/ 0 h 26"/>
                <a:gd name="T29" fmla="*/ 27 w 27"/>
                <a:gd name="T30" fmla="*/ 26 h 2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7" h="26">
                  <a:moveTo>
                    <a:pt x="0" y="0"/>
                  </a:moveTo>
                  <a:lnTo>
                    <a:pt x="14" y="0"/>
                  </a:lnTo>
                  <a:lnTo>
                    <a:pt x="27" y="0"/>
                  </a:lnTo>
                  <a:lnTo>
                    <a:pt x="27" y="12"/>
                  </a:lnTo>
                  <a:lnTo>
                    <a:pt x="27" y="26"/>
                  </a:lnTo>
                  <a:lnTo>
                    <a:pt x="14" y="26"/>
                  </a:lnTo>
                  <a:lnTo>
                    <a:pt x="0" y="26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83674" name="Freeform 9"/>
            <p:cNvSpPr>
              <a:spLocks/>
            </p:cNvSpPr>
            <p:nvPr/>
          </p:nvSpPr>
          <p:spPr bwMode="auto">
            <a:xfrm>
              <a:off x="3087" y="3584"/>
              <a:ext cx="22" cy="22"/>
            </a:xfrm>
            <a:custGeom>
              <a:avLst/>
              <a:gdLst>
                <a:gd name="T0" fmla="*/ 0 w 22"/>
                <a:gd name="T1" fmla="*/ 0 h 22"/>
                <a:gd name="T2" fmla="*/ 12 w 22"/>
                <a:gd name="T3" fmla="*/ 0 h 22"/>
                <a:gd name="T4" fmla="*/ 22 w 22"/>
                <a:gd name="T5" fmla="*/ 0 h 22"/>
                <a:gd name="T6" fmla="*/ 22 w 22"/>
                <a:gd name="T7" fmla="*/ 12 h 22"/>
                <a:gd name="T8" fmla="*/ 22 w 22"/>
                <a:gd name="T9" fmla="*/ 22 h 22"/>
                <a:gd name="T10" fmla="*/ 12 w 22"/>
                <a:gd name="T11" fmla="*/ 22 h 22"/>
                <a:gd name="T12" fmla="*/ 0 w 22"/>
                <a:gd name="T13" fmla="*/ 22 h 22"/>
                <a:gd name="T14" fmla="*/ 0 w 22"/>
                <a:gd name="T15" fmla="*/ 12 h 22"/>
                <a:gd name="T16" fmla="*/ 0 w 22"/>
                <a:gd name="T17" fmla="*/ 0 h 2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2"/>
                <a:gd name="T28" fmla="*/ 0 h 22"/>
                <a:gd name="T29" fmla="*/ 22 w 22"/>
                <a:gd name="T30" fmla="*/ 22 h 22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2" h="22">
                  <a:moveTo>
                    <a:pt x="0" y="0"/>
                  </a:moveTo>
                  <a:lnTo>
                    <a:pt x="12" y="0"/>
                  </a:lnTo>
                  <a:lnTo>
                    <a:pt x="22" y="0"/>
                  </a:lnTo>
                  <a:lnTo>
                    <a:pt x="22" y="12"/>
                  </a:lnTo>
                  <a:lnTo>
                    <a:pt x="22" y="22"/>
                  </a:lnTo>
                  <a:lnTo>
                    <a:pt x="12" y="22"/>
                  </a:lnTo>
                  <a:lnTo>
                    <a:pt x="0" y="2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83675" name="Freeform 10"/>
            <p:cNvSpPr>
              <a:spLocks/>
            </p:cNvSpPr>
            <p:nvPr/>
          </p:nvSpPr>
          <p:spPr bwMode="auto">
            <a:xfrm>
              <a:off x="3089" y="3584"/>
              <a:ext cx="20" cy="21"/>
            </a:xfrm>
            <a:custGeom>
              <a:avLst/>
              <a:gdLst>
                <a:gd name="T0" fmla="*/ 0 w 20"/>
                <a:gd name="T1" fmla="*/ 0 h 21"/>
                <a:gd name="T2" fmla="*/ 10 w 20"/>
                <a:gd name="T3" fmla="*/ 0 h 21"/>
                <a:gd name="T4" fmla="*/ 20 w 20"/>
                <a:gd name="T5" fmla="*/ 0 h 21"/>
                <a:gd name="T6" fmla="*/ 20 w 20"/>
                <a:gd name="T7" fmla="*/ 11 h 21"/>
                <a:gd name="T8" fmla="*/ 20 w 20"/>
                <a:gd name="T9" fmla="*/ 21 h 21"/>
                <a:gd name="T10" fmla="*/ 10 w 20"/>
                <a:gd name="T11" fmla="*/ 21 h 21"/>
                <a:gd name="T12" fmla="*/ 0 w 20"/>
                <a:gd name="T13" fmla="*/ 21 h 21"/>
                <a:gd name="T14" fmla="*/ 0 w 20"/>
                <a:gd name="T15" fmla="*/ 11 h 21"/>
                <a:gd name="T16" fmla="*/ 0 w 20"/>
                <a:gd name="T17" fmla="*/ 0 h 2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0"/>
                <a:gd name="T28" fmla="*/ 0 h 21"/>
                <a:gd name="T29" fmla="*/ 20 w 20"/>
                <a:gd name="T30" fmla="*/ 21 h 21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0" h="21">
                  <a:moveTo>
                    <a:pt x="0" y="0"/>
                  </a:moveTo>
                  <a:lnTo>
                    <a:pt x="10" y="0"/>
                  </a:lnTo>
                  <a:lnTo>
                    <a:pt x="20" y="0"/>
                  </a:lnTo>
                  <a:lnTo>
                    <a:pt x="20" y="11"/>
                  </a:lnTo>
                  <a:lnTo>
                    <a:pt x="20" y="21"/>
                  </a:lnTo>
                  <a:lnTo>
                    <a:pt x="10" y="21"/>
                  </a:lnTo>
                  <a:lnTo>
                    <a:pt x="0" y="21"/>
                  </a:lnTo>
                  <a:lnTo>
                    <a:pt x="0" y="11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83676" name="Freeform 11"/>
            <p:cNvSpPr>
              <a:spLocks/>
            </p:cNvSpPr>
            <p:nvPr/>
          </p:nvSpPr>
          <p:spPr bwMode="auto">
            <a:xfrm>
              <a:off x="3093" y="3586"/>
              <a:ext cx="15" cy="15"/>
            </a:xfrm>
            <a:custGeom>
              <a:avLst/>
              <a:gdLst>
                <a:gd name="T0" fmla="*/ 0 w 15"/>
                <a:gd name="T1" fmla="*/ 0 h 15"/>
                <a:gd name="T2" fmla="*/ 8 w 15"/>
                <a:gd name="T3" fmla="*/ 0 h 15"/>
                <a:gd name="T4" fmla="*/ 15 w 15"/>
                <a:gd name="T5" fmla="*/ 0 h 15"/>
                <a:gd name="T6" fmla="*/ 15 w 15"/>
                <a:gd name="T7" fmla="*/ 7 h 15"/>
                <a:gd name="T8" fmla="*/ 15 w 15"/>
                <a:gd name="T9" fmla="*/ 15 h 15"/>
                <a:gd name="T10" fmla="*/ 8 w 15"/>
                <a:gd name="T11" fmla="*/ 15 h 15"/>
                <a:gd name="T12" fmla="*/ 0 w 15"/>
                <a:gd name="T13" fmla="*/ 15 h 15"/>
                <a:gd name="T14" fmla="*/ 0 w 15"/>
                <a:gd name="T15" fmla="*/ 7 h 15"/>
                <a:gd name="T16" fmla="*/ 0 w 15"/>
                <a:gd name="T17" fmla="*/ 0 h 1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5"/>
                <a:gd name="T28" fmla="*/ 0 h 15"/>
                <a:gd name="T29" fmla="*/ 15 w 15"/>
                <a:gd name="T30" fmla="*/ 15 h 1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5" h="15">
                  <a:moveTo>
                    <a:pt x="0" y="0"/>
                  </a:moveTo>
                  <a:lnTo>
                    <a:pt x="8" y="0"/>
                  </a:lnTo>
                  <a:lnTo>
                    <a:pt x="15" y="0"/>
                  </a:lnTo>
                  <a:lnTo>
                    <a:pt x="15" y="7"/>
                  </a:lnTo>
                  <a:lnTo>
                    <a:pt x="15" y="15"/>
                  </a:lnTo>
                  <a:lnTo>
                    <a:pt x="8" y="15"/>
                  </a:lnTo>
                  <a:lnTo>
                    <a:pt x="0" y="15"/>
                  </a:lnTo>
                  <a:lnTo>
                    <a:pt x="0" y="7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83677" name="Rectangle 12"/>
            <p:cNvSpPr>
              <a:spLocks noChangeArrowheads="1"/>
            </p:cNvSpPr>
            <p:nvPr/>
          </p:nvSpPr>
          <p:spPr bwMode="auto">
            <a:xfrm>
              <a:off x="3096" y="3586"/>
              <a:ext cx="10" cy="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3678" name="Rectangle 13"/>
            <p:cNvSpPr>
              <a:spLocks noChangeArrowheads="1"/>
            </p:cNvSpPr>
            <p:nvPr/>
          </p:nvSpPr>
          <p:spPr bwMode="auto">
            <a:xfrm>
              <a:off x="3101" y="3547"/>
              <a:ext cx="30" cy="2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3679" name="Freeform 14"/>
            <p:cNvSpPr>
              <a:spLocks/>
            </p:cNvSpPr>
            <p:nvPr/>
          </p:nvSpPr>
          <p:spPr bwMode="auto">
            <a:xfrm>
              <a:off x="3104" y="3547"/>
              <a:ext cx="26" cy="27"/>
            </a:xfrm>
            <a:custGeom>
              <a:avLst/>
              <a:gdLst>
                <a:gd name="T0" fmla="*/ 0 w 26"/>
                <a:gd name="T1" fmla="*/ 0 h 27"/>
                <a:gd name="T2" fmla="*/ 14 w 26"/>
                <a:gd name="T3" fmla="*/ 0 h 27"/>
                <a:gd name="T4" fmla="*/ 26 w 26"/>
                <a:gd name="T5" fmla="*/ 0 h 27"/>
                <a:gd name="T6" fmla="*/ 26 w 26"/>
                <a:gd name="T7" fmla="*/ 14 h 27"/>
                <a:gd name="T8" fmla="*/ 26 w 26"/>
                <a:gd name="T9" fmla="*/ 27 h 27"/>
                <a:gd name="T10" fmla="*/ 14 w 26"/>
                <a:gd name="T11" fmla="*/ 27 h 27"/>
                <a:gd name="T12" fmla="*/ 0 w 26"/>
                <a:gd name="T13" fmla="*/ 27 h 27"/>
                <a:gd name="T14" fmla="*/ 0 w 26"/>
                <a:gd name="T15" fmla="*/ 14 h 27"/>
                <a:gd name="T16" fmla="*/ 0 w 26"/>
                <a:gd name="T17" fmla="*/ 0 h 2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6"/>
                <a:gd name="T28" fmla="*/ 0 h 27"/>
                <a:gd name="T29" fmla="*/ 26 w 26"/>
                <a:gd name="T30" fmla="*/ 27 h 2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6" h="27">
                  <a:moveTo>
                    <a:pt x="0" y="0"/>
                  </a:moveTo>
                  <a:lnTo>
                    <a:pt x="14" y="0"/>
                  </a:lnTo>
                  <a:lnTo>
                    <a:pt x="26" y="0"/>
                  </a:lnTo>
                  <a:lnTo>
                    <a:pt x="26" y="14"/>
                  </a:lnTo>
                  <a:lnTo>
                    <a:pt x="26" y="27"/>
                  </a:lnTo>
                  <a:lnTo>
                    <a:pt x="14" y="27"/>
                  </a:lnTo>
                  <a:lnTo>
                    <a:pt x="0" y="27"/>
                  </a:lnTo>
                  <a:lnTo>
                    <a:pt x="0" y="1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83680" name="Freeform 15"/>
            <p:cNvSpPr>
              <a:spLocks/>
            </p:cNvSpPr>
            <p:nvPr/>
          </p:nvSpPr>
          <p:spPr bwMode="auto">
            <a:xfrm>
              <a:off x="3106" y="3549"/>
              <a:ext cx="24" cy="22"/>
            </a:xfrm>
            <a:custGeom>
              <a:avLst/>
              <a:gdLst>
                <a:gd name="T0" fmla="*/ 0 w 24"/>
                <a:gd name="T1" fmla="*/ 0 h 22"/>
                <a:gd name="T2" fmla="*/ 12 w 24"/>
                <a:gd name="T3" fmla="*/ 0 h 22"/>
                <a:gd name="T4" fmla="*/ 24 w 24"/>
                <a:gd name="T5" fmla="*/ 0 h 22"/>
                <a:gd name="T6" fmla="*/ 24 w 24"/>
                <a:gd name="T7" fmla="*/ 10 h 22"/>
                <a:gd name="T8" fmla="*/ 24 w 24"/>
                <a:gd name="T9" fmla="*/ 22 h 22"/>
                <a:gd name="T10" fmla="*/ 12 w 24"/>
                <a:gd name="T11" fmla="*/ 22 h 22"/>
                <a:gd name="T12" fmla="*/ 0 w 24"/>
                <a:gd name="T13" fmla="*/ 22 h 22"/>
                <a:gd name="T14" fmla="*/ 0 w 24"/>
                <a:gd name="T15" fmla="*/ 10 h 22"/>
                <a:gd name="T16" fmla="*/ 0 w 24"/>
                <a:gd name="T17" fmla="*/ 0 h 2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4"/>
                <a:gd name="T28" fmla="*/ 0 h 22"/>
                <a:gd name="T29" fmla="*/ 24 w 24"/>
                <a:gd name="T30" fmla="*/ 22 h 22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4" h="22">
                  <a:moveTo>
                    <a:pt x="0" y="0"/>
                  </a:moveTo>
                  <a:lnTo>
                    <a:pt x="12" y="0"/>
                  </a:lnTo>
                  <a:lnTo>
                    <a:pt x="24" y="0"/>
                  </a:lnTo>
                  <a:lnTo>
                    <a:pt x="24" y="10"/>
                  </a:lnTo>
                  <a:lnTo>
                    <a:pt x="24" y="22"/>
                  </a:lnTo>
                  <a:lnTo>
                    <a:pt x="12" y="22"/>
                  </a:lnTo>
                  <a:lnTo>
                    <a:pt x="0" y="22"/>
                  </a:lnTo>
                  <a:lnTo>
                    <a:pt x="0" y="1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83681" name="Freeform 16"/>
            <p:cNvSpPr>
              <a:spLocks/>
            </p:cNvSpPr>
            <p:nvPr/>
          </p:nvSpPr>
          <p:spPr bwMode="auto">
            <a:xfrm>
              <a:off x="3109" y="3549"/>
              <a:ext cx="19" cy="19"/>
            </a:xfrm>
            <a:custGeom>
              <a:avLst/>
              <a:gdLst>
                <a:gd name="T0" fmla="*/ 0 w 19"/>
                <a:gd name="T1" fmla="*/ 0 h 19"/>
                <a:gd name="T2" fmla="*/ 10 w 19"/>
                <a:gd name="T3" fmla="*/ 0 h 19"/>
                <a:gd name="T4" fmla="*/ 19 w 19"/>
                <a:gd name="T5" fmla="*/ 0 h 19"/>
                <a:gd name="T6" fmla="*/ 19 w 19"/>
                <a:gd name="T7" fmla="*/ 10 h 19"/>
                <a:gd name="T8" fmla="*/ 19 w 19"/>
                <a:gd name="T9" fmla="*/ 19 h 19"/>
                <a:gd name="T10" fmla="*/ 10 w 19"/>
                <a:gd name="T11" fmla="*/ 19 h 19"/>
                <a:gd name="T12" fmla="*/ 0 w 19"/>
                <a:gd name="T13" fmla="*/ 19 h 19"/>
                <a:gd name="T14" fmla="*/ 0 w 19"/>
                <a:gd name="T15" fmla="*/ 10 h 19"/>
                <a:gd name="T16" fmla="*/ 0 w 19"/>
                <a:gd name="T17" fmla="*/ 0 h 1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9"/>
                <a:gd name="T28" fmla="*/ 0 h 19"/>
                <a:gd name="T29" fmla="*/ 19 w 19"/>
                <a:gd name="T30" fmla="*/ 19 h 1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9" h="19">
                  <a:moveTo>
                    <a:pt x="0" y="0"/>
                  </a:moveTo>
                  <a:lnTo>
                    <a:pt x="10" y="0"/>
                  </a:lnTo>
                  <a:lnTo>
                    <a:pt x="19" y="0"/>
                  </a:lnTo>
                  <a:lnTo>
                    <a:pt x="19" y="10"/>
                  </a:lnTo>
                  <a:lnTo>
                    <a:pt x="19" y="19"/>
                  </a:lnTo>
                  <a:lnTo>
                    <a:pt x="10" y="19"/>
                  </a:lnTo>
                  <a:lnTo>
                    <a:pt x="0" y="19"/>
                  </a:lnTo>
                  <a:lnTo>
                    <a:pt x="0" y="1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83682" name="Freeform 17"/>
            <p:cNvSpPr>
              <a:spLocks/>
            </p:cNvSpPr>
            <p:nvPr/>
          </p:nvSpPr>
          <p:spPr bwMode="auto">
            <a:xfrm>
              <a:off x="3113" y="3551"/>
              <a:ext cx="15" cy="13"/>
            </a:xfrm>
            <a:custGeom>
              <a:avLst/>
              <a:gdLst>
                <a:gd name="T0" fmla="*/ 0 w 15"/>
                <a:gd name="T1" fmla="*/ 0 h 13"/>
                <a:gd name="T2" fmla="*/ 6 w 15"/>
                <a:gd name="T3" fmla="*/ 0 h 13"/>
                <a:gd name="T4" fmla="*/ 15 w 15"/>
                <a:gd name="T5" fmla="*/ 0 h 13"/>
                <a:gd name="T6" fmla="*/ 15 w 15"/>
                <a:gd name="T7" fmla="*/ 6 h 13"/>
                <a:gd name="T8" fmla="*/ 15 w 15"/>
                <a:gd name="T9" fmla="*/ 13 h 13"/>
                <a:gd name="T10" fmla="*/ 6 w 15"/>
                <a:gd name="T11" fmla="*/ 13 h 13"/>
                <a:gd name="T12" fmla="*/ 0 w 15"/>
                <a:gd name="T13" fmla="*/ 13 h 13"/>
                <a:gd name="T14" fmla="*/ 0 w 15"/>
                <a:gd name="T15" fmla="*/ 6 h 13"/>
                <a:gd name="T16" fmla="*/ 0 w 15"/>
                <a:gd name="T17" fmla="*/ 0 h 1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5"/>
                <a:gd name="T28" fmla="*/ 0 h 13"/>
                <a:gd name="T29" fmla="*/ 15 w 15"/>
                <a:gd name="T30" fmla="*/ 13 h 1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5" h="13">
                  <a:moveTo>
                    <a:pt x="0" y="0"/>
                  </a:moveTo>
                  <a:lnTo>
                    <a:pt x="6" y="0"/>
                  </a:lnTo>
                  <a:lnTo>
                    <a:pt x="15" y="0"/>
                  </a:lnTo>
                  <a:lnTo>
                    <a:pt x="15" y="6"/>
                  </a:lnTo>
                  <a:lnTo>
                    <a:pt x="15" y="13"/>
                  </a:lnTo>
                  <a:lnTo>
                    <a:pt x="6" y="13"/>
                  </a:lnTo>
                  <a:lnTo>
                    <a:pt x="0" y="13"/>
                  </a:lnTo>
                  <a:lnTo>
                    <a:pt x="0" y="6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83683" name="Rectangle 18"/>
            <p:cNvSpPr>
              <a:spLocks noChangeArrowheads="1"/>
            </p:cNvSpPr>
            <p:nvPr/>
          </p:nvSpPr>
          <p:spPr bwMode="auto">
            <a:xfrm>
              <a:off x="3114" y="3551"/>
              <a:ext cx="12" cy="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3684" name="Rectangle 19"/>
            <p:cNvSpPr>
              <a:spLocks noChangeArrowheads="1"/>
            </p:cNvSpPr>
            <p:nvPr/>
          </p:nvSpPr>
          <p:spPr bwMode="auto">
            <a:xfrm>
              <a:off x="3119" y="3583"/>
              <a:ext cx="31" cy="3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3685" name="Freeform 20"/>
            <p:cNvSpPr>
              <a:spLocks/>
            </p:cNvSpPr>
            <p:nvPr/>
          </p:nvSpPr>
          <p:spPr bwMode="auto">
            <a:xfrm>
              <a:off x="3123" y="3584"/>
              <a:ext cx="27" cy="26"/>
            </a:xfrm>
            <a:custGeom>
              <a:avLst/>
              <a:gdLst>
                <a:gd name="T0" fmla="*/ 0 w 27"/>
                <a:gd name="T1" fmla="*/ 0 h 26"/>
                <a:gd name="T2" fmla="*/ 13 w 27"/>
                <a:gd name="T3" fmla="*/ 0 h 26"/>
                <a:gd name="T4" fmla="*/ 27 w 27"/>
                <a:gd name="T5" fmla="*/ 0 h 26"/>
                <a:gd name="T6" fmla="*/ 27 w 27"/>
                <a:gd name="T7" fmla="*/ 12 h 26"/>
                <a:gd name="T8" fmla="*/ 27 w 27"/>
                <a:gd name="T9" fmla="*/ 26 h 26"/>
                <a:gd name="T10" fmla="*/ 13 w 27"/>
                <a:gd name="T11" fmla="*/ 26 h 26"/>
                <a:gd name="T12" fmla="*/ 0 w 27"/>
                <a:gd name="T13" fmla="*/ 26 h 26"/>
                <a:gd name="T14" fmla="*/ 0 w 27"/>
                <a:gd name="T15" fmla="*/ 12 h 26"/>
                <a:gd name="T16" fmla="*/ 0 w 27"/>
                <a:gd name="T17" fmla="*/ 0 h 2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7"/>
                <a:gd name="T28" fmla="*/ 0 h 26"/>
                <a:gd name="T29" fmla="*/ 27 w 27"/>
                <a:gd name="T30" fmla="*/ 26 h 2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7" h="26">
                  <a:moveTo>
                    <a:pt x="0" y="0"/>
                  </a:moveTo>
                  <a:lnTo>
                    <a:pt x="13" y="0"/>
                  </a:lnTo>
                  <a:lnTo>
                    <a:pt x="27" y="0"/>
                  </a:lnTo>
                  <a:lnTo>
                    <a:pt x="27" y="12"/>
                  </a:lnTo>
                  <a:lnTo>
                    <a:pt x="27" y="26"/>
                  </a:lnTo>
                  <a:lnTo>
                    <a:pt x="13" y="26"/>
                  </a:lnTo>
                  <a:lnTo>
                    <a:pt x="0" y="26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83686" name="Freeform 21"/>
            <p:cNvSpPr>
              <a:spLocks/>
            </p:cNvSpPr>
            <p:nvPr/>
          </p:nvSpPr>
          <p:spPr bwMode="auto">
            <a:xfrm>
              <a:off x="3124" y="3584"/>
              <a:ext cx="24" cy="22"/>
            </a:xfrm>
            <a:custGeom>
              <a:avLst/>
              <a:gdLst>
                <a:gd name="T0" fmla="*/ 0 w 24"/>
                <a:gd name="T1" fmla="*/ 0 h 22"/>
                <a:gd name="T2" fmla="*/ 12 w 24"/>
                <a:gd name="T3" fmla="*/ 0 h 22"/>
                <a:gd name="T4" fmla="*/ 24 w 24"/>
                <a:gd name="T5" fmla="*/ 0 h 22"/>
                <a:gd name="T6" fmla="*/ 24 w 24"/>
                <a:gd name="T7" fmla="*/ 12 h 22"/>
                <a:gd name="T8" fmla="*/ 24 w 24"/>
                <a:gd name="T9" fmla="*/ 22 h 22"/>
                <a:gd name="T10" fmla="*/ 12 w 24"/>
                <a:gd name="T11" fmla="*/ 22 h 22"/>
                <a:gd name="T12" fmla="*/ 0 w 24"/>
                <a:gd name="T13" fmla="*/ 22 h 22"/>
                <a:gd name="T14" fmla="*/ 0 w 24"/>
                <a:gd name="T15" fmla="*/ 12 h 22"/>
                <a:gd name="T16" fmla="*/ 0 w 24"/>
                <a:gd name="T17" fmla="*/ 0 h 2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4"/>
                <a:gd name="T28" fmla="*/ 0 h 22"/>
                <a:gd name="T29" fmla="*/ 24 w 24"/>
                <a:gd name="T30" fmla="*/ 22 h 22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4" h="22">
                  <a:moveTo>
                    <a:pt x="0" y="0"/>
                  </a:moveTo>
                  <a:lnTo>
                    <a:pt x="12" y="0"/>
                  </a:lnTo>
                  <a:lnTo>
                    <a:pt x="24" y="0"/>
                  </a:lnTo>
                  <a:lnTo>
                    <a:pt x="24" y="12"/>
                  </a:lnTo>
                  <a:lnTo>
                    <a:pt x="24" y="22"/>
                  </a:lnTo>
                  <a:lnTo>
                    <a:pt x="12" y="22"/>
                  </a:lnTo>
                  <a:lnTo>
                    <a:pt x="0" y="2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83687" name="Freeform 22"/>
            <p:cNvSpPr>
              <a:spLocks/>
            </p:cNvSpPr>
            <p:nvPr/>
          </p:nvSpPr>
          <p:spPr bwMode="auto">
            <a:xfrm>
              <a:off x="3128" y="3584"/>
              <a:ext cx="18" cy="21"/>
            </a:xfrm>
            <a:custGeom>
              <a:avLst/>
              <a:gdLst>
                <a:gd name="T0" fmla="*/ 0 w 18"/>
                <a:gd name="T1" fmla="*/ 0 h 21"/>
                <a:gd name="T2" fmla="*/ 10 w 18"/>
                <a:gd name="T3" fmla="*/ 0 h 21"/>
                <a:gd name="T4" fmla="*/ 18 w 18"/>
                <a:gd name="T5" fmla="*/ 0 h 21"/>
                <a:gd name="T6" fmla="*/ 18 w 18"/>
                <a:gd name="T7" fmla="*/ 11 h 21"/>
                <a:gd name="T8" fmla="*/ 18 w 18"/>
                <a:gd name="T9" fmla="*/ 21 h 21"/>
                <a:gd name="T10" fmla="*/ 10 w 18"/>
                <a:gd name="T11" fmla="*/ 21 h 21"/>
                <a:gd name="T12" fmla="*/ 0 w 18"/>
                <a:gd name="T13" fmla="*/ 21 h 21"/>
                <a:gd name="T14" fmla="*/ 0 w 18"/>
                <a:gd name="T15" fmla="*/ 11 h 21"/>
                <a:gd name="T16" fmla="*/ 0 w 18"/>
                <a:gd name="T17" fmla="*/ 0 h 2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8"/>
                <a:gd name="T28" fmla="*/ 0 h 21"/>
                <a:gd name="T29" fmla="*/ 18 w 18"/>
                <a:gd name="T30" fmla="*/ 21 h 21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8" h="21">
                  <a:moveTo>
                    <a:pt x="0" y="0"/>
                  </a:moveTo>
                  <a:lnTo>
                    <a:pt x="10" y="0"/>
                  </a:lnTo>
                  <a:lnTo>
                    <a:pt x="18" y="0"/>
                  </a:lnTo>
                  <a:lnTo>
                    <a:pt x="18" y="11"/>
                  </a:lnTo>
                  <a:lnTo>
                    <a:pt x="18" y="21"/>
                  </a:lnTo>
                  <a:lnTo>
                    <a:pt x="10" y="21"/>
                  </a:lnTo>
                  <a:lnTo>
                    <a:pt x="0" y="21"/>
                  </a:lnTo>
                  <a:lnTo>
                    <a:pt x="0" y="11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83688" name="Freeform 23"/>
            <p:cNvSpPr>
              <a:spLocks/>
            </p:cNvSpPr>
            <p:nvPr/>
          </p:nvSpPr>
          <p:spPr bwMode="auto">
            <a:xfrm>
              <a:off x="3131" y="3586"/>
              <a:ext cx="15" cy="15"/>
            </a:xfrm>
            <a:custGeom>
              <a:avLst/>
              <a:gdLst>
                <a:gd name="T0" fmla="*/ 0 w 15"/>
                <a:gd name="T1" fmla="*/ 0 h 15"/>
                <a:gd name="T2" fmla="*/ 7 w 15"/>
                <a:gd name="T3" fmla="*/ 0 h 15"/>
                <a:gd name="T4" fmla="*/ 15 w 15"/>
                <a:gd name="T5" fmla="*/ 0 h 15"/>
                <a:gd name="T6" fmla="*/ 15 w 15"/>
                <a:gd name="T7" fmla="*/ 7 h 15"/>
                <a:gd name="T8" fmla="*/ 15 w 15"/>
                <a:gd name="T9" fmla="*/ 15 h 15"/>
                <a:gd name="T10" fmla="*/ 7 w 15"/>
                <a:gd name="T11" fmla="*/ 15 h 15"/>
                <a:gd name="T12" fmla="*/ 0 w 15"/>
                <a:gd name="T13" fmla="*/ 15 h 15"/>
                <a:gd name="T14" fmla="*/ 0 w 15"/>
                <a:gd name="T15" fmla="*/ 7 h 15"/>
                <a:gd name="T16" fmla="*/ 0 w 15"/>
                <a:gd name="T17" fmla="*/ 0 h 1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5"/>
                <a:gd name="T28" fmla="*/ 0 h 15"/>
                <a:gd name="T29" fmla="*/ 15 w 15"/>
                <a:gd name="T30" fmla="*/ 15 h 1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5" h="15">
                  <a:moveTo>
                    <a:pt x="0" y="0"/>
                  </a:moveTo>
                  <a:lnTo>
                    <a:pt x="7" y="0"/>
                  </a:lnTo>
                  <a:lnTo>
                    <a:pt x="15" y="0"/>
                  </a:lnTo>
                  <a:lnTo>
                    <a:pt x="15" y="7"/>
                  </a:lnTo>
                  <a:lnTo>
                    <a:pt x="15" y="15"/>
                  </a:lnTo>
                  <a:lnTo>
                    <a:pt x="7" y="15"/>
                  </a:lnTo>
                  <a:lnTo>
                    <a:pt x="0" y="15"/>
                  </a:lnTo>
                  <a:lnTo>
                    <a:pt x="0" y="7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83689" name="Rectangle 24"/>
            <p:cNvSpPr>
              <a:spLocks noChangeArrowheads="1"/>
            </p:cNvSpPr>
            <p:nvPr/>
          </p:nvSpPr>
          <p:spPr bwMode="auto">
            <a:xfrm>
              <a:off x="3133" y="3586"/>
              <a:ext cx="12" cy="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83581" name="Rectangle 25"/>
          <p:cNvSpPr>
            <a:spLocks noChangeAspect="1" noChangeArrowheads="1"/>
          </p:cNvSpPr>
          <p:nvPr/>
        </p:nvSpPr>
        <p:spPr bwMode="auto">
          <a:xfrm>
            <a:off x="163513" y="1773238"/>
            <a:ext cx="288925" cy="144462"/>
          </a:xfrm>
          <a:prstGeom prst="rect">
            <a:avLst/>
          </a:prstGeom>
          <a:solidFill>
            <a:srgbClr val="CCECFF"/>
          </a:solidFill>
          <a:ln w="3175" algn="ctr">
            <a:solidFill>
              <a:schemeClr val="bg1"/>
            </a:solidFill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3582" name="Rectangle 26"/>
          <p:cNvSpPr>
            <a:spLocks noChangeAspect="1" noChangeArrowheads="1"/>
          </p:cNvSpPr>
          <p:nvPr/>
        </p:nvSpPr>
        <p:spPr bwMode="auto">
          <a:xfrm>
            <a:off x="179388" y="1503363"/>
            <a:ext cx="269875" cy="136525"/>
          </a:xfrm>
          <a:prstGeom prst="rect">
            <a:avLst/>
          </a:prstGeom>
          <a:solidFill>
            <a:schemeClr val="accent1"/>
          </a:solidFill>
          <a:ln w="3175" algn="ctr">
            <a:solidFill>
              <a:schemeClr val="bg1"/>
            </a:solidFill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33890" name="Rectangle 27"/>
          <p:cNvSpPr>
            <a:spLocks noChangeAspect="1" noChangeArrowheads="1"/>
          </p:cNvSpPr>
          <p:nvPr/>
        </p:nvSpPr>
        <p:spPr bwMode="auto">
          <a:xfrm>
            <a:off x="179388" y="3084513"/>
            <a:ext cx="269875" cy="134937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3175" algn="ctr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83584" name="Text Box 28"/>
          <p:cNvSpPr txBox="1">
            <a:spLocks noChangeArrowheads="1"/>
          </p:cNvSpPr>
          <p:nvPr/>
        </p:nvSpPr>
        <p:spPr bwMode="auto">
          <a:xfrm>
            <a:off x="468313" y="1719263"/>
            <a:ext cx="3959225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ru-RU" sz="900"/>
              <a:t>Добыча цветных металлов (золото, серебро) на существующих (Купол, Майское) и новых рудных месторождениях, а также на россыпных месторождениях. Основные районы добычи: Билибинский район, Чаунский район. Общий объем добычи к 2025 г. составит  40 – 43 т золота.</a:t>
            </a:r>
          </a:p>
        </p:txBody>
      </p:sp>
      <p:sp>
        <p:nvSpPr>
          <p:cNvPr id="83585" name="Text Box 29"/>
          <p:cNvSpPr txBox="1">
            <a:spLocks noChangeArrowheads="1"/>
          </p:cNvSpPr>
          <p:nvPr/>
        </p:nvSpPr>
        <p:spPr bwMode="auto">
          <a:xfrm>
            <a:off x="468313" y="2971800"/>
            <a:ext cx="4032250" cy="501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ru-RU" sz="900"/>
              <a:t>Развитие отраслей традиционной экономики (оленеводство, морской зверобойный промысел, рыболовство, народные ремесла и пр.) в Анадырском,</a:t>
            </a:r>
            <a:r>
              <a:rPr lang="en-US" sz="900"/>
              <a:t> </a:t>
            </a:r>
            <a:r>
              <a:rPr lang="ru-RU" sz="900"/>
              <a:t>Иультинском,</a:t>
            </a:r>
            <a:r>
              <a:rPr lang="en-US" sz="900"/>
              <a:t> </a:t>
            </a:r>
            <a:r>
              <a:rPr lang="ru-RU" sz="900"/>
              <a:t>Провиденском и Чукотском районах </a:t>
            </a:r>
          </a:p>
        </p:txBody>
      </p:sp>
      <p:sp>
        <p:nvSpPr>
          <p:cNvPr id="83586" name="Text Box 30"/>
          <p:cNvSpPr txBox="1">
            <a:spLocks noChangeArrowheads="1"/>
          </p:cNvSpPr>
          <p:nvPr/>
        </p:nvSpPr>
        <p:spPr bwMode="auto">
          <a:xfrm>
            <a:off x="468313" y="1412875"/>
            <a:ext cx="4032250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ru-RU" sz="900"/>
              <a:t>Добыча угля в Амаамском месторождении в объеме 7 млн. т и Верхне-Алькатваамском – 5 млн. т, обогащение и его экспорт в страны АТР</a:t>
            </a:r>
          </a:p>
        </p:txBody>
      </p:sp>
      <p:sp>
        <p:nvSpPr>
          <p:cNvPr id="83587" name="Text Box 32"/>
          <p:cNvSpPr txBox="1">
            <a:spLocks noChangeArrowheads="1"/>
          </p:cNvSpPr>
          <p:nvPr/>
        </p:nvSpPr>
        <p:spPr bwMode="auto">
          <a:xfrm>
            <a:off x="468313" y="2443163"/>
            <a:ext cx="4175125" cy="638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900">
                <a:solidFill>
                  <a:srgbClr val="000000"/>
                </a:solidFill>
              </a:rPr>
              <a:t>Разработка месторождений (медь, золото, серебро, молибден) Баимской рудной зоны. Начало промышленной эксплуатации в 2024 году: с 70 и выходом 180 тыс. т меди, с 1 и выходом до 9 т</a:t>
            </a:r>
          </a:p>
          <a:p>
            <a:r>
              <a:rPr lang="ru-RU" sz="900">
                <a:solidFill>
                  <a:srgbClr val="000000"/>
                </a:solidFill>
              </a:rPr>
              <a:t> золота</a:t>
            </a:r>
          </a:p>
        </p:txBody>
      </p:sp>
      <p:sp>
        <p:nvSpPr>
          <p:cNvPr id="83588" name="Text Box 50"/>
          <p:cNvSpPr txBox="1">
            <a:spLocks noChangeArrowheads="1"/>
          </p:cNvSpPr>
          <p:nvPr/>
        </p:nvSpPr>
        <p:spPr bwMode="auto">
          <a:xfrm>
            <a:off x="106363" y="1196975"/>
            <a:ext cx="4321175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ru-RU" sz="1000" b="1">
                <a:solidFill>
                  <a:srgbClr val="000000"/>
                </a:solidFill>
              </a:rPr>
              <a:t>Основные направления экономической  деятельности </a:t>
            </a:r>
          </a:p>
        </p:txBody>
      </p:sp>
      <p:sp>
        <p:nvSpPr>
          <p:cNvPr id="33908" name="AutoShape 51"/>
          <p:cNvSpPr>
            <a:spLocks noChangeArrowheads="1"/>
          </p:cNvSpPr>
          <p:nvPr/>
        </p:nvSpPr>
        <p:spPr bwMode="auto">
          <a:xfrm rot="-5400000">
            <a:off x="2807493" y="3393282"/>
            <a:ext cx="4176713" cy="215900"/>
          </a:xfrm>
          <a:prstGeom prst="downArrow">
            <a:avLst>
              <a:gd name="adj1" fmla="val 100000"/>
              <a:gd name="adj2" fmla="val 100000"/>
            </a:avLst>
          </a:prstGeom>
          <a:solidFill>
            <a:srgbClr val="6699FF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pPr>
              <a:defRPr/>
            </a:pPr>
            <a:endParaRPr lang="en-US"/>
          </a:p>
        </p:txBody>
      </p:sp>
      <p:sp>
        <p:nvSpPr>
          <p:cNvPr id="83590" name="Rectangle 52"/>
          <p:cNvSpPr>
            <a:spLocks noChangeArrowheads="1"/>
          </p:cNvSpPr>
          <p:nvPr/>
        </p:nvSpPr>
        <p:spPr bwMode="auto">
          <a:xfrm>
            <a:off x="69850" y="1125538"/>
            <a:ext cx="4573588" cy="5032375"/>
          </a:xfrm>
          <a:prstGeom prst="rect">
            <a:avLst/>
          </a:prstGeom>
          <a:noFill/>
          <a:ln w="9525" algn="ctr">
            <a:solidFill>
              <a:srgbClr val="0033CC"/>
            </a:solidFill>
            <a:prstDash val="dash"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3591" name="Text Box 53"/>
          <p:cNvSpPr txBox="1">
            <a:spLocks noChangeArrowheads="1"/>
          </p:cNvSpPr>
          <p:nvPr/>
        </p:nvSpPr>
        <p:spPr bwMode="auto">
          <a:xfrm>
            <a:off x="4957763" y="4984750"/>
            <a:ext cx="4078287" cy="1082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000">
                <a:solidFill>
                  <a:srgbClr val="000000"/>
                </a:solidFill>
              </a:rPr>
              <a:t>(</a:t>
            </a:r>
            <a:r>
              <a:rPr lang="en-US" sz="1000">
                <a:solidFill>
                  <a:srgbClr val="000000"/>
                </a:solidFill>
              </a:rPr>
              <a:t>I)</a:t>
            </a:r>
            <a:r>
              <a:rPr lang="ru-RU" sz="1000">
                <a:solidFill>
                  <a:srgbClr val="000000"/>
                </a:solidFill>
              </a:rPr>
              <a:t> – Начало добычи угля на Амаамском месторождении</a:t>
            </a:r>
          </a:p>
          <a:p>
            <a:pPr>
              <a:spcBef>
                <a:spcPct val="50000"/>
              </a:spcBef>
            </a:pPr>
            <a:r>
              <a:rPr lang="ru-RU" sz="1000">
                <a:solidFill>
                  <a:srgbClr val="000000"/>
                </a:solidFill>
              </a:rPr>
              <a:t>(</a:t>
            </a:r>
            <a:r>
              <a:rPr lang="en-US" sz="1000">
                <a:solidFill>
                  <a:srgbClr val="000000"/>
                </a:solidFill>
              </a:rPr>
              <a:t>II)</a:t>
            </a:r>
            <a:r>
              <a:rPr lang="ru-RU" sz="1000">
                <a:solidFill>
                  <a:srgbClr val="000000"/>
                </a:solidFill>
              </a:rPr>
              <a:t> – Начало добычи металлов на месторождении Песчанка</a:t>
            </a:r>
            <a:r>
              <a:rPr lang="en-US" sz="1000">
                <a:solidFill>
                  <a:srgbClr val="000000"/>
                </a:solidFill>
              </a:rPr>
              <a:t> </a:t>
            </a:r>
            <a:r>
              <a:rPr lang="ru-RU" sz="1000">
                <a:solidFill>
                  <a:srgbClr val="000000"/>
                </a:solidFill>
              </a:rPr>
              <a:t>Баимской рудной зоны</a:t>
            </a:r>
          </a:p>
          <a:p>
            <a:pPr>
              <a:spcBef>
                <a:spcPct val="50000"/>
              </a:spcBef>
            </a:pPr>
            <a:endParaRPr lang="ru-RU" sz="1000">
              <a:solidFill>
                <a:srgbClr val="000000"/>
              </a:solidFill>
            </a:endParaRPr>
          </a:p>
          <a:p>
            <a:pPr>
              <a:spcBef>
                <a:spcPct val="50000"/>
              </a:spcBef>
            </a:pPr>
            <a:r>
              <a:rPr lang="ru-RU" sz="1000">
                <a:solidFill>
                  <a:srgbClr val="000000"/>
                </a:solidFill>
              </a:rPr>
              <a:t>* В прогнозных ценах</a:t>
            </a:r>
          </a:p>
        </p:txBody>
      </p:sp>
      <p:grpSp>
        <p:nvGrpSpPr>
          <p:cNvPr id="83592" name="Group 54"/>
          <p:cNvGrpSpPr>
            <a:grpSpLocks/>
          </p:cNvGrpSpPr>
          <p:nvPr/>
        </p:nvGrpSpPr>
        <p:grpSpPr bwMode="auto">
          <a:xfrm>
            <a:off x="250825" y="3756025"/>
            <a:ext cx="4038600" cy="2409825"/>
            <a:chOff x="158" y="2366"/>
            <a:chExt cx="2544" cy="1518"/>
          </a:xfrm>
        </p:grpSpPr>
        <p:sp>
          <p:nvSpPr>
            <p:cNvPr id="83610" name="Freeform 55"/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917" y="2395"/>
              <a:ext cx="109" cy="85"/>
            </a:xfrm>
            <a:custGeom>
              <a:avLst/>
              <a:gdLst>
                <a:gd name="T0" fmla="*/ 0 w 190"/>
                <a:gd name="T1" fmla="*/ 1 h 144"/>
                <a:gd name="T2" fmla="*/ 1 w 190"/>
                <a:gd name="T3" fmla="*/ 1 h 144"/>
                <a:gd name="T4" fmla="*/ 1 w 190"/>
                <a:gd name="T5" fmla="*/ 1 h 144"/>
                <a:gd name="T6" fmla="*/ 1 w 190"/>
                <a:gd name="T7" fmla="*/ 1 h 144"/>
                <a:gd name="T8" fmla="*/ 1 w 190"/>
                <a:gd name="T9" fmla="*/ 1 h 144"/>
                <a:gd name="T10" fmla="*/ 1 w 190"/>
                <a:gd name="T11" fmla="*/ 1 h 144"/>
                <a:gd name="T12" fmla="*/ 1 w 190"/>
                <a:gd name="T13" fmla="*/ 1 h 144"/>
                <a:gd name="T14" fmla="*/ 1 w 190"/>
                <a:gd name="T15" fmla="*/ 1 h 144"/>
                <a:gd name="T16" fmla="*/ 1 w 190"/>
                <a:gd name="T17" fmla="*/ 1 h 144"/>
                <a:gd name="T18" fmla="*/ 1 w 190"/>
                <a:gd name="T19" fmla="*/ 1 h 144"/>
                <a:gd name="T20" fmla="*/ 1 w 190"/>
                <a:gd name="T21" fmla="*/ 0 h 144"/>
                <a:gd name="T22" fmla="*/ 1 w 190"/>
                <a:gd name="T23" fmla="*/ 1 h 144"/>
                <a:gd name="T24" fmla="*/ 1 w 190"/>
                <a:gd name="T25" fmla="*/ 1 h 144"/>
                <a:gd name="T26" fmla="*/ 1 w 190"/>
                <a:gd name="T27" fmla="*/ 1 h 144"/>
                <a:gd name="T28" fmla="*/ 1 w 190"/>
                <a:gd name="T29" fmla="*/ 1 h 144"/>
                <a:gd name="T30" fmla="*/ 1 w 190"/>
                <a:gd name="T31" fmla="*/ 1 h 144"/>
                <a:gd name="T32" fmla="*/ 1 w 190"/>
                <a:gd name="T33" fmla="*/ 1 h 144"/>
                <a:gd name="T34" fmla="*/ 1 w 190"/>
                <a:gd name="T35" fmla="*/ 1 h 144"/>
                <a:gd name="T36" fmla="*/ 1 w 190"/>
                <a:gd name="T37" fmla="*/ 1 h 144"/>
                <a:gd name="T38" fmla="*/ 1 w 190"/>
                <a:gd name="T39" fmla="*/ 1 h 144"/>
                <a:gd name="T40" fmla="*/ 1 w 190"/>
                <a:gd name="T41" fmla="*/ 1 h 144"/>
                <a:gd name="T42" fmla="*/ 1 w 190"/>
                <a:gd name="T43" fmla="*/ 1 h 144"/>
                <a:gd name="T44" fmla="*/ 1 w 190"/>
                <a:gd name="T45" fmla="*/ 1 h 144"/>
                <a:gd name="T46" fmla="*/ 1 w 190"/>
                <a:gd name="T47" fmla="*/ 1 h 144"/>
                <a:gd name="T48" fmla="*/ 1 w 190"/>
                <a:gd name="T49" fmla="*/ 1 h 144"/>
                <a:gd name="T50" fmla="*/ 1 w 190"/>
                <a:gd name="T51" fmla="*/ 1 h 144"/>
                <a:gd name="T52" fmla="*/ 1 w 190"/>
                <a:gd name="T53" fmla="*/ 1 h 144"/>
                <a:gd name="T54" fmla="*/ 1 w 190"/>
                <a:gd name="T55" fmla="*/ 1 h 144"/>
                <a:gd name="T56" fmla="*/ 1 w 190"/>
                <a:gd name="T57" fmla="*/ 1 h 144"/>
                <a:gd name="T58" fmla="*/ 1 w 190"/>
                <a:gd name="T59" fmla="*/ 1 h 144"/>
                <a:gd name="T60" fmla="*/ 1 w 190"/>
                <a:gd name="T61" fmla="*/ 1 h 144"/>
                <a:gd name="T62" fmla="*/ 1 w 190"/>
                <a:gd name="T63" fmla="*/ 1 h 144"/>
                <a:gd name="T64" fmla="*/ 1 w 190"/>
                <a:gd name="T65" fmla="*/ 1 h 144"/>
                <a:gd name="T66" fmla="*/ 1 w 190"/>
                <a:gd name="T67" fmla="*/ 1 h 144"/>
                <a:gd name="T68" fmla="*/ 1 w 190"/>
                <a:gd name="T69" fmla="*/ 1 h 144"/>
                <a:gd name="T70" fmla="*/ 1 w 190"/>
                <a:gd name="T71" fmla="*/ 1 h 144"/>
                <a:gd name="T72" fmla="*/ 1 w 190"/>
                <a:gd name="T73" fmla="*/ 1 h 144"/>
                <a:gd name="T74" fmla="*/ 1 w 190"/>
                <a:gd name="T75" fmla="*/ 1 h 144"/>
                <a:gd name="T76" fmla="*/ 1 w 190"/>
                <a:gd name="T77" fmla="*/ 1 h 144"/>
                <a:gd name="T78" fmla="*/ 1 w 190"/>
                <a:gd name="T79" fmla="*/ 1 h 144"/>
                <a:gd name="T80" fmla="*/ 1 w 190"/>
                <a:gd name="T81" fmla="*/ 1 h 144"/>
                <a:gd name="T82" fmla="*/ 1 w 190"/>
                <a:gd name="T83" fmla="*/ 1 h 144"/>
                <a:gd name="T84" fmla="*/ 1 w 190"/>
                <a:gd name="T85" fmla="*/ 1 h 144"/>
                <a:gd name="T86" fmla="*/ 1 w 190"/>
                <a:gd name="T87" fmla="*/ 1 h 144"/>
                <a:gd name="T88" fmla="*/ 1 w 190"/>
                <a:gd name="T89" fmla="*/ 1 h 144"/>
                <a:gd name="T90" fmla="*/ 1 w 190"/>
                <a:gd name="T91" fmla="*/ 1 h 144"/>
                <a:gd name="T92" fmla="*/ 0 w 190"/>
                <a:gd name="T93" fmla="*/ 1 h 14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190"/>
                <a:gd name="T142" fmla="*/ 0 h 144"/>
                <a:gd name="T143" fmla="*/ 190 w 190"/>
                <a:gd name="T144" fmla="*/ 144 h 14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190" h="144">
                  <a:moveTo>
                    <a:pt x="0" y="67"/>
                  </a:moveTo>
                  <a:lnTo>
                    <a:pt x="7" y="49"/>
                  </a:lnTo>
                  <a:lnTo>
                    <a:pt x="15" y="33"/>
                  </a:lnTo>
                  <a:lnTo>
                    <a:pt x="20" y="27"/>
                  </a:lnTo>
                  <a:lnTo>
                    <a:pt x="25" y="22"/>
                  </a:lnTo>
                  <a:lnTo>
                    <a:pt x="30" y="17"/>
                  </a:lnTo>
                  <a:lnTo>
                    <a:pt x="35" y="13"/>
                  </a:lnTo>
                  <a:lnTo>
                    <a:pt x="59" y="10"/>
                  </a:lnTo>
                  <a:lnTo>
                    <a:pt x="77" y="6"/>
                  </a:lnTo>
                  <a:lnTo>
                    <a:pt x="79" y="3"/>
                  </a:lnTo>
                  <a:lnTo>
                    <a:pt x="79" y="0"/>
                  </a:lnTo>
                  <a:lnTo>
                    <a:pt x="89" y="3"/>
                  </a:lnTo>
                  <a:lnTo>
                    <a:pt x="98" y="6"/>
                  </a:lnTo>
                  <a:lnTo>
                    <a:pt x="106" y="13"/>
                  </a:lnTo>
                  <a:lnTo>
                    <a:pt x="116" y="23"/>
                  </a:lnTo>
                  <a:lnTo>
                    <a:pt x="131" y="28"/>
                  </a:lnTo>
                  <a:lnTo>
                    <a:pt x="147" y="33"/>
                  </a:lnTo>
                  <a:lnTo>
                    <a:pt x="162" y="38"/>
                  </a:lnTo>
                  <a:lnTo>
                    <a:pt x="177" y="43"/>
                  </a:lnTo>
                  <a:lnTo>
                    <a:pt x="184" y="49"/>
                  </a:lnTo>
                  <a:lnTo>
                    <a:pt x="189" y="54"/>
                  </a:lnTo>
                  <a:lnTo>
                    <a:pt x="190" y="60"/>
                  </a:lnTo>
                  <a:lnTo>
                    <a:pt x="189" y="67"/>
                  </a:lnTo>
                  <a:lnTo>
                    <a:pt x="187" y="72"/>
                  </a:lnTo>
                  <a:lnTo>
                    <a:pt x="184" y="77"/>
                  </a:lnTo>
                  <a:lnTo>
                    <a:pt x="178" y="79"/>
                  </a:lnTo>
                  <a:lnTo>
                    <a:pt x="173" y="77"/>
                  </a:lnTo>
                  <a:lnTo>
                    <a:pt x="172" y="99"/>
                  </a:lnTo>
                  <a:lnTo>
                    <a:pt x="170" y="119"/>
                  </a:lnTo>
                  <a:lnTo>
                    <a:pt x="172" y="126"/>
                  </a:lnTo>
                  <a:lnTo>
                    <a:pt x="172" y="133"/>
                  </a:lnTo>
                  <a:lnTo>
                    <a:pt x="170" y="138"/>
                  </a:lnTo>
                  <a:lnTo>
                    <a:pt x="167" y="141"/>
                  </a:lnTo>
                  <a:lnTo>
                    <a:pt x="162" y="143"/>
                  </a:lnTo>
                  <a:lnTo>
                    <a:pt x="155" y="144"/>
                  </a:lnTo>
                  <a:lnTo>
                    <a:pt x="147" y="144"/>
                  </a:lnTo>
                  <a:lnTo>
                    <a:pt x="136" y="144"/>
                  </a:lnTo>
                  <a:lnTo>
                    <a:pt x="121" y="143"/>
                  </a:lnTo>
                  <a:lnTo>
                    <a:pt x="106" y="139"/>
                  </a:lnTo>
                  <a:lnTo>
                    <a:pt x="91" y="134"/>
                  </a:lnTo>
                  <a:lnTo>
                    <a:pt x="77" y="128"/>
                  </a:lnTo>
                  <a:lnTo>
                    <a:pt x="66" y="119"/>
                  </a:lnTo>
                  <a:lnTo>
                    <a:pt x="54" y="111"/>
                  </a:lnTo>
                  <a:lnTo>
                    <a:pt x="44" y="99"/>
                  </a:lnTo>
                  <a:lnTo>
                    <a:pt x="35" y="86"/>
                  </a:lnTo>
                  <a:lnTo>
                    <a:pt x="17" y="75"/>
                  </a:lnTo>
                  <a:lnTo>
                    <a:pt x="0" y="67"/>
                  </a:lnTo>
                </a:path>
              </a:pathLst>
            </a:custGeom>
            <a:solidFill>
              <a:schemeClr val="bg1"/>
            </a:solidFill>
            <a:ln w="3175">
              <a:solidFill>
                <a:srgbClr val="1F1A17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grpSp>
          <p:nvGrpSpPr>
            <p:cNvPr id="83611" name="Group 56"/>
            <p:cNvGrpSpPr>
              <a:grpSpLocks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2028" y="2791"/>
              <a:ext cx="455" cy="435"/>
              <a:chOff x="3206" y="2010"/>
              <a:chExt cx="798" cy="744"/>
            </a:xfrm>
          </p:grpSpPr>
          <p:sp>
            <p:nvSpPr>
              <p:cNvPr id="83669" name="Freeform 57" descr="Широкий диагональный 2"/>
              <p:cNvSpPr>
                <a:spLocks/>
              </p:cNvSpPr>
              <p:nvPr/>
            </p:nvSpPr>
            <p:spPr bwMode="auto">
              <a:xfrm>
                <a:off x="3920" y="2535"/>
                <a:ext cx="69" cy="59"/>
              </a:xfrm>
              <a:custGeom>
                <a:avLst/>
                <a:gdLst>
                  <a:gd name="T0" fmla="*/ 26 w 69"/>
                  <a:gd name="T1" fmla="*/ 44 h 59"/>
                  <a:gd name="T2" fmla="*/ 20 w 69"/>
                  <a:gd name="T3" fmla="*/ 49 h 59"/>
                  <a:gd name="T4" fmla="*/ 13 w 69"/>
                  <a:gd name="T5" fmla="*/ 54 h 59"/>
                  <a:gd name="T6" fmla="*/ 6 w 69"/>
                  <a:gd name="T7" fmla="*/ 59 h 59"/>
                  <a:gd name="T8" fmla="*/ 3 w 69"/>
                  <a:gd name="T9" fmla="*/ 59 h 59"/>
                  <a:gd name="T10" fmla="*/ 0 w 69"/>
                  <a:gd name="T11" fmla="*/ 56 h 59"/>
                  <a:gd name="T12" fmla="*/ 1 w 69"/>
                  <a:gd name="T13" fmla="*/ 47 h 59"/>
                  <a:gd name="T14" fmla="*/ 3 w 69"/>
                  <a:gd name="T15" fmla="*/ 32 h 59"/>
                  <a:gd name="T16" fmla="*/ 5 w 69"/>
                  <a:gd name="T17" fmla="*/ 19 h 59"/>
                  <a:gd name="T18" fmla="*/ 6 w 69"/>
                  <a:gd name="T19" fmla="*/ 12 h 59"/>
                  <a:gd name="T20" fmla="*/ 8 w 69"/>
                  <a:gd name="T21" fmla="*/ 9 h 59"/>
                  <a:gd name="T22" fmla="*/ 13 w 69"/>
                  <a:gd name="T23" fmla="*/ 4 h 59"/>
                  <a:gd name="T24" fmla="*/ 18 w 69"/>
                  <a:gd name="T25" fmla="*/ 0 h 59"/>
                  <a:gd name="T26" fmla="*/ 43 w 69"/>
                  <a:gd name="T27" fmla="*/ 5 h 59"/>
                  <a:gd name="T28" fmla="*/ 69 w 69"/>
                  <a:gd name="T29" fmla="*/ 10 h 59"/>
                  <a:gd name="T30" fmla="*/ 55 w 69"/>
                  <a:gd name="T31" fmla="*/ 24 h 59"/>
                  <a:gd name="T32" fmla="*/ 45 w 69"/>
                  <a:gd name="T33" fmla="*/ 36 h 59"/>
                  <a:gd name="T34" fmla="*/ 40 w 69"/>
                  <a:gd name="T35" fmla="*/ 41 h 59"/>
                  <a:gd name="T36" fmla="*/ 35 w 69"/>
                  <a:gd name="T37" fmla="*/ 42 h 59"/>
                  <a:gd name="T38" fmla="*/ 30 w 69"/>
                  <a:gd name="T39" fmla="*/ 44 h 59"/>
                  <a:gd name="T40" fmla="*/ 26 w 69"/>
                  <a:gd name="T41" fmla="*/ 44 h 59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69"/>
                  <a:gd name="T64" fmla="*/ 0 h 59"/>
                  <a:gd name="T65" fmla="*/ 69 w 69"/>
                  <a:gd name="T66" fmla="*/ 59 h 59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69" h="59">
                    <a:moveTo>
                      <a:pt x="26" y="44"/>
                    </a:moveTo>
                    <a:lnTo>
                      <a:pt x="20" y="49"/>
                    </a:lnTo>
                    <a:lnTo>
                      <a:pt x="13" y="54"/>
                    </a:lnTo>
                    <a:lnTo>
                      <a:pt x="6" y="59"/>
                    </a:lnTo>
                    <a:lnTo>
                      <a:pt x="3" y="59"/>
                    </a:lnTo>
                    <a:lnTo>
                      <a:pt x="0" y="56"/>
                    </a:lnTo>
                    <a:lnTo>
                      <a:pt x="1" y="47"/>
                    </a:lnTo>
                    <a:lnTo>
                      <a:pt x="3" y="32"/>
                    </a:lnTo>
                    <a:lnTo>
                      <a:pt x="5" y="19"/>
                    </a:lnTo>
                    <a:lnTo>
                      <a:pt x="6" y="12"/>
                    </a:lnTo>
                    <a:lnTo>
                      <a:pt x="8" y="9"/>
                    </a:lnTo>
                    <a:lnTo>
                      <a:pt x="13" y="4"/>
                    </a:lnTo>
                    <a:lnTo>
                      <a:pt x="18" y="0"/>
                    </a:lnTo>
                    <a:lnTo>
                      <a:pt x="43" y="5"/>
                    </a:lnTo>
                    <a:lnTo>
                      <a:pt x="69" y="10"/>
                    </a:lnTo>
                    <a:lnTo>
                      <a:pt x="55" y="24"/>
                    </a:lnTo>
                    <a:lnTo>
                      <a:pt x="45" y="36"/>
                    </a:lnTo>
                    <a:lnTo>
                      <a:pt x="40" y="41"/>
                    </a:lnTo>
                    <a:lnTo>
                      <a:pt x="35" y="42"/>
                    </a:lnTo>
                    <a:lnTo>
                      <a:pt x="30" y="44"/>
                    </a:lnTo>
                    <a:lnTo>
                      <a:pt x="26" y="44"/>
                    </a:lnTo>
                  </a:path>
                </a:pathLst>
              </a:custGeom>
              <a:pattFill prst="wdUpDiag">
                <a:fgClr>
                  <a:srgbClr val="6699FF"/>
                </a:fgClr>
                <a:bgClr>
                  <a:srgbClr val="FFFFFF"/>
                </a:bgClr>
              </a:pattFill>
              <a:ln w="317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3986" name="Freeform 58" descr="Широкий диагональный 2"/>
              <p:cNvSpPr>
                <a:spLocks/>
              </p:cNvSpPr>
              <p:nvPr/>
            </p:nvSpPr>
            <p:spPr bwMode="auto">
              <a:xfrm>
                <a:off x="3206" y="2010"/>
                <a:ext cx="798" cy="744"/>
              </a:xfrm>
              <a:custGeom>
                <a:avLst/>
                <a:gdLst>
                  <a:gd name="T0" fmla="*/ 717 w 798"/>
                  <a:gd name="T1" fmla="*/ 396 h 744"/>
                  <a:gd name="T2" fmla="*/ 671 w 798"/>
                  <a:gd name="T3" fmla="*/ 411 h 744"/>
                  <a:gd name="T4" fmla="*/ 688 w 798"/>
                  <a:gd name="T5" fmla="*/ 419 h 744"/>
                  <a:gd name="T6" fmla="*/ 729 w 798"/>
                  <a:gd name="T7" fmla="*/ 423 h 744"/>
                  <a:gd name="T8" fmla="*/ 735 w 798"/>
                  <a:gd name="T9" fmla="*/ 485 h 744"/>
                  <a:gd name="T10" fmla="*/ 677 w 798"/>
                  <a:gd name="T11" fmla="*/ 544 h 744"/>
                  <a:gd name="T12" fmla="*/ 646 w 798"/>
                  <a:gd name="T13" fmla="*/ 577 h 744"/>
                  <a:gd name="T14" fmla="*/ 682 w 798"/>
                  <a:gd name="T15" fmla="*/ 557 h 744"/>
                  <a:gd name="T16" fmla="*/ 678 w 798"/>
                  <a:gd name="T17" fmla="*/ 599 h 744"/>
                  <a:gd name="T18" fmla="*/ 692 w 798"/>
                  <a:gd name="T19" fmla="*/ 620 h 744"/>
                  <a:gd name="T20" fmla="*/ 710 w 798"/>
                  <a:gd name="T21" fmla="*/ 609 h 744"/>
                  <a:gd name="T22" fmla="*/ 746 w 798"/>
                  <a:gd name="T23" fmla="*/ 598 h 744"/>
                  <a:gd name="T24" fmla="*/ 796 w 798"/>
                  <a:gd name="T25" fmla="*/ 653 h 744"/>
                  <a:gd name="T26" fmla="*/ 754 w 798"/>
                  <a:gd name="T27" fmla="*/ 680 h 744"/>
                  <a:gd name="T28" fmla="*/ 717 w 798"/>
                  <a:gd name="T29" fmla="*/ 643 h 744"/>
                  <a:gd name="T30" fmla="*/ 687 w 798"/>
                  <a:gd name="T31" fmla="*/ 672 h 744"/>
                  <a:gd name="T32" fmla="*/ 724 w 798"/>
                  <a:gd name="T33" fmla="*/ 689 h 744"/>
                  <a:gd name="T34" fmla="*/ 697 w 798"/>
                  <a:gd name="T35" fmla="*/ 744 h 744"/>
                  <a:gd name="T36" fmla="*/ 633 w 798"/>
                  <a:gd name="T37" fmla="*/ 729 h 744"/>
                  <a:gd name="T38" fmla="*/ 584 w 798"/>
                  <a:gd name="T39" fmla="*/ 729 h 744"/>
                  <a:gd name="T40" fmla="*/ 544 w 798"/>
                  <a:gd name="T41" fmla="*/ 689 h 744"/>
                  <a:gd name="T42" fmla="*/ 446 w 798"/>
                  <a:gd name="T43" fmla="*/ 609 h 744"/>
                  <a:gd name="T44" fmla="*/ 422 w 798"/>
                  <a:gd name="T45" fmla="*/ 638 h 744"/>
                  <a:gd name="T46" fmla="*/ 390 w 798"/>
                  <a:gd name="T47" fmla="*/ 663 h 744"/>
                  <a:gd name="T48" fmla="*/ 330 w 798"/>
                  <a:gd name="T49" fmla="*/ 645 h 744"/>
                  <a:gd name="T50" fmla="*/ 274 w 798"/>
                  <a:gd name="T51" fmla="*/ 615 h 744"/>
                  <a:gd name="T52" fmla="*/ 229 w 798"/>
                  <a:gd name="T53" fmla="*/ 517 h 744"/>
                  <a:gd name="T54" fmla="*/ 222 w 798"/>
                  <a:gd name="T55" fmla="*/ 490 h 744"/>
                  <a:gd name="T56" fmla="*/ 161 w 798"/>
                  <a:gd name="T57" fmla="*/ 480 h 744"/>
                  <a:gd name="T58" fmla="*/ 119 w 798"/>
                  <a:gd name="T59" fmla="*/ 414 h 744"/>
                  <a:gd name="T60" fmla="*/ 99 w 798"/>
                  <a:gd name="T61" fmla="*/ 360 h 744"/>
                  <a:gd name="T62" fmla="*/ 76 w 798"/>
                  <a:gd name="T63" fmla="*/ 284 h 744"/>
                  <a:gd name="T64" fmla="*/ 12 w 798"/>
                  <a:gd name="T65" fmla="*/ 252 h 744"/>
                  <a:gd name="T66" fmla="*/ 60 w 798"/>
                  <a:gd name="T67" fmla="*/ 138 h 744"/>
                  <a:gd name="T68" fmla="*/ 87 w 798"/>
                  <a:gd name="T69" fmla="*/ 74 h 744"/>
                  <a:gd name="T70" fmla="*/ 145 w 798"/>
                  <a:gd name="T71" fmla="*/ 35 h 744"/>
                  <a:gd name="T72" fmla="*/ 172 w 798"/>
                  <a:gd name="T73" fmla="*/ 12 h 744"/>
                  <a:gd name="T74" fmla="*/ 200 w 798"/>
                  <a:gd name="T75" fmla="*/ 5 h 744"/>
                  <a:gd name="T76" fmla="*/ 215 w 798"/>
                  <a:gd name="T77" fmla="*/ 30 h 744"/>
                  <a:gd name="T78" fmla="*/ 214 w 798"/>
                  <a:gd name="T79" fmla="*/ 131 h 744"/>
                  <a:gd name="T80" fmla="*/ 219 w 798"/>
                  <a:gd name="T81" fmla="*/ 204 h 744"/>
                  <a:gd name="T82" fmla="*/ 204 w 798"/>
                  <a:gd name="T83" fmla="*/ 261 h 744"/>
                  <a:gd name="T84" fmla="*/ 257 w 798"/>
                  <a:gd name="T85" fmla="*/ 273 h 744"/>
                  <a:gd name="T86" fmla="*/ 244 w 798"/>
                  <a:gd name="T87" fmla="*/ 322 h 744"/>
                  <a:gd name="T88" fmla="*/ 321 w 798"/>
                  <a:gd name="T89" fmla="*/ 369 h 744"/>
                  <a:gd name="T90" fmla="*/ 380 w 798"/>
                  <a:gd name="T91" fmla="*/ 355 h 744"/>
                  <a:gd name="T92" fmla="*/ 395 w 798"/>
                  <a:gd name="T93" fmla="*/ 303 h 744"/>
                  <a:gd name="T94" fmla="*/ 367 w 798"/>
                  <a:gd name="T95" fmla="*/ 296 h 744"/>
                  <a:gd name="T96" fmla="*/ 390 w 798"/>
                  <a:gd name="T97" fmla="*/ 204 h 744"/>
                  <a:gd name="T98" fmla="*/ 411 w 798"/>
                  <a:gd name="T99" fmla="*/ 237 h 744"/>
                  <a:gd name="T100" fmla="*/ 459 w 798"/>
                  <a:gd name="T101" fmla="*/ 296 h 744"/>
                  <a:gd name="T102" fmla="*/ 503 w 798"/>
                  <a:gd name="T103" fmla="*/ 338 h 744"/>
                  <a:gd name="T104" fmla="*/ 503 w 798"/>
                  <a:gd name="T105" fmla="*/ 386 h 744"/>
                  <a:gd name="T106" fmla="*/ 533 w 798"/>
                  <a:gd name="T107" fmla="*/ 379 h 744"/>
                  <a:gd name="T108" fmla="*/ 535 w 798"/>
                  <a:gd name="T109" fmla="*/ 461 h 744"/>
                  <a:gd name="T110" fmla="*/ 574 w 798"/>
                  <a:gd name="T111" fmla="*/ 443 h 744"/>
                  <a:gd name="T112" fmla="*/ 641 w 798"/>
                  <a:gd name="T113" fmla="*/ 352 h 744"/>
                  <a:gd name="T114" fmla="*/ 705 w 798"/>
                  <a:gd name="T115" fmla="*/ 327 h 744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0" t="0" r="r" b="b"/>
                <a:pathLst>
                  <a:path w="798" h="744">
                    <a:moveTo>
                      <a:pt x="705" y="327"/>
                    </a:moveTo>
                    <a:lnTo>
                      <a:pt x="700" y="335"/>
                    </a:lnTo>
                    <a:lnTo>
                      <a:pt x="700" y="347"/>
                    </a:lnTo>
                    <a:lnTo>
                      <a:pt x="702" y="359"/>
                    </a:lnTo>
                    <a:lnTo>
                      <a:pt x="705" y="372"/>
                    </a:lnTo>
                    <a:lnTo>
                      <a:pt x="712" y="382"/>
                    </a:lnTo>
                    <a:lnTo>
                      <a:pt x="720" y="392"/>
                    </a:lnTo>
                    <a:lnTo>
                      <a:pt x="717" y="396"/>
                    </a:lnTo>
                    <a:lnTo>
                      <a:pt x="712" y="399"/>
                    </a:lnTo>
                    <a:lnTo>
                      <a:pt x="708" y="401"/>
                    </a:lnTo>
                    <a:lnTo>
                      <a:pt x="702" y="401"/>
                    </a:lnTo>
                    <a:lnTo>
                      <a:pt x="695" y="399"/>
                    </a:lnTo>
                    <a:lnTo>
                      <a:pt x="688" y="401"/>
                    </a:lnTo>
                    <a:lnTo>
                      <a:pt x="683" y="406"/>
                    </a:lnTo>
                    <a:lnTo>
                      <a:pt x="680" y="412"/>
                    </a:lnTo>
                    <a:lnTo>
                      <a:pt x="671" y="411"/>
                    </a:lnTo>
                    <a:lnTo>
                      <a:pt x="663" y="409"/>
                    </a:lnTo>
                    <a:lnTo>
                      <a:pt x="658" y="416"/>
                    </a:lnTo>
                    <a:lnTo>
                      <a:pt x="655" y="421"/>
                    </a:lnTo>
                    <a:lnTo>
                      <a:pt x="660" y="423"/>
                    </a:lnTo>
                    <a:lnTo>
                      <a:pt x="665" y="423"/>
                    </a:lnTo>
                    <a:lnTo>
                      <a:pt x="671" y="423"/>
                    </a:lnTo>
                    <a:lnTo>
                      <a:pt x="678" y="419"/>
                    </a:lnTo>
                    <a:lnTo>
                      <a:pt x="688" y="419"/>
                    </a:lnTo>
                    <a:lnTo>
                      <a:pt x="700" y="416"/>
                    </a:lnTo>
                    <a:lnTo>
                      <a:pt x="705" y="414"/>
                    </a:lnTo>
                    <a:lnTo>
                      <a:pt x="710" y="411"/>
                    </a:lnTo>
                    <a:lnTo>
                      <a:pt x="715" y="406"/>
                    </a:lnTo>
                    <a:lnTo>
                      <a:pt x="719" y="401"/>
                    </a:lnTo>
                    <a:lnTo>
                      <a:pt x="720" y="407"/>
                    </a:lnTo>
                    <a:lnTo>
                      <a:pt x="720" y="414"/>
                    </a:lnTo>
                    <a:lnTo>
                      <a:pt x="729" y="423"/>
                    </a:lnTo>
                    <a:lnTo>
                      <a:pt x="737" y="429"/>
                    </a:lnTo>
                    <a:lnTo>
                      <a:pt x="742" y="433"/>
                    </a:lnTo>
                    <a:lnTo>
                      <a:pt x="744" y="436"/>
                    </a:lnTo>
                    <a:lnTo>
                      <a:pt x="747" y="441"/>
                    </a:lnTo>
                    <a:lnTo>
                      <a:pt x="747" y="444"/>
                    </a:lnTo>
                    <a:lnTo>
                      <a:pt x="747" y="455"/>
                    </a:lnTo>
                    <a:lnTo>
                      <a:pt x="747" y="465"/>
                    </a:lnTo>
                    <a:lnTo>
                      <a:pt x="735" y="485"/>
                    </a:lnTo>
                    <a:lnTo>
                      <a:pt x="725" y="500"/>
                    </a:lnTo>
                    <a:lnTo>
                      <a:pt x="720" y="505"/>
                    </a:lnTo>
                    <a:lnTo>
                      <a:pt x="717" y="508"/>
                    </a:lnTo>
                    <a:lnTo>
                      <a:pt x="712" y="508"/>
                    </a:lnTo>
                    <a:lnTo>
                      <a:pt x="708" y="508"/>
                    </a:lnTo>
                    <a:lnTo>
                      <a:pt x="698" y="529"/>
                    </a:lnTo>
                    <a:lnTo>
                      <a:pt x="687" y="547"/>
                    </a:lnTo>
                    <a:lnTo>
                      <a:pt x="677" y="544"/>
                    </a:lnTo>
                    <a:lnTo>
                      <a:pt x="668" y="544"/>
                    </a:lnTo>
                    <a:lnTo>
                      <a:pt x="661" y="544"/>
                    </a:lnTo>
                    <a:lnTo>
                      <a:pt x="656" y="545"/>
                    </a:lnTo>
                    <a:lnTo>
                      <a:pt x="650" y="554"/>
                    </a:lnTo>
                    <a:lnTo>
                      <a:pt x="646" y="564"/>
                    </a:lnTo>
                    <a:lnTo>
                      <a:pt x="650" y="566"/>
                    </a:lnTo>
                    <a:lnTo>
                      <a:pt x="651" y="569"/>
                    </a:lnTo>
                    <a:lnTo>
                      <a:pt x="646" y="577"/>
                    </a:lnTo>
                    <a:lnTo>
                      <a:pt x="639" y="586"/>
                    </a:lnTo>
                    <a:lnTo>
                      <a:pt x="641" y="588"/>
                    </a:lnTo>
                    <a:lnTo>
                      <a:pt x="645" y="588"/>
                    </a:lnTo>
                    <a:lnTo>
                      <a:pt x="651" y="579"/>
                    </a:lnTo>
                    <a:lnTo>
                      <a:pt x="658" y="571"/>
                    </a:lnTo>
                    <a:lnTo>
                      <a:pt x="663" y="562"/>
                    </a:lnTo>
                    <a:lnTo>
                      <a:pt x="668" y="552"/>
                    </a:lnTo>
                    <a:lnTo>
                      <a:pt x="682" y="557"/>
                    </a:lnTo>
                    <a:lnTo>
                      <a:pt x="695" y="562"/>
                    </a:lnTo>
                    <a:lnTo>
                      <a:pt x="695" y="571"/>
                    </a:lnTo>
                    <a:lnTo>
                      <a:pt x="697" y="579"/>
                    </a:lnTo>
                    <a:lnTo>
                      <a:pt x="692" y="581"/>
                    </a:lnTo>
                    <a:lnTo>
                      <a:pt x="688" y="581"/>
                    </a:lnTo>
                    <a:lnTo>
                      <a:pt x="688" y="588"/>
                    </a:lnTo>
                    <a:lnTo>
                      <a:pt x="688" y="593"/>
                    </a:lnTo>
                    <a:lnTo>
                      <a:pt x="678" y="599"/>
                    </a:lnTo>
                    <a:lnTo>
                      <a:pt x="668" y="608"/>
                    </a:lnTo>
                    <a:lnTo>
                      <a:pt x="666" y="613"/>
                    </a:lnTo>
                    <a:lnTo>
                      <a:pt x="666" y="620"/>
                    </a:lnTo>
                    <a:lnTo>
                      <a:pt x="677" y="611"/>
                    </a:lnTo>
                    <a:lnTo>
                      <a:pt x="688" y="603"/>
                    </a:lnTo>
                    <a:lnTo>
                      <a:pt x="692" y="603"/>
                    </a:lnTo>
                    <a:lnTo>
                      <a:pt x="697" y="604"/>
                    </a:lnTo>
                    <a:lnTo>
                      <a:pt x="692" y="620"/>
                    </a:lnTo>
                    <a:lnTo>
                      <a:pt x="685" y="635"/>
                    </a:lnTo>
                    <a:lnTo>
                      <a:pt x="690" y="635"/>
                    </a:lnTo>
                    <a:lnTo>
                      <a:pt x="695" y="635"/>
                    </a:lnTo>
                    <a:lnTo>
                      <a:pt x="698" y="626"/>
                    </a:lnTo>
                    <a:lnTo>
                      <a:pt x="700" y="618"/>
                    </a:lnTo>
                    <a:lnTo>
                      <a:pt x="705" y="620"/>
                    </a:lnTo>
                    <a:lnTo>
                      <a:pt x="708" y="621"/>
                    </a:lnTo>
                    <a:lnTo>
                      <a:pt x="710" y="609"/>
                    </a:lnTo>
                    <a:lnTo>
                      <a:pt x="710" y="596"/>
                    </a:lnTo>
                    <a:lnTo>
                      <a:pt x="720" y="598"/>
                    </a:lnTo>
                    <a:lnTo>
                      <a:pt x="730" y="598"/>
                    </a:lnTo>
                    <a:lnTo>
                      <a:pt x="730" y="593"/>
                    </a:lnTo>
                    <a:lnTo>
                      <a:pt x="732" y="591"/>
                    </a:lnTo>
                    <a:lnTo>
                      <a:pt x="735" y="589"/>
                    </a:lnTo>
                    <a:lnTo>
                      <a:pt x="740" y="591"/>
                    </a:lnTo>
                    <a:lnTo>
                      <a:pt x="746" y="598"/>
                    </a:lnTo>
                    <a:lnTo>
                      <a:pt x="749" y="603"/>
                    </a:lnTo>
                    <a:lnTo>
                      <a:pt x="746" y="613"/>
                    </a:lnTo>
                    <a:lnTo>
                      <a:pt x="740" y="621"/>
                    </a:lnTo>
                    <a:lnTo>
                      <a:pt x="754" y="628"/>
                    </a:lnTo>
                    <a:lnTo>
                      <a:pt x="769" y="635"/>
                    </a:lnTo>
                    <a:lnTo>
                      <a:pt x="783" y="641"/>
                    </a:lnTo>
                    <a:lnTo>
                      <a:pt x="796" y="650"/>
                    </a:lnTo>
                    <a:lnTo>
                      <a:pt x="796" y="653"/>
                    </a:lnTo>
                    <a:lnTo>
                      <a:pt x="798" y="658"/>
                    </a:lnTo>
                    <a:lnTo>
                      <a:pt x="786" y="658"/>
                    </a:lnTo>
                    <a:lnTo>
                      <a:pt x="774" y="658"/>
                    </a:lnTo>
                    <a:lnTo>
                      <a:pt x="771" y="665"/>
                    </a:lnTo>
                    <a:lnTo>
                      <a:pt x="767" y="670"/>
                    </a:lnTo>
                    <a:lnTo>
                      <a:pt x="764" y="675"/>
                    </a:lnTo>
                    <a:lnTo>
                      <a:pt x="759" y="677"/>
                    </a:lnTo>
                    <a:lnTo>
                      <a:pt x="754" y="680"/>
                    </a:lnTo>
                    <a:lnTo>
                      <a:pt x="749" y="680"/>
                    </a:lnTo>
                    <a:lnTo>
                      <a:pt x="744" y="680"/>
                    </a:lnTo>
                    <a:lnTo>
                      <a:pt x="737" y="679"/>
                    </a:lnTo>
                    <a:lnTo>
                      <a:pt x="729" y="668"/>
                    </a:lnTo>
                    <a:lnTo>
                      <a:pt x="720" y="658"/>
                    </a:lnTo>
                    <a:lnTo>
                      <a:pt x="719" y="653"/>
                    </a:lnTo>
                    <a:lnTo>
                      <a:pt x="717" y="648"/>
                    </a:lnTo>
                    <a:lnTo>
                      <a:pt x="717" y="643"/>
                    </a:lnTo>
                    <a:lnTo>
                      <a:pt x="719" y="638"/>
                    </a:lnTo>
                    <a:lnTo>
                      <a:pt x="710" y="640"/>
                    </a:lnTo>
                    <a:lnTo>
                      <a:pt x="703" y="643"/>
                    </a:lnTo>
                    <a:lnTo>
                      <a:pt x="702" y="648"/>
                    </a:lnTo>
                    <a:lnTo>
                      <a:pt x="700" y="653"/>
                    </a:lnTo>
                    <a:lnTo>
                      <a:pt x="693" y="660"/>
                    </a:lnTo>
                    <a:lnTo>
                      <a:pt x="687" y="667"/>
                    </a:lnTo>
                    <a:lnTo>
                      <a:pt x="687" y="672"/>
                    </a:lnTo>
                    <a:lnTo>
                      <a:pt x="690" y="677"/>
                    </a:lnTo>
                    <a:lnTo>
                      <a:pt x="693" y="679"/>
                    </a:lnTo>
                    <a:lnTo>
                      <a:pt x="700" y="677"/>
                    </a:lnTo>
                    <a:lnTo>
                      <a:pt x="702" y="672"/>
                    </a:lnTo>
                    <a:lnTo>
                      <a:pt x="702" y="665"/>
                    </a:lnTo>
                    <a:lnTo>
                      <a:pt x="710" y="667"/>
                    </a:lnTo>
                    <a:lnTo>
                      <a:pt x="719" y="668"/>
                    </a:lnTo>
                    <a:lnTo>
                      <a:pt x="724" y="689"/>
                    </a:lnTo>
                    <a:lnTo>
                      <a:pt x="730" y="709"/>
                    </a:lnTo>
                    <a:lnTo>
                      <a:pt x="724" y="716"/>
                    </a:lnTo>
                    <a:lnTo>
                      <a:pt x="717" y="722"/>
                    </a:lnTo>
                    <a:lnTo>
                      <a:pt x="714" y="731"/>
                    </a:lnTo>
                    <a:lnTo>
                      <a:pt x="708" y="739"/>
                    </a:lnTo>
                    <a:lnTo>
                      <a:pt x="705" y="741"/>
                    </a:lnTo>
                    <a:lnTo>
                      <a:pt x="702" y="743"/>
                    </a:lnTo>
                    <a:lnTo>
                      <a:pt x="697" y="744"/>
                    </a:lnTo>
                    <a:lnTo>
                      <a:pt x="692" y="743"/>
                    </a:lnTo>
                    <a:lnTo>
                      <a:pt x="677" y="741"/>
                    </a:lnTo>
                    <a:lnTo>
                      <a:pt x="660" y="739"/>
                    </a:lnTo>
                    <a:lnTo>
                      <a:pt x="655" y="727"/>
                    </a:lnTo>
                    <a:lnTo>
                      <a:pt x="648" y="714"/>
                    </a:lnTo>
                    <a:lnTo>
                      <a:pt x="641" y="719"/>
                    </a:lnTo>
                    <a:lnTo>
                      <a:pt x="636" y="724"/>
                    </a:lnTo>
                    <a:lnTo>
                      <a:pt x="633" y="729"/>
                    </a:lnTo>
                    <a:lnTo>
                      <a:pt x="631" y="736"/>
                    </a:lnTo>
                    <a:lnTo>
                      <a:pt x="618" y="737"/>
                    </a:lnTo>
                    <a:lnTo>
                      <a:pt x="606" y="737"/>
                    </a:lnTo>
                    <a:lnTo>
                      <a:pt x="602" y="736"/>
                    </a:lnTo>
                    <a:lnTo>
                      <a:pt x="597" y="734"/>
                    </a:lnTo>
                    <a:lnTo>
                      <a:pt x="594" y="731"/>
                    </a:lnTo>
                    <a:lnTo>
                      <a:pt x="591" y="726"/>
                    </a:lnTo>
                    <a:lnTo>
                      <a:pt x="584" y="729"/>
                    </a:lnTo>
                    <a:lnTo>
                      <a:pt x="577" y="731"/>
                    </a:lnTo>
                    <a:lnTo>
                      <a:pt x="572" y="731"/>
                    </a:lnTo>
                    <a:lnTo>
                      <a:pt x="567" y="727"/>
                    </a:lnTo>
                    <a:lnTo>
                      <a:pt x="562" y="722"/>
                    </a:lnTo>
                    <a:lnTo>
                      <a:pt x="559" y="716"/>
                    </a:lnTo>
                    <a:lnTo>
                      <a:pt x="555" y="707"/>
                    </a:lnTo>
                    <a:lnTo>
                      <a:pt x="552" y="695"/>
                    </a:lnTo>
                    <a:lnTo>
                      <a:pt x="544" y="689"/>
                    </a:lnTo>
                    <a:lnTo>
                      <a:pt x="532" y="682"/>
                    </a:lnTo>
                    <a:lnTo>
                      <a:pt x="520" y="677"/>
                    </a:lnTo>
                    <a:lnTo>
                      <a:pt x="506" y="672"/>
                    </a:lnTo>
                    <a:lnTo>
                      <a:pt x="478" y="665"/>
                    </a:lnTo>
                    <a:lnTo>
                      <a:pt x="449" y="657"/>
                    </a:lnTo>
                    <a:lnTo>
                      <a:pt x="451" y="638"/>
                    </a:lnTo>
                    <a:lnTo>
                      <a:pt x="451" y="620"/>
                    </a:lnTo>
                    <a:lnTo>
                      <a:pt x="446" y="609"/>
                    </a:lnTo>
                    <a:lnTo>
                      <a:pt x="441" y="603"/>
                    </a:lnTo>
                    <a:lnTo>
                      <a:pt x="436" y="599"/>
                    </a:lnTo>
                    <a:lnTo>
                      <a:pt x="431" y="599"/>
                    </a:lnTo>
                    <a:lnTo>
                      <a:pt x="432" y="618"/>
                    </a:lnTo>
                    <a:lnTo>
                      <a:pt x="432" y="636"/>
                    </a:lnTo>
                    <a:lnTo>
                      <a:pt x="427" y="631"/>
                    </a:lnTo>
                    <a:lnTo>
                      <a:pt x="422" y="626"/>
                    </a:lnTo>
                    <a:lnTo>
                      <a:pt x="422" y="638"/>
                    </a:lnTo>
                    <a:lnTo>
                      <a:pt x="421" y="648"/>
                    </a:lnTo>
                    <a:lnTo>
                      <a:pt x="414" y="643"/>
                    </a:lnTo>
                    <a:lnTo>
                      <a:pt x="405" y="638"/>
                    </a:lnTo>
                    <a:lnTo>
                      <a:pt x="405" y="643"/>
                    </a:lnTo>
                    <a:lnTo>
                      <a:pt x="407" y="650"/>
                    </a:lnTo>
                    <a:lnTo>
                      <a:pt x="404" y="655"/>
                    </a:lnTo>
                    <a:lnTo>
                      <a:pt x="400" y="660"/>
                    </a:lnTo>
                    <a:lnTo>
                      <a:pt x="390" y="663"/>
                    </a:lnTo>
                    <a:lnTo>
                      <a:pt x="380" y="665"/>
                    </a:lnTo>
                    <a:lnTo>
                      <a:pt x="372" y="665"/>
                    </a:lnTo>
                    <a:lnTo>
                      <a:pt x="363" y="665"/>
                    </a:lnTo>
                    <a:lnTo>
                      <a:pt x="355" y="663"/>
                    </a:lnTo>
                    <a:lnTo>
                      <a:pt x="348" y="660"/>
                    </a:lnTo>
                    <a:lnTo>
                      <a:pt x="342" y="657"/>
                    </a:lnTo>
                    <a:lnTo>
                      <a:pt x="335" y="652"/>
                    </a:lnTo>
                    <a:lnTo>
                      <a:pt x="330" y="645"/>
                    </a:lnTo>
                    <a:lnTo>
                      <a:pt x="323" y="640"/>
                    </a:lnTo>
                    <a:lnTo>
                      <a:pt x="315" y="636"/>
                    </a:lnTo>
                    <a:lnTo>
                      <a:pt x="304" y="631"/>
                    </a:lnTo>
                    <a:lnTo>
                      <a:pt x="296" y="633"/>
                    </a:lnTo>
                    <a:lnTo>
                      <a:pt x="288" y="631"/>
                    </a:lnTo>
                    <a:lnTo>
                      <a:pt x="283" y="628"/>
                    </a:lnTo>
                    <a:lnTo>
                      <a:pt x="279" y="625"/>
                    </a:lnTo>
                    <a:lnTo>
                      <a:pt x="274" y="615"/>
                    </a:lnTo>
                    <a:lnTo>
                      <a:pt x="273" y="603"/>
                    </a:lnTo>
                    <a:lnTo>
                      <a:pt x="273" y="583"/>
                    </a:lnTo>
                    <a:lnTo>
                      <a:pt x="274" y="562"/>
                    </a:lnTo>
                    <a:lnTo>
                      <a:pt x="264" y="556"/>
                    </a:lnTo>
                    <a:lnTo>
                      <a:pt x="254" y="549"/>
                    </a:lnTo>
                    <a:lnTo>
                      <a:pt x="249" y="540"/>
                    </a:lnTo>
                    <a:lnTo>
                      <a:pt x="244" y="532"/>
                    </a:lnTo>
                    <a:lnTo>
                      <a:pt x="229" y="517"/>
                    </a:lnTo>
                    <a:lnTo>
                      <a:pt x="214" y="502"/>
                    </a:lnTo>
                    <a:lnTo>
                      <a:pt x="214" y="500"/>
                    </a:lnTo>
                    <a:lnTo>
                      <a:pt x="214" y="497"/>
                    </a:lnTo>
                    <a:lnTo>
                      <a:pt x="224" y="503"/>
                    </a:lnTo>
                    <a:lnTo>
                      <a:pt x="234" y="512"/>
                    </a:lnTo>
                    <a:lnTo>
                      <a:pt x="230" y="503"/>
                    </a:lnTo>
                    <a:lnTo>
                      <a:pt x="227" y="495"/>
                    </a:lnTo>
                    <a:lnTo>
                      <a:pt x="222" y="490"/>
                    </a:lnTo>
                    <a:lnTo>
                      <a:pt x="217" y="485"/>
                    </a:lnTo>
                    <a:lnTo>
                      <a:pt x="217" y="478"/>
                    </a:lnTo>
                    <a:lnTo>
                      <a:pt x="215" y="473"/>
                    </a:lnTo>
                    <a:lnTo>
                      <a:pt x="210" y="476"/>
                    </a:lnTo>
                    <a:lnTo>
                      <a:pt x="205" y="480"/>
                    </a:lnTo>
                    <a:lnTo>
                      <a:pt x="187" y="483"/>
                    </a:lnTo>
                    <a:lnTo>
                      <a:pt x="170" y="481"/>
                    </a:lnTo>
                    <a:lnTo>
                      <a:pt x="161" y="480"/>
                    </a:lnTo>
                    <a:lnTo>
                      <a:pt x="155" y="478"/>
                    </a:lnTo>
                    <a:lnTo>
                      <a:pt x="148" y="475"/>
                    </a:lnTo>
                    <a:lnTo>
                      <a:pt x="141" y="471"/>
                    </a:lnTo>
                    <a:lnTo>
                      <a:pt x="128" y="470"/>
                    </a:lnTo>
                    <a:lnTo>
                      <a:pt x="113" y="468"/>
                    </a:lnTo>
                    <a:lnTo>
                      <a:pt x="116" y="451"/>
                    </a:lnTo>
                    <a:lnTo>
                      <a:pt x="118" y="433"/>
                    </a:lnTo>
                    <a:lnTo>
                      <a:pt x="119" y="414"/>
                    </a:lnTo>
                    <a:lnTo>
                      <a:pt x="119" y="397"/>
                    </a:lnTo>
                    <a:lnTo>
                      <a:pt x="119" y="389"/>
                    </a:lnTo>
                    <a:lnTo>
                      <a:pt x="116" y="380"/>
                    </a:lnTo>
                    <a:lnTo>
                      <a:pt x="113" y="374"/>
                    </a:lnTo>
                    <a:lnTo>
                      <a:pt x="108" y="369"/>
                    </a:lnTo>
                    <a:lnTo>
                      <a:pt x="104" y="367"/>
                    </a:lnTo>
                    <a:lnTo>
                      <a:pt x="101" y="367"/>
                    </a:lnTo>
                    <a:lnTo>
                      <a:pt x="99" y="360"/>
                    </a:lnTo>
                    <a:lnTo>
                      <a:pt x="101" y="347"/>
                    </a:lnTo>
                    <a:lnTo>
                      <a:pt x="103" y="333"/>
                    </a:lnTo>
                    <a:lnTo>
                      <a:pt x="101" y="320"/>
                    </a:lnTo>
                    <a:lnTo>
                      <a:pt x="99" y="311"/>
                    </a:lnTo>
                    <a:lnTo>
                      <a:pt x="96" y="305"/>
                    </a:lnTo>
                    <a:lnTo>
                      <a:pt x="91" y="298"/>
                    </a:lnTo>
                    <a:lnTo>
                      <a:pt x="82" y="291"/>
                    </a:lnTo>
                    <a:lnTo>
                      <a:pt x="76" y="284"/>
                    </a:lnTo>
                    <a:lnTo>
                      <a:pt x="71" y="279"/>
                    </a:lnTo>
                    <a:lnTo>
                      <a:pt x="64" y="274"/>
                    </a:lnTo>
                    <a:lnTo>
                      <a:pt x="57" y="271"/>
                    </a:lnTo>
                    <a:lnTo>
                      <a:pt x="49" y="268"/>
                    </a:lnTo>
                    <a:lnTo>
                      <a:pt x="40" y="268"/>
                    </a:lnTo>
                    <a:lnTo>
                      <a:pt x="32" y="268"/>
                    </a:lnTo>
                    <a:lnTo>
                      <a:pt x="22" y="269"/>
                    </a:lnTo>
                    <a:lnTo>
                      <a:pt x="12" y="252"/>
                    </a:lnTo>
                    <a:lnTo>
                      <a:pt x="2" y="237"/>
                    </a:lnTo>
                    <a:lnTo>
                      <a:pt x="0" y="227"/>
                    </a:lnTo>
                    <a:lnTo>
                      <a:pt x="2" y="217"/>
                    </a:lnTo>
                    <a:lnTo>
                      <a:pt x="5" y="210"/>
                    </a:lnTo>
                    <a:lnTo>
                      <a:pt x="12" y="204"/>
                    </a:lnTo>
                    <a:lnTo>
                      <a:pt x="32" y="178"/>
                    </a:lnTo>
                    <a:lnTo>
                      <a:pt x="50" y="160"/>
                    </a:lnTo>
                    <a:lnTo>
                      <a:pt x="60" y="138"/>
                    </a:lnTo>
                    <a:lnTo>
                      <a:pt x="69" y="118"/>
                    </a:lnTo>
                    <a:lnTo>
                      <a:pt x="71" y="104"/>
                    </a:lnTo>
                    <a:lnTo>
                      <a:pt x="74" y="89"/>
                    </a:lnTo>
                    <a:lnTo>
                      <a:pt x="74" y="82"/>
                    </a:lnTo>
                    <a:lnTo>
                      <a:pt x="76" y="77"/>
                    </a:lnTo>
                    <a:lnTo>
                      <a:pt x="79" y="74"/>
                    </a:lnTo>
                    <a:lnTo>
                      <a:pt x="82" y="74"/>
                    </a:lnTo>
                    <a:lnTo>
                      <a:pt x="87" y="74"/>
                    </a:lnTo>
                    <a:lnTo>
                      <a:pt x="94" y="76"/>
                    </a:lnTo>
                    <a:lnTo>
                      <a:pt x="103" y="74"/>
                    </a:lnTo>
                    <a:lnTo>
                      <a:pt x="113" y="71"/>
                    </a:lnTo>
                    <a:lnTo>
                      <a:pt x="121" y="66"/>
                    </a:lnTo>
                    <a:lnTo>
                      <a:pt x="128" y="60"/>
                    </a:lnTo>
                    <a:lnTo>
                      <a:pt x="134" y="54"/>
                    </a:lnTo>
                    <a:lnTo>
                      <a:pt x="140" y="45"/>
                    </a:lnTo>
                    <a:lnTo>
                      <a:pt x="145" y="35"/>
                    </a:lnTo>
                    <a:lnTo>
                      <a:pt x="150" y="25"/>
                    </a:lnTo>
                    <a:lnTo>
                      <a:pt x="150" y="12"/>
                    </a:lnTo>
                    <a:lnTo>
                      <a:pt x="153" y="5"/>
                    </a:lnTo>
                    <a:lnTo>
                      <a:pt x="155" y="3"/>
                    </a:lnTo>
                    <a:lnTo>
                      <a:pt x="158" y="2"/>
                    </a:lnTo>
                    <a:lnTo>
                      <a:pt x="161" y="3"/>
                    </a:lnTo>
                    <a:lnTo>
                      <a:pt x="166" y="7"/>
                    </a:lnTo>
                    <a:lnTo>
                      <a:pt x="172" y="12"/>
                    </a:lnTo>
                    <a:lnTo>
                      <a:pt x="177" y="15"/>
                    </a:lnTo>
                    <a:lnTo>
                      <a:pt x="178" y="15"/>
                    </a:lnTo>
                    <a:lnTo>
                      <a:pt x="182" y="13"/>
                    </a:lnTo>
                    <a:lnTo>
                      <a:pt x="183" y="12"/>
                    </a:lnTo>
                    <a:lnTo>
                      <a:pt x="187" y="8"/>
                    </a:lnTo>
                    <a:lnTo>
                      <a:pt x="188" y="5"/>
                    </a:lnTo>
                    <a:lnTo>
                      <a:pt x="190" y="0"/>
                    </a:lnTo>
                    <a:lnTo>
                      <a:pt x="200" y="5"/>
                    </a:lnTo>
                    <a:lnTo>
                      <a:pt x="210" y="13"/>
                    </a:lnTo>
                    <a:lnTo>
                      <a:pt x="215" y="15"/>
                    </a:lnTo>
                    <a:lnTo>
                      <a:pt x="219" y="17"/>
                    </a:lnTo>
                    <a:lnTo>
                      <a:pt x="220" y="20"/>
                    </a:lnTo>
                    <a:lnTo>
                      <a:pt x="222" y="23"/>
                    </a:lnTo>
                    <a:lnTo>
                      <a:pt x="220" y="25"/>
                    </a:lnTo>
                    <a:lnTo>
                      <a:pt x="219" y="28"/>
                    </a:lnTo>
                    <a:lnTo>
                      <a:pt x="215" y="30"/>
                    </a:lnTo>
                    <a:lnTo>
                      <a:pt x="212" y="32"/>
                    </a:lnTo>
                    <a:lnTo>
                      <a:pt x="210" y="49"/>
                    </a:lnTo>
                    <a:lnTo>
                      <a:pt x="212" y="67"/>
                    </a:lnTo>
                    <a:lnTo>
                      <a:pt x="214" y="87"/>
                    </a:lnTo>
                    <a:lnTo>
                      <a:pt x="217" y="108"/>
                    </a:lnTo>
                    <a:lnTo>
                      <a:pt x="215" y="116"/>
                    </a:lnTo>
                    <a:lnTo>
                      <a:pt x="214" y="126"/>
                    </a:lnTo>
                    <a:lnTo>
                      <a:pt x="214" y="131"/>
                    </a:lnTo>
                    <a:lnTo>
                      <a:pt x="214" y="136"/>
                    </a:lnTo>
                    <a:lnTo>
                      <a:pt x="217" y="141"/>
                    </a:lnTo>
                    <a:lnTo>
                      <a:pt x="220" y="148"/>
                    </a:lnTo>
                    <a:lnTo>
                      <a:pt x="224" y="162"/>
                    </a:lnTo>
                    <a:lnTo>
                      <a:pt x="224" y="173"/>
                    </a:lnTo>
                    <a:lnTo>
                      <a:pt x="224" y="185"/>
                    </a:lnTo>
                    <a:lnTo>
                      <a:pt x="222" y="195"/>
                    </a:lnTo>
                    <a:lnTo>
                      <a:pt x="219" y="204"/>
                    </a:lnTo>
                    <a:lnTo>
                      <a:pt x="215" y="212"/>
                    </a:lnTo>
                    <a:lnTo>
                      <a:pt x="210" y="219"/>
                    </a:lnTo>
                    <a:lnTo>
                      <a:pt x="204" y="226"/>
                    </a:lnTo>
                    <a:lnTo>
                      <a:pt x="200" y="239"/>
                    </a:lnTo>
                    <a:lnTo>
                      <a:pt x="198" y="247"/>
                    </a:lnTo>
                    <a:lnTo>
                      <a:pt x="198" y="254"/>
                    </a:lnTo>
                    <a:lnTo>
                      <a:pt x="200" y="259"/>
                    </a:lnTo>
                    <a:lnTo>
                      <a:pt x="204" y="261"/>
                    </a:lnTo>
                    <a:lnTo>
                      <a:pt x="207" y="259"/>
                    </a:lnTo>
                    <a:lnTo>
                      <a:pt x="212" y="259"/>
                    </a:lnTo>
                    <a:lnTo>
                      <a:pt x="217" y="256"/>
                    </a:lnTo>
                    <a:lnTo>
                      <a:pt x="230" y="258"/>
                    </a:lnTo>
                    <a:lnTo>
                      <a:pt x="241" y="261"/>
                    </a:lnTo>
                    <a:lnTo>
                      <a:pt x="247" y="264"/>
                    </a:lnTo>
                    <a:lnTo>
                      <a:pt x="254" y="268"/>
                    </a:lnTo>
                    <a:lnTo>
                      <a:pt x="257" y="273"/>
                    </a:lnTo>
                    <a:lnTo>
                      <a:pt x="257" y="278"/>
                    </a:lnTo>
                    <a:lnTo>
                      <a:pt x="256" y="284"/>
                    </a:lnTo>
                    <a:lnTo>
                      <a:pt x="252" y="293"/>
                    </a:lnTo>
                    <a:lnTo>
                      <a:pt x="247" y="301"/>
                    </a:lnTo>
                    <a:lnTo>
                      <a:pt x="242" y="310"/>
                    </a:lnTo>
                    <a:lnTo>
                      <a:pt x="241" y="315"/>
                    </a:lnTo>
                    <a:lnTo>
                      <a:pt x="242" y="320"/>
                    </a:lnTo>
                    <a:lnTo>
                      <a:pt x="244" y="322"/>
                    </a:lnTo>
                    <a:lnTo>
                      <a:pt x="249" y="323"/>
                    </a:lnTo>
                    <a:lnTo>
                      <a:pt x="254" y="322"/>
                    </a:lnTo>
                    <a:lnTo>
                      <a:pt x="262" y="322"/>
                    </a:lnTo>
                    <a:lnTo>
                      <a:pt x="279" y="332"/>
                    </a:lnTo>
                    <a:lnTo>
                      <a:pt x="296" y="343"/>
                    </a:lnTo>
                    <a:lnTo>
                      <a:pt x="304" y="352"/>
                    </a:lnTo>
                    <a:lnTo>
                      <a:pt x="313" y="360"/>
                    </a:lnTo>
                    <a:lnTo>
                      <a:pt x="321" y="369"/>
                    </a:lnTo>
                    <a:lnTo>
                      <a:pt x="328" y="380"/>
                    </a:lnTo>
                    <a:lnTo>
                      <a:pt x="333" y="386"/>
                    </a:lnTo>
                    <a:lnTo>
                      <a:pt x="338" y="389"/>
                    </a:lnTo>
                    <a:lnTo>
                      <a:pt x="343" y="391"/>
                    </a:lnTo>
                    <a:lnTo>
                      <a:pt x="347" y="391"/>
                    </a:lnTo>
                    <a:lnTo>
                      <a:pt x="353" y="387"/>
                    </a:lnTo>
                    <a:lnTo>
                      <a:pt x="358" y="380"/>
                    </a:lnTo>
                    <a:lnTo>
                      <a:pt x="380" y="355"/>
                    </a:lnTo>
                    <a:lnTo>
                      <a:pt x="400" y="330"/>
                    </a:lnTo>
                    <a:lnTo>
                      <a:pt x="405" y="323"/>
                    </a:lnTo>
                    <a:lnTo>
                      <a:pt x="409" y="316"/>
                    </a:lnTo>
                    <a:lnTo>
                      <a:pt x="411" y="310"/>
                    </a:lnTo>
                    <a:lnTo>
                      <a:pt x="411" y="305"/>
                    </a:lnTo>
                    <a:lnTo>
                      <a:pt x="407" y="301"/>
                    </a:lnTo>
                    <a:lnTo>
                      <a:pt x="402" y="301"/>
                    </a:lnTo>
                    <a:lnTo>
                      <a:pt x="395" y="303"/>
                    </a:lnTo>
                    <a:lnTo>
                      <a:pt x="387" y="308"/>
                    </a:lnTo>
                    <a:lnTo>
                      <a:pt x="380" y="311"/>
                    </a:lnTo>
                    <a:lnTo>
                      <a:pt x="375" y="313"/>
                    </a:lnTo>
                    <a:lnTo>
                      <a:pt x="372" y="313"/>
                    </a:lnTo>
                    <a:lnTo>
                      <a:pt x="368" y="311"/>
                    </a:lnTo>
                    <a:lnTo>
                      <a:pt x="367" y="308"/>
                    </a:lnTo>
                    <a:lnTo>
                      <a:pt x="367" y="303"/>
                    </a:lnTo>
                    <a:lnTo>
                      <a:pt x="367" y="296"/>
                    </a:lnTo>
                    <a:lnTo>
                      <a:pt x="368" y="288"/>
                    </a:lnTo>
                    <a:lnTo>
                      <a:pt x="370" y="263"/>
                    </a:lnTo>
                    <a:lnTo>
                      <a:pt x="372" y="239"/>
                    </a:lnTo>
                    <a:lnTo>
                      <a:pt x="374" y="227"/>
                    </a:lnTo>
                    <a:lnTo>
                      <a:pt x="377" y="219"/>
                    </a:lnTo>
                    <a:lnTo>
                      <a:pt x="382" y="214"/>
                    </a:lnTo>
                    <a:lnTo>
                      <a:pt x="389" y="210"/>
                    </a:lnTo>
                    <a:lnTo>
                      <a:pt x="390" y="204"/>
                    </a:lnTo>
                    <a:lnTo>
                      <a:pt x="394" y="199"/>
                    </a:lnTo>
                    <a:lnTo>
                      <a:pt x="395" y="197"/>
                    </a:lnTo>
                    <a:lnTo>
                      <a:pt x="399" y="195"/>
                    </a:lnTo>
                    <a:lnTo>
                      <a:pt x="400" y="199"/>
                    </a:lnTo>
                    <a:lnTo>
                      <a:pt x="404" y="202"/>
                    </a:lnTo>
                    <a:lnTo>
                      <a:pt x="405" y="210"/>
                    </a:lnTo>
                    <a:lnTo>
                      <a:pt x="409" y="219"/>
                    </a:lnTo>
                    <a:lnTo>
                      <a:pt x="411" y="237"/>
                    </a:lnTo>
                    <a:lnTo>
                      <a:pt x="414" y="252"/>
                    </a:lnTo>
                    <a:lnTo>
                      <a:pt x="417" y="264"/>
                    </a:lnTo>
                    <a:lnTo>
                      <a:pt x="424" y="274"/>
                    </a:lnTo>
                    <a:lnTo>
                      <a:pt x="431" y="281"/>
                    </a:lnTo>
                    <a:lnTo>
                      <a:pt x="437" y="286"/>
                    </a:lnTo>
                    <a:lnTo>
                      <a:pt x="448" y="288"/>
                    </a:lnTo>
                    <a:lnTo>
                      <a:pt x="458" y="288"/>
                    </a:lnTo>
                    <a:lnTo>
                      <a:pt x="459" y="296"/>
                    </a:lnTo>
                    <a:lnTo>
                      <a:pt x="464" y="305"/>
                    </a:lnTo>
                    <a:lnTo>
                      <a:pt x="469" y="308"/>
                    </a:lnTo>
                    <a:lnTo>
                      <a:pt x="475" y="310"/>
                    </a:lnTo>
                    <a:lnTo>
                      <a:pt x="481" y="311"/>
                    </a:lnTo>
                    <a:lnTo>
                      <a:pt x="490" y="313"/>
                    </a:lnTo>
                    <a:lnTo>
                      <a:pt x="495" y="325"/>
                    </a:lnTo>
                    <a:lnTo>
                      <a:pt x="500" y="335"/>
                    </a:lnTo>
                    <a:lnTo>
                      <a:pt x="503" y="338"/>
                    </a:lnTo>
                    <a:lnTo>
                      <a:pt x="506" y="342"/>
                    </a:lnTo>
                    <a:lnTo>
                      <a:pt x="510" y="345"/>
                    </a:lnTo>
                    <a:lnTo>
                      <a:pt x="513" y="347"/>
                    </a:lnTo>
                    <a:lnTo>
                      <a:pt x="510" y="359"/>
                    </a:lnTo>
                    <a:lnTo>
                      <a:pt x="505" y="370"/>
                    </a:lnTo>
                    <a:lnTo>
                      <a:pt x="503" y="377"/>
                    </a:lnTo>
                    <a:lnTo>
                      <a:pt x="503" y="382"/>
                    </a:lnTo>
                    <a:lnTo>
                      <a:pt x="503" y="386"/>
                    </a:lnTo>
                    <a:lnTo>
                      <a:pt x="505" y="389"/>
                    </a:lnTo>
                    <a:lnTo>
                      <a:pt x="508" y="389"/>
                    </a:lnTo>
                    <a:lnTo>
                      <a:pt x="512" y="389"/>
                    </a:lnTo>
                    <a:lnTo>
                      <a:pt x="517" y="389"/>
                    </a:lnTo>
                    <a:lnTo>
                      <a:pt x="522" y="386"/>
                    </a:lnTo>
                    <a:lnTo>
                      <a:pt x="527" y="382"/>
                    </a:lnTo>
                    <a:lnTo>
                      <a:pt x="530" y="379"/>
                    </a:lnTo>
                    <a:lnTo>
                      <a:pt x="533" y="379"/>
                    </a:lnTo>
                    <a:lnTo>
                      <a:pt x="535" y="380"/>
                    </a:lnTo>
                    <a:lnTo>
                      <a:pt x="537" y="384"/>
                    </a:lnTo>
                    <a:lnTo>
                      <a:pt x="538" y="389"/>
                    </a:lnTo>
                    <a:lnTo>
                      <a:pt x="537" y="394"/>
                    </a:lnTo>
                    <a:lnTo>
                      <a:pt x="537" y="402"/>
                    </a:lnTo>
                    <a:lnTo>
                      <a:pt x="535" y="426"/>
                    </a:lnTo>
                    <a:lnTo>
                      <a:pt x="532" y="451"/>
                    </a:lnTo>
                    <a:lnTo>
                      <a:pt x="535" y="461"/>
                    </a:lnTo>
                    <a:lnTo>
                      <a:pt x="538" y="468"/>
                    </a:lnTo>
                    <a:lnTo>
                      <a:pt x="542" y="473"/>
                    </a:lnTo>
                    <a:lnTo>
                      <a:pt x="545" y="475"/>
                    </a:lnTo>
                    <a:lnTo>
                      <a:pt x="550" y="475"/>
                    </a:lnTo>
                    <a:lnTo>
                      <a:pt x="554" y="470"/>
                    </a:lnTo>
                    <a:lnTo>
                      <a:pt x="559" y="465"/>
                    </a:lnTo>
                    <a:lnTo>
                      <a:pt x="565" y="455"/>
                    </a:lnTo>
                    <a:lnTo>
                      <a:pt x="574" y="443"/>
                    </a:lnTo>
                    <a:lnTo>
                      <a:pt x="582" y="429"/>
                    </a:lnTo>
                    <a:lnTo>
                      <a:pt x="591" y="416"/>
                    </a:lnTo>
                    <a:lnTo>
                      <a:pt x="599" y="404"/>
                    </a:lnTo>
                    <a:lnTo>
                      <a:pt x="611" y="382"/>
                    </a:lnTo>
                    <a:lnTo>
                      <a:pt x="623" y="365"/>
                    </a:lnTo>
                    <a:lnTo>
                      <a:pt x="629" y="360"/>
                    </a:lnTo>
                    <a:lnTo>
                      <a:pt x="634" y="355"/>
                    </a:lnTo>
                    <a:lnTo>
                      <a:pt x="641" y="352"/>
                    </a:lnTo>
                    <a:lnTo>
                      <a:pt x="646" y="350"/>
                    </a:lnTo>
                    <a:lnTo>
                      <a:pt x="658" y="347"/>
                    </a:lnTo>
                    <a:lnTo>
                      <a:pt x="670" y="343"/>
                    </a:lnTo>
                    <a:lnTo>
                      <a:pt x="671" y="347"/>
                    </a:lnTo>
                    <a:lnTo>
                      <a:pt x="680" y="350"/>
                    </a:lnTo>
                    <a:lnTo>
                      <a:pt x="692" y="342"/>
                    </a:lnTo>
                    <a:lnTo>
                      <a:pt x="695" y="332"/>
                    </a:lnTo>
                    <a:lnTo>
                      <a:pt x="705" y="327"/>
                    </a:lnTo>
                    <a:close/>
                  </a:path>
                </a:pathLst>
              </a:custGeom>
              <a:solidFill>
                <a:schemeClr val="accent6">
                  <a:lumMod val="40000"/>
                  <a:lumOff val="60000"/>
                </a:schemeClr>
              </a:solidFill>
              <a:ln w="317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pPr>
                  <a:defRPr/>
                </a:pPr>
                <a:endParaRPr lang="en-US"/>
              </a:p>
            </p:txBody>
          </p:sp>
          <p:sp>
            <p:nvSpPr>
              <p:cNvPr id="83671" name="Freeform 59" descr="Широкий диагональный 2"/>
              <p:cNvSpPr>
                <a:spLocks/>
              </p:cNvSpPr>
              <p:nvPr/>
            </p:nvSpPr>
            <p:spPr bwMode="auto">
              <a:xfrm>
                <a:off x="3920" y="2535"/>
                <a:ext cx="69" cy="59"/>
              </a:xfrm>
              <a:custGeom>
                <a:avLst/>
                <a:gdLst>
                  <a:gd name="T0" fmla="*/ 26 w 69"/>
                  <a:gd name="T1" fmla="*/ 44 h 59"/>
                  <a:gd name="T2" fmla="*/ 20 w 69"/>
                  <a:gd name="T3" fmla="*/ 49 h 59"/>
                  <a:gd name="T4" fmla="*/ 13 w 69"/>
                  <a:gd name="T5" fmla="*/ 54 h 59"/>
                  <a:gd name="T6" fmla="*/ 6 w 69"/>
                  <a:gd name="T7" fmla="*/ 59 h 59"/>
                  <a:gd name="T8" fmla="*/ 3 w 69"/>
                  <a:gd name="T9" fmla="*/ 59 h 59"/>
                  <a:gd name="T10" fmla="*/ 0 w 69"/>
                  <a:gd name="T11" fmla="*/ 56 h 59"/>
                  <a:gd name="T12" fmla="*/ 1 w 69"/>
                  <a:gd name="T13" fmla="*/ 47 h 59"/>
                  <a:gd name="T14" fmla="*/ 3 w 69"/>
                  <a:gd name="T15" fmla="*/ 32 h 59"/>
                  <a:gd name="T16" fmla="*/ 5 w 69"/>
                  <a:gd name="T17" fmla="*/ 19 h 59"/>
                  <a:gd name="T18" fmla="*/ 6 w 69"/>
                  <a:gd name="T19" fmla="*/ 12 h 59"/>
                  <a:gd name="T20" fmla="*/ 8 w 69"/>
                  <a:gd name="T21" fmla="*/ 9 h 59"/>
                  <a:gd name="T22" fmla="*/ 13 w 69"/>
                  <a:gd name="T23" fmla="*/ 4 h 59"/>
                  <a:gd name="T24" fmla="*/ 18 w 69"/>
                  <a:gd name="T25" fmla="*/ 0 h 59"/>
                  <a:gd name="T26" fmla="*/ 43 w 69"/>
                  <a:gd name="T27" fmla="*/ 5 h 59"/>
                  <a:gd name="T28" fmla="*/ 69 w 69"/>
                  <a:gd name="T29" fmla="*/ 10 h 59"/>
                  <a:gd name="T30" fmla="*/ 55 w 69"/>
                  <a:gd name="T31" fmla="*/ 24 h 59"/>
                  <a:gd name="T32" fmla="*/ 45 w 69"/>
                  <a:gd name="T33" fmla="*/ 36 h 59"/>
                  <a:gd name="T34" fmla="*/ 40 w 69"/>
                  <a:gd name="T35" fmla="*/ 41 h 59"/>
                  <a:gd name="T36" fmla="*/ 35 w 69"/>
                  <a:gd name="T37" fmla="*/ 42 h 59"/>
                  <a:gd name="T38" fmla="*/ 30 w 69"/>
                  <a:gd name="T39" fmla="*/ 44 h 59"/>
                  <a:gd name="T40" fmla="*/ 26 w 69"/>
                  <a:gd name="T41" fmla="*/ 44 h 59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69"/>
                  <a:gd name="T64" fmla="*/ 0 h 59"/>
                  <a:gd name="T65" fmla="*/ 69 w 69"/>
                  <a:gd name="T66" fmla="*/ 59 h 59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69" h="59">
                    <a:moveTo>
                      <a:pt x="26" y="44"/>
                    </a:moveTo>
                    <a:lnTo>
                      <a:pt x="20" y="49"/>
                    </a:lnTo>
                    <a:lnTo>
                      <a:pt x="13" y="54"/>
                    </a:lnTo>
                    <a:lnTo>
                      <a:pt x="6" y="59"/>
                    </a:lnTo>
                    <a:lnTo>
                      <a:pt x="3" y="59"/>
                    </a:lnTo>
                    <a:lnTo>
                      <a:pt x="0" y="56"/>
                    </a:lnTo>
                    <a:lnTo>
                      <a:pt x="1" y="47"/>
                    </a:lnTo>
                    <a:lnTo>
                      <a:pt x="3" y="32"/>
                    </a:lnTo>
                    <a:lnTo>
                      <a:pt x="5" y="19"/>
                    </a:lnTo>
                    <a:lnTo>
                      <a:pt x="6" y="12"/>
                    </a:lnTo>
                    <a:lnTo>
                      <a:pt x="8" y="9"/>
                    </a:lnTo>
                    <a:lnTo>
                      <a:pt x="13" y="4"/>
                    </a:lnTo>
                    <a:lnTo>
                      <a:pt x="18" y="0"/>
                    </a:lnTo>
                    <a:lnTo>
                      <a:pt x="43" y="5"/>
                    </a:lnTo>
                    <a:lnTo>
                      <a:pt x="69" y="10"/>
                    </a:lnTo>
                    <a:lnTo>
                      <a:pt x="55" y="24"/>
                    </a:lnTo>
                    <a:lnTo>
                      <a:pt x="45" y="36"/>
                    </a:lnTo>
                    <a:lnTo>
                      <a:pt x="40" y="41"/>
                    </a:lnTo>
                    <a:lnTo>
                      <a:pt x="35" y="42"/>
                    </a:lnTo>
                    <a:lnTo>
                      <a:pt x="30" y="44"/>
                    </a:lnTo>
                    <a:lnTo>
                      <a:pt x="26" y="44"/>
                    </a:lnTo>
                  </a:path>
                </a:pathLst>
              </a:custGeom>
              <a:pattFill prst="wdUpDiag">
                <a:fgClr>
                  <a:srgbClr val="6699FF"/>
                </a:fgClr>
                <a:bgClr>
                  <a:srgbClr val="FFFFFF"/>
                </a:bgClr>
              </a:pattFill>
              <a:ln w="317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ru-RU"/>
              </a:p>
            </p:txBody>
          </p:sp>
        </p:grpSp>
        <p:sp>
          <p:nvSpPr>
            <p:cNvPr id="33925" name="Freeform 60" descr="Широкий диагональный 2"/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2132" y="2699"/>
              <a:ext cx="429" cy="357"/>
            </a:xfrm>
            <a:custGeom>
              <a:avLst/>
              <a:gdLst>
                <a:gd name="T0" fmla="*/ 18 w 754"/>
                <a:gd name="T1" fmla="*/ 70 h 610"/>
                <a:gd name="T2" fmla="*/ 29 w 754"/>
                <a:gd name="T3" fmla="*/ 76 h 610"/>
                <a:gd name="T4" fmla="*/ 42 w 754"/>
                <a:gd name="T5" fmla="*/ 91 h 610"/>
                <a:gd name="T6" fmla="*/ 53 w 754"/>
                <a:gd name="T7" fmla="*/ 90 h 610"/>
                <a:gd name="T8" fmla="*/ 62 w 754"/>
                <a:gd name="T9" fmla="*/ 85 h 610"/>
                <a:gd name="T10" fmla="*/ 73 w 754"/>
                <a:gd name="T11" fmla="*/ 86 h 610"/>
                <a:gd name="T12" fmla="*/ 61 w 754"/>
                <a:gd name="T13" fmla="*/ 74 h 610"/>
                <a:gd name="T14" fmla="*/ 53 w 754"/>
                <a:gd name="T15" fmla="*/ 63 h 610"/>
                <a:gd name="T16" fmla="*/ 46 w 754"/>
                <a:gd name="T17" fmla="*/ 39 h 610"/>
                <a:gd name="T18" fmla="*/ 30 w 754"/>
                <a:gd name="T19" fmla="*/ 27 h 610"/>
                <a:gd name="T20" fmla="*/ 24 w 754"/>
                <a:gd name="T21" fmla="*/ 22 h 610"/>
                <a:gd name="T22" fmla="*/ 65 w 754"/>
                <a:gd name="T23" fmla="*/ 9 h 610"/>
                <a:gd name="T24" fmla="*/ 80 w 754"/>
                <a:gd name="T25" fmla="*/ 16 h 610"/>
                <a:gd name="T26" fmla="*/ 97 w 754"/>
                <a:gd name="T27" fmla="*/ 19 h 610"/>
                <a:gd name="T28" fmla="*/ 100 w 754"/>
                <a:gd name="T29" fmla="*/ 10 h 610"/>
                <a:gd name="T30" fmla="*/ 93 w 754"/>
                <a:gd name="T31" fmla="*/ 5 h 610"/>
                <a:gd name="T32" fmla="*/ 135 w 754"/>
                <a:gd name="T33" fmla="*/ 1 h 610"/>
                <a:gd name="T34" fmla="*/ 139 w 754"/>
                <a:gd name="T35" fmla="*/ 12 h 610"/>
                <a:gd name="T36" fmla="*/ 154 w 754"/>
                <a:gd name="T37" fmla="*/ 16 h 610"/>
                <a:gd name="T38" fmla="*/ 160 w 754"/>
                <a:gd name="T39" fmla="*/ 27 h 610"/>
                <a:gd name="T40" fmla="*/ 203 w 754"/>
                <a:gd name="T41" fmla="*/ 44 h 610"/>
                <a:gd name="T42" fmla="*/ 228 w 754"/>
                <a:gd name="T43" fmla="*/ 53 h 610"/>
                <a:gd name="T44" fmla="*/ 238 w 754"/>
                <a:gd name="T45" fmla="*/ 67 h 610"/>
                <a:gd name="T46" fmla="*/ 217 w 754"/>
                <a:gd name="T47" fmla="*/ 92 h 610"/>
                <a:gd name="T48" fmla="*/ 222 w 754"/>
                <a:gd name="T49" fmla="*/ 112 h 610"/>
                <a:gd name="T50" fmla="*/ 216 w 754"/>
                <a:gd name="T51" fmla="*/ 124 h 610"/>
                <a:gd name="T52" fmla="*/ 191 w 754"/>
                <a:gd name="T53" fmla="*/ 114 h 610"/>
                <a:gd name="T54" fmla="*/ 189 w 754"/>
                <a:gd name="T55" fmla="*/ 119 h 610"/>
                <a:gd name="T56" fmla="*/ 203 w 754"/>
                <a:gd name="T57" fmla="*/ 126 h 610"/>
                <a:gd name="T58" fmla="*/ 209 w 754"/>
                <a:gd name="T59" fmla="*/ 143 h 610"/>
                <a:gd name="T60" fmla="*/ 183 w 754"/>
                <a:gd name="T61" fmla="*/ 149 h 610"/>
                <a:gd name="T62" fmla="*/ 168 w 754"/>
                <a:gd name="T63" fmla="*/ 155 h 610"/>
                <a:gd name="T64" fmla="*/ 170 w 754"/>
                <a:gd name="T65" fmla="*/ 150 h 610"/>
                <a:gd name="T66" fmla="*/ 153 w 754"/>
                <a:gd name="T67" fmla="*/ 143 h 610"/>
                <a:gd name="T68" fmla="*/ 139 w 754"/>
                <a:gd name="T69" fmla="*/ 142 h 610"/>
                <a:gd name="T70" fmla="*/ 160 w 754"/>
                <a:gd name="T71" fmla="*/ 162 h 610"/>
                <a:gd name="T72" fmla="*/ 142 w 754"/>
                <a:gd name="T73" fmla="*/ 170 h 610"/>
                <a:gd name="T74" fmla="*/ 119 w 754"/>
                <a:gd name="T75" fmla="*/ 205 h 610"/>
                <a:gd name="T76" fmla="*/ 112 w 754"/>
                <a:gd name="T77" fmla="*/ 192 h 610"/>
                <a:gd name="T78" fmla="*/ 109 w 754"/>
                <a:gd name="T79" fmla="*/ 177 h 610"/>
                <a:gd name="T80" fmla="*/ 101 w 754"/>
                <a:gd name="T81" fmla="*/ 176 h 610"/>
                <a:gd name="T82" fmla="*/ 99 w 754"/>
                <a:gd name="T83" fmla="*/ 157 h 610"/>
                <a:gd name="T84" fmla="*/ 84 w 754"/>
                <a:gd name="T85" fmla="*/ 145 h 610"/>
                <a:gd name="T86" fmla="*/ 69 w 754"/>
                <a:gd name="T87" fmla="*/ 118 h 610"/>
                <a:gd name="T88" fmla="*/ 62 w 754"/>
                <a:gd name="T89" fmla="*/ 119 h 610"/>
                <a:gd name="T90" fmla="*/ 57 w 754"/>
                <a:gd name="T91" fmla="*/ 152 h 610"/>
                <a:gd name="T92" fmla="*/ 70 w 754"/>
                <a:gd name="T93" fmla="*/ 149 h 610"/>
                <a:gd name="T94" fmla="*/ 53 w 754"/>
                <a:gd name="T95" fmla="*/ 179 h 610"/>
                <a:gd name="T96" fmla="*/ 37 w 754"/>
                <a:gd name="T97" fmla="*/ 167 h 610"/>
                <a:gd name="T98" fmla="*/ 17 w 754"/>
                <a:gd name="T99" fmla="*/ 154 h 610"/>
                <a:gd name="T100" fmla="*/ 18 w 754"/>
                <a:gd name="T101" fmla="*/ 137 h 610"/>
                <a:gd name="T102" fmla="*/ 3 w 754"/>
                <a:gd name="T103" fmla="*/ 133 h 610"/>
                <a:gd name="T104" fmla="*/ 11 w 754"/>
                <a:gd name="T105" fmla="*/ 109 h 610"/>
                <a:gd name="T106" fmla="*/ 8 w 754"/>
                <a:gd name="T107" fmla="*/ 86 h 610"/>
                <a:gd name="T108" fmla="*/ 10 w 754"/>
                <a:gd name="T109" fmla="*/ 55 h 610"/>
                <a:gd name="T110" fmla="*/ 1 w 754"/>
                <a:gd name="T111" fmla="*/ 44 h 61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754" h="610">
                  <a:moveTo>
                    <a:pt x="52" y="125"/>
                  </a:moveTo>
                  <a:lnTo>
                    <a:pt x="62" y="148"/>
                  </a:lnTo>
                  <a:lnTo>
                    <a:pt x="72" y="174"/>
                  </a:lnTo>
                  <a:lnTo>
                    <a:pt x="64" y="179"/>
                  </a:lnTo>
                  <a:lnTo>
                    <a:pt x="56" y="182"/>
                  </a:lnTo>
                  <a:lnTo>
                    <a:pt x="56" y="190"/>
                  </a:lnTo>
                  <a:lnTo>
                    <a:pt x="56" y="197"/>
                  </a:lnTo>
                  <a:lnTo>
                    <a:pt x="54" y="204"/>
                  </a:lnTo>
                  <a:lnTo>
                    <a:pt x="52" y="211"/>
                  </a:lnTo>
                  <a:lnTo>
                    <a:pt x="59" y="217"/>
                  </a:lnTo>
                  <a:lnTo>
                    <a:pt x="66" y="224"/>
                  </a:lnTo>
                  <a:lnTo>
                    <a:pt x="69" y="226"/>
                  </a:lnTo>
                  <a:lnTo>
                    <a:pt x="74" y="226"/>
                  </a:lnTo>
                  <a:lnTo>
                    <a:pt x="77" y="226"/>
                  </a:lnTo>
                  <a:lnTo>
                    <a:pt x="81" y="224"/>
                  </a:lnTo>
                  <a:lnTo>
                    <a:pt x="89" y="222"/>
                  </a:lnTo>
                  <a:lnTo>
                    <a:pt x="98" y="222"/>
                  </a:lnTo>
                  <a:lnTo>
                    <a:pt x="106" y="224"/>
                  </a:lnTo>
                  <a:lnTo>
                    <a:pt x="113" y="226"/>
                  </a:lnTo>
                  <a:lnTo>
                    <a:pt x="118" y="229"/>
                  </a:lnTo>
                  <a:lnTo>
                    <a:pt x="123" y="234"/>
                  </a:lnTo>
                  <a:lnTo>
                    <a:pt x="125" y="241"/>
                  </a:lnTo>
                  <a:lnTo>
                    <a:pt x="128" y="249"/>
                  </a:lnTo>
                  <a:lnTo>
                    <a:pt x="130" y="265"/>
                  </a:lnTo>
                  <a:lnTo>
                    <a:pt x="135" y="276"/>
                  </a:lnTo>
                  <a:lnTo>
                    <a:pt x="136" y="281"/>
                  </a:lnTo>
                  <a:lnTo>
                    <a:pt x="140" y="285"/>
                  </a:lnTo>
                  <a:lnTo>
                    <a:pt x="145" y="286"/>
                  </a:lnTo>
                  <a:lnTo>
                    <a:pt x="148" y="288"/>
                  </a:lnTo>
                  <a:lnTo>
                    <a:pt x="153" y="278"/>
                  </a:lnTo>
                  <a:lnTo>
                    <a:pt x="158" y="270"/>
                  </a:lnTo>
                  <a:lnTo>
                    <a:pt x="163" y="263"/>
                  </a:lnTo>
                  <a:lnTo>
                    <a:pt x="168" y="259"/>
                  </a:lnTo>
                  <a:lnTo>
                    <a:pt x="163" y="251"/>
                  </a:lnTo>
                  <a:lnTo>
                    <a:pt x="158" y="243"/>
                  </a:lnTo>
                  <a:lnTo>
                    <a:pt x="165" y="239"/>
                  </a:lnTo>
                  <a:lnTo>
                    <a:pt x="172" y="236"/>
                  </a:lnTo>
                  <a:lnTo>
                    <a:pt x="182" y="234"/>
                  </a:lnTo>
                  <a:lnTo>
                    <a:pt x="192" y="236"/>
                  </a:lnTo>
                  <a:lnTo>
                    <a:pt x="192" y="248"/>
                  </a:lnTo>
                  <a:lnTo>
                    <a:pt x="194" y="259"/>
                  </a:lnTo>
                  <a:lnTo>
                    <a:pt x="202" y="266"/>
                  </a:lnTo>
                  <a:lnTo>
                    <a:pt x="209" y="273"/>
                  </a:lnTo>
                  <a:lnTo>
                    <a:pt x="215" y="270"/>
                  </a:lnTo>
                  <a:lnTo>
                    <a:pt x="219" y="266"/>
                  </a:lnTo>
                  <a:lnTo>
                    <a:pt x="222" y="263"/>
                  </a:lnTo>
                  <a:lnTo>
                    <a:pt x="226" y="258"/>
                  </a:lnTo>
                  <a:lnTo>
                    <a:pt x="226" y="251"/>
                  </a:lnTo>
                  <a:lnTo>
                    <a:pt x="226" y="244"/>
                  </a:lnTo>
                  <a:lnTo>
                    <a:pt x="224" y="238"/>
                  </a:lnTo>
                  <a:lnTo>
                    <a:pt x="222" y="229"/>
                  </a:lnTo>
                  <a:lnTo>
                    <a:pt x="215" y="229"/>
                  </a:lnTo>
                  <a:lnTo>
                    <a:pt x="210" y="226"/>
                  </a:lnTo>
                  <a:lnTo>
                    <a:pt x="207" y="222"/>
                  </a:lnTo>
                  <a:lnTo>
                    <a:pt x="205" y="216"/>
                  </a:lnTo>
                  <a:lnTo>
                    <a:pt x="190" y="216"/>
                  </a:lnTo>
                  <a:lnTo>
                    <a:pt x="173" y="217"/>
                  </a:lnTo>
                  <a:lnTo>
                    <a:pt x="158" y="217"/>
                  </a:lnTo>
                  <a:lnTo>
                    <a:pt x="143" y="217"/>
                  </a:lnTo>
                  <a:lnTo>
                    <a:pt x="143" y="212"/>
                  </a:lnTo>
                  <a:lnTo>
                    <a:pt x="145" y="206"/>
                  </a:lnTo>
                  <a:lnTo>
                    <a:pt x="148" y="201"/>
                  </a:lnTo>
                  <a:lnTo>
                    <a:pt x="152" y="194"/>
                  </a:lnTo>
                  <a:lnTo>
                    <a:pt x="163" y="182"/>
                  </a:lnTo>
                  <a:lnTo>
                    <a:pt x="177" y="172"/>
                  </a:lnTo>
                  <a:lnTo>
                    <a:pt x="170" y="165"/>
                  </a:lnTo>
                  <a:lnTo>
                    <a:pt x="165" y="158"/>
                  </a:lnTo>
                  <a:lnTo>
                    <a:pt x="163" y="150"/>
                  </a:lnTo>
                  <a:lnTo>
                    <a:pt x="165" y="140"/>
                  </a:lnTo>
                  <a:lnTo>
                    <a:pt x="155" y="130"/>
                  </a:lnTo>
                  <a:lnTo>
                    <a:pt x="148" y="121"/>
                  </a:lnTo>
                  <a:lnTo>
                    <a:pt x="143" y="115"/>
                  </a:lnTo>
                  <a:lnTo>
                    <a:pt x="141" y="108"/>
                  </a:lnTo>
                  <a:lnTo>
                    <a:pt x="140" y="96"/>
                  </a:lnTo>
                  <a:lnTo>
                    <a:pt x="136" y="86"/>
                  </a:lnTo>
                  <a:lnTo>
                    <a:pt x="121" y="86"/>
                  </a:lnTo>
                  <a:lnTo>
                    <a:pt x="104" y="88"/>
                  </a:lnTo>
                  <a:lnTo>
                    <a:pt x="104" y="81"/>
                  </a:lnTo>
                  <a:lnTo>
                    <a:pt x="104" y="74"/>
                  </a:lnTo>
                  <a:lnTo>
                    <a:pt x="91" y="78"/>
                  </a:lnTo>
                  <a:lnTo>
                    <a:pt x="77" y="81"/>
                  </a:lnTo>
                  <a:lnTo>
                    <a:pt x="66" y="79"/>
                  </a:lnTo>
                  <a:lnTo>
                    <a:pt x="56" y="78"/>
                  </a:lnTo>
                  <a:lnTo>
                    <a:pt x="56" y="76"/>
                  </a:lnTo>
                  <a:lnTo>
                    <a:pt x="57" y="73"/>
                  </a:lnTo>
                  <a:lnTo>
                    <a:pt x="61" y="71"/>
                  </a:lnTo>
                  <a:lnTo>
                    <a:pt x="66" y="69"/>
                  </a:lnTo>
                  <a:lnTo>
                    <a:pt x="76" y="64"/>
                  </a:lnTo>
                  <a:lnTo>
                    <a:pt x="91" y="59"/>
                  </a:lnTo>
                  <a:lnTo>
                    <a:pt x="125" y="51"/>
                  </a:lnTo>
                  <a:lnTo>
                    <a:pt x="162" y="41"/>
                  </a:lnTo>
                  <a:lnTo>
                    <a:pt x="163" y="32"/>
                  </a:lnTo>
                  <a:lnTo>
                    <a:pt x="165" y="24"/>
                  </a:lnTo>
                  <a:lnTo>
                    <a:pt x="173" y="27"/>
                  </a:lnTo>
                  <a:lnTo>
                    <a:pt x="187" y="27"/>
                  </a:lnTo>
                  <a:lnTo>
                    <a:pt x="202" y="27"/>
                  </a:lnTo>
                  <a:lnTo>
                    <a:pt x="217" y="27"/>
                  </a:lnTo>
                  <a:lnTo>
                    <a:pt x="224" y="36"/>
                  </a:lnTo>
                  <a:lnTo>
                    <a:pt x="231" y="42"/>
                  </a:lnTo>
                  <a:lnTo>
                    <a:pt x="236" y="44"/>
                  </a:lnTo>
                  <a:lnTo>
                    <a:pt x="239" y="44"/>
                  </a:lnTo>
                  <a:lnTo>
                    <a:pt x="242" y="44"/>
                  </a:lnTo>
                  <a:lnTo>
                    <a:pt x="246" y="42"/>
                  </a:lnTo>
                  <a:lnTo>
                    <a:pt x="247" y="47"/>
                  </a:lnTo>
                  <a:lnTo>
                    <a:pt x="251" y="51"/>
                  </a:lnTo>
                  <a:lnTo>
                    <a:pt x="254" y="54"/>
                  </a:lnTo>
                  <a:lnTo>
                    <a:pt x="258" y="57"/>
                  </a:lnTo>
                  <a:lnTo>
                    <a:pt x="266" y="61"/>
                  </a:lnTo>
                  <a:lnTo>
                    <a:pt x="276" y="62"/>
                  </a:lnTo>
                  <a:lnTo>
                    <a:pt x="285" y="61"/>
                  </a:lnTo>
                  <a:lnTo>
                    <a:pt x="293" y="59"/>
                  </a:lnTo>
                  <a:lnTo>
                    <a:pt x="300" y="54"/>
                  </a:lnTo>
                  <a:lnTo>
                    <a:pt x="305" y="47"/>
                  </a:lnTo>
                  <a:lnTo>
                    <a:pt x="311" y="44"/>
                  </a:lnTo>
                  <a:lnTo>
                    <a:pt x="320" y="44"/>
                  </a:lnTo>
                  <a:lnTo>
                    <a:pt x="323" y="42"/>
                  </a:lnTo>
                  <a:lnTo>
                    <a:pt x="327" y="41"/>
                  </a:lnTo>
                  <a:lnTo>
                    <a:pt x="327" y="36"/>
                  </a:lnTo>
                  <a:lnTo>
                    <a:pt x="327" y="29"/>
                  </a:lnTo>
                  <a:lnTo>
                    <a:pt x="310" y="29"/>
                  </a:lnTo>
                  <a:lnTo>
                    <a:pt x="293" y="27"/>
                  </a:lnTo>
                  <a:lnTo>
                    <a:pt x="278" y="25"/>
                  </a:lnTo>
                  <a:lnTo>
                    <a:pt x="261" y="25"/>
                  </a:lnTo>
                  <a:lnTo>
                    <a:pt x="253" y="22"/>
                  </a:lnTo>
                  <a:lnTo>
                    <a:pt x="249" y="20"/>
                  </a:lnTo>
                  <a:lnTo>
                    <a:pt x="253" y="19"/>
                  </a:lnTo>
                  <a:lnTo>
                    <a:pt x="259" y="15"/>
                  </a:lnTo>
                  <a:lnTo>
                    <a:pt x="286" y="15"/>
                  </a:lnTo>
                  <a:lnTo>
                    <a:pt x="313" y="17"/>
                  </a:lnTo>
                  <a:lnTo>
                    <a:pt x="340" y="17"/>
                  </a:lnTo>
                  <a:lnTo>
                    <a:pt x="367" y="17"/>
                  </a:lnTo>
                  <a:lnTo>
                    <a:pt x="374" y="9"/>
                  </a:lnTo>
                  <a:lnTo>
                    <a:pt x="380" y="0"/>
                  </a:lnTo>
                  <a:lnTo>
                    <a:pt x="396" y="2"/>
                  </a:lnTo>
                  <a:lnTo>
                    <a:pt x="411" y="4"/>
                  </a:lnTo>
                  <a:lnTo>
                    <a:pt x="416" y="4"/>
                  </a:lnTo>
                  <a:lnTo>
                    <a:pt x="419" y="4"/>
                  </a:lnTo>
                  <a:lnTo>
                    <a:pt x="421" y="5"/>
                  </a:lnTo>
                  <a:lnTo>
                    <a:pt x="423" y="7"/>
                  </a:lnTo>
                  <a:lnTo>
                    <a:pt x="424" y="12"/>
                  </a:lnTo>
                  <a:lnTo>
                    <a:pt x="423" y="19"/>
                  </a:lnTo>
                  <a:lnTo>
                    <a:pt x="424" y="25"/>
                  </a:lnTo>
                  <a:lnTo>
                    <a:pt x="426" y="30"/>
                  </a:lnTo>
                  <a:lnTo>
                    <a:pt x="428" y="34"/>
                  </a:lnTo>
                  <a:lnTo>
                    <a:pt x="433" y="36"/>
                  </a:lnTo>
                  <a:lnTo>
                    <a:pt x="441" y="39"/>
                  </a:lnTo>
                  <a:lnTo>
                    <a:pt x="453" y="41"/>
                  </a:lnTo>
                  <a:lnTo>
                    <a:pt x="460" y="41"/>
                  </a:lnTo>
                  <a:lnTo>
                    <a:pt x="466" y="41"/>
                  </a:lnTo>
                  <a:lnTo>
                    <a:pt x="470" y="41"/>
                  </a:lnTo>
                  <a:lnTo>
                    <a:pt x="473" y="42"/>
                  </a:lnTo>
                  <a:lnTo>
                    <a:pt x="476" y="46"/>
                  </a:lnTo>
                  <a:lnTo>
                    <a:pt x="476" y="49"/>
                  </a:lnTo>
                  <a:lnTo>
                    <a:pt x="476" y="54"/>
                  </a:lnTo>
                  <a:lnTo>
                    <a:pt x="476" y="59"/>
                  </a:lnTo>
                  <a:lnTo>
                    <a:pt x="475" y="62"/>
                  </a:lnTo>
                  <a:lnTo>
                    <a:pt x="476" y="66"/>
                  </a:lnTo>
                  <a:lnTo>
                    <a:pt x="480" y="69"/>
                  </a:lnTo>
                  <a:lnTo>
                    <a:pt x="483" y="71"/>
                  </a:lnTo>
                  <a:lnTo>
                    <a:pt x="495" y="78"/>
                  </a:lnTo>
                  <a:lnTo>
                    <a:pt x="508" y="81"/>
                  </a:lnTo>
                  <a:lnTo>
                    <a:pt x="522" y="83"/>
                  </a:lnTo>
                  <a:lnTo>
                    <a:pt x="537" y="88"/>
                  </a:lnTo>
                  <a:lnTo>
                    <a:pt x="552" y="93"/>
                  </a:lnTo>
                  <a:lnTo>
                    <a:pt x="567" y="99"/>
                  </a:lnTo>
                  <a:lnTo>
                    <a:pt x="589" y="115"/>
                  </a:lnTo>
                  <a:lnTo>
                    <a:pt x="609" y="130"/>
                  </a:lnTo>
                  <a:lnTo>
                    <a:pt x="625" y="130"/>
                  </a:lnTo>
                  <a:lnTo>
                    <a:pt x="636" y="131"/>
                  </a:lnTo>
                  <a:lnTo>
                    <a:pt x="648" y="133"/>
                  </a:lnTo>
                  <a:lnTo>
                    <a:pt x="658" y="135"/>
                  </a:lnTo>
                  <a:lnTo>
                    <a:pt x="667" y="140"/>
                  </a:lnTo>
                  <a:lnTo>
                    <a:pt x="675" y="143"/>
                  </a:lnTo>
                  <a:lnTo>
                    <a:pt x="682" y="150"/>
                  </a:lnTo>
                  <a:lnTo>
                    <a:pt x="688" y="155"/>
                  </a:lnTo>
                  <a:lnTo>
                    <a:pt x="704" y="153"/>
                  </a:lnTo>
                  <a:lnTo>
                    <a:pt x="717" y="153"/>
                  </a:lnTo>
                  <a:lnTo>
                    <a:pt x="731" y="155"/>
                  </a:lnTo>
                  <a:lnTo>
                    <a:pt x="744" y="160"/>
                  </a:lnTo>
                  <a:lnTo>
                    <a:pt x="751" y="172"/>
                  </a:lnTo>
                  <a:lnTo>
                    <a:pt x="754" y="184"/>
                  </a:lnTo>
                  <a:lnTo>
                    <a:pt x="754" y="192"/>
                  </a:lnTo>
                  <a:lnTo>
                    <a:pt x="752" y="201"/>
                  </a:lnTo>
                  <a:lnTo>
                    <a:pt x="737" y="197"/>
                  </a:lnTo>
                  <a:lnTo>
                    <a:pt x="724" y="197"/>
                  </a:lnTo>
                  <a:lnTo>
                    <a:pt x="717" y="199"/>
                  </a:lnTo>
                  <a:lnTo>
                    <a:pt x="712" y="201"/>
                  </a:lnTo>
                  <a:lnTo>
                    <a:pt x="707" y="206"/>
                  </a:lnTo>
                  <a:lnTo>
                    <a:pt x="704" y="211"/>
                  </a:lnTo>
                  <a:lnTo>
                    <a:pt x="694" y="233"/>
                  </a:lnTo>
                  <a:lnTo>
                    <a:pt x="683" y="253"/>
                  </a:lnTo>
                  <a:lnTo>
                    <a:pt x="672" y="270"/>
                  </a:lnTo>
                  <a:lnTo>
                    <a:pt x="658" y="286"/>
                  </a:lnTo>
                  <a:lnTo>
                    <a:pt x="667" y="285"/>
                  </a:lnTo>
                  <a:lnTo>
                    <a:pt x="677" y="281"/>
                  </a:lnTo>
                  <a:lnTo>
                    <a:pt x="677" y="298"/>
                  </a:lnTo>
                  <a:lnTo>
                    <a:pt x="678" y="313"/>
                  </a:lnTo>
                  <a:lnTo>
                    <a:pt x="680" y="318"/>
                  </a:lnTo>
                  <a:lnTo>
                    <a:pt x="683" y="323"/>
                  </a:lnTo>
                  <a:lnTo>
                    <a:pt x="687" y="327"/>
                  </a:lnTo>
                  <a:lnTo>
                    <a:pt x="692" y="329"/>
                  </a:lnTo>
                  <a:lnTo>
                    <a:pt x="694" y="340"/>
                  </a:lnTo>
                  <a:lnTo>
                    <a:pt x="694" y="349"/>
                  </a:lnTo>
                  <a:lnTo>
                    <a:pt x="692" y="354"/>
                  </a:lnTo>
                  <a:lnTo>
                    <a:pt x="687" y="359"/>
                  </a:lnTo>
                  <a:lnTo>
                    <a:pt x="682" y="361"/>
                  </a:lnTo>
                  <a:lnTo>
                    <a:pt x="675" y="362"/>
                  </a:lnTo>
                  <a:lnTo>
                    <a:pt x="667" y="362"/>
                  </a:lnTo>
                  <a:lnTo>
                    <a:pt x="658" y="362"/>
                  </a:lnTo>
                  <a:lnTo>
                    <a:pt x="658" y="357"/>
                  </a:lnTo>
                  <a:lnTo>
                    <a:pt x="657" y="352"/>
                  </a:lnTo>
                  <a:lnTo>
                    <a:pt x="633" y="352"/>
                  </a:lnTo>
                  <a:lnTo>
                    <a:pt x="609" y="352"/>
                  </a:lnTo>
                  <a:lnTo>
                    <a:pt x="606" y="344"/>
                  </a:lnTo>
                  <a:lnTo>
                    <a:pt x="603" y="335"/>
                  </a:lnTo>
                  <a:lnTo>
                    <a:pt x="589" y="332"/>
                  </a:lnTo>
                  <a:lnTo>
                    <a:pt x="577" y="329"/>
                  </a:lnTo>
                  <a:lnTo>
                    <a:pt x="564" y="325"/>
                  </a:lnTo>
                  <a:lnTo>
                    <a:pt x="552" y="322"/>
                  </a:lnTo>
                  <a:lnTo>
                    <a:pt x="561" y="332"/>
                  </a:lnTo>
                  <a:lnTo>
                    <a:pt x="569" y="340"/>
                  </a:lnTo>
                  <a:lnTo>
                    <a:pt x="574" y="344"/>
                  </a:lnTo>
                  <a:lnTo>
                    <a:pt x="579" y="347"/>
                  </a:lnTo>
                  <a:lnTo>
                    <a:pt x="584" y="349"/>
                  </a:lnTo>
                  <a:lnTo>
                    <a:pt x="591" y="350"/>
                  </a:lnTo>
                  <a:lnTo>
                    <a:pt x="591" y="357"/>
                  </a:lnTo>
                  <a:lnTo>
                    <a:pt x="591" y="366"/>
                  </a:lnTo>
                  <a:lnTo>
                    <a:pt x="601" y="364"/>
                  </a:lnTo>
                  <a:lnTo>
                    <a:pt x="609" y="362"/>
                  </a:lnTo>
                  <a:lnTo>
                    <a:pt x="613" y="366"/>
                  </a:lnTo>
                  <a:lnTo>
                    <a:pt x="618" y="367"/>
                  </a:lnTo>
                  <a:lnTo>
                    <a:pt x="626" y="367"/>
                  </a:lnTo>
                  <a:lnTo>
                    <a:pt x="641" y="366"/>
                  </a:lnTo>
                  <a:lnTo>
                    <a:pt x="646" y="382"/>
                  </a:lnTo>
                  <a:lnTo>
                    <a:pt x="651" y="399"/>
                  </a:lnTo>
                  <a:lnTo>
                    <a:pt x="651" y="404"/>
                  </a:lnTo>
                  <a:lnTo>
                    <a:pt x="651" y="409"/>
                  </a:lnTo>
                  <a:lnTo>
                    <a:pt x="651" y="413"/>
                  </a:lnTo>
                  <a:lnTo>
                    <a:pt x="650" y="416"/>
                  </a:lnTo>
                  <a:lnTo>
                    <a:pt x="646" y="418"/>
                  </a:lnTo>
                  <a:lnTo>
                    <a:pt x="641" y="418"/>
                  </a:lnTo>
                  <a:lnTo>
                    <a:pt x="633" y="416"/>
                  </a:lnTo>
                  <a:lnTo>
                    <a:pt x="623" y="413"/>
                  </a:lnTo>
                  <a:lnTo>
                    <a:pt x="611" y="411"/>
                  </a:lnTo>
                  <a:lnTo>
                    <a:pt x="599" y="411"/>
                  </a:lnTo>
                  <a:lnTo>
                    <a:pt x="589" y="414"/>
                  </a:lnTo>
                  <a:lnTo>
                    <a:pt x="581" y="419"/>
                  </a:lnTo>
                  <a:lnTo>
                    <a:pt x="564" y="435"/>
                  </a:lnTo>
                  <a:lnTo>
                    <a:pt x="549" y="446"/>
                  </a:lnTo>
                  <a:lnTo>
                    <a:pt x="544" y="451"/>
                  </a:lnTo>
                  <a:lnTo>
                    <a:pt x="537" y="453"/>
                  </a:lnTo>
                  <a:lnTo>
                    <a:pt x="530" y="455"/>
                  </a:lnTo>
                  <a:lnTo>
                    <a:pt x="525" y="455"/>
                  </a:lnTo>
                  <a:lnTo>
                    <a:pt x="520" y="455"/>
                  </a:lnTo>
                  <a:lnTo>
                    <a:pt x="518" y="453"/>
                  </a:lnTo>
                  <a:lnTo>
                    <a:pt x="520" y="451"/>
                  </a:lnTo>
                  <a:lnTo>
                    <a:pt x="522" y="451"/>
                  </a:lnTo>
                  <a:lnTo>
                    <a:pt x="527" y="450"/>
                  </a:lnTo>
                  <a:lnTo>
                    <a:pt x="529" y="450"/>
                  </a:lnTo>
                  <a:lnTo>
                    <a:pt x="545" y="443"/>
                  </a:lnTo>
                  <a:lnTo>
                    <a:pt x="545" y="435"/>
                  </a:lnTo>
                  <a:lnTo>
                    <a:pt x="539" y="433"/>
                  </a:lnTo>
                  <a:lnTo>
                    <a:pt x="532" y="440"/>
                  </a:lnTo>
                  <a:lnTo>
                    <a:pt x="524" y="438"/>
                  </a:lnTo>
                  <a:lnTo>
                    <a:pt x="518" y="433"/>
                  </a:lnTo>
                  <a:lnTo>
                    <a:pt x="512" y="435"/>
                  </a:lnTo>
                  <a:lnTo>
                    <a:pt x="507" y="445"/>
                  </a:lnTo>
                  <a:lnTo>
                    <a:pt x="495" y="441"/>
                  </a:lnTo>
                  <a:lnTo>
                    <a:pt x="487" y="438"/>
                  </a:lnTo>
                  <a:lnTo>
                    <a:pt x="488" y="428"/>
                  </a:lnTo>
                  <a:lnTo>
                    <a:pt x="481" y="426"/>
                  </a:lnTo>
                  <a:lnTo>
                    <a:pt x="473" y="419"/>
                  </a:lnTo>
                  <a:lnTo>
                    <a:pt x="475" y="414"/>
                  </a:lnTo>
                  <a:lnTo>
                    <a:pt x="471" y="408"/>
                  </a:lnTo>
                  <a:lnTo>
                    <a:pt x="465" y="411"/>
                  </a:lnTo>
                  <a:lnTo>
                    <a:pt x="458" y="413"/>
                  </a:lnTo>
                  <a:lnTo>
                    <a:pt x="451" y="413"/>
                  </a:lnTo>
                  <a:lnTo>
                    <a:pt x="449" y="413"/>
                  </a:lnTo>
                  <a:lnTo>
                    <a:pt x="443" y="421"/>
                  </a:lnTo>
                  <a:lnTo>
                    <a:pt x="428" y="416"/>
                  </a:lnTo>
                  <a:lnTo>
                    <a:pt x="409" y="426"/>
                  </a:lnTo>
                  <a:lnTo>
                    <a:pt x="431" y="428"/>
                  </a:lnTo>
                  <a:lnTo>
                    <a:pt x="434" y="440"/>
                  </a:lnTo>
                  <a:lnTo>
                    <a:pt x="471" y="436"/>
                  </a:lnTo>
                  <a:lnTo>
                    <a:pt x="473" y="453"/>
                  </a:lnTo>
                  <a:lnTo>
                    <a:pt x="485" y="457"/>
                  </a:lnTo>
                  <a:lnTo>
                    <a:pt x="493" y="462"/>
                  </a:lnTo>
                  <a:lnTo>
                    <a:pt x="495" y="472"/>
                  </a:lnTo>
                  <a:lnTo>
                    <a:pt x="485" y="470"/>
                  </a:lnTo>
                  <a:lnTo>
                    <a:pt x="476" y="472"/>
                  </a:lnTo>
                  <a:lnTo>
                    <a:pt x="480" y="478"/>
                  </a:lnTo>
                  <a:lnTo>
                    <a:pt x="468" y="482"/>
                  </a:lnTo>
                  <a:lnTo>
                    <a:pt x="456" y="485"/>
                  </a:lnTo>
                  <a:lnTo>
                    <a:pt x="451" y="487"/>
                  </a:lnTo>
                  <a:lnTo>
                    <a:pt x="444" y="490"/>
                  </a:lnTo>
                  <a:lnTo>
                    <a:pt x="439" y="495"/>
                  </a:lnTo>
                  <a:lnTo>
                    <a:pt x="433" y="500"/>
                  </a:lnTo>
                  <a:lnTo>
                    <a:pt x="421" y="517"/>
                  </a:lnTo>
                  <a:lnTo>
                    <a:pt x="409" y="539"/>
                  </a:lnTo>
                  <a:lnTo>
                    <a:pt x="401" y="551"/>
                  </a:lnTo>
                  <a:lnTo>
                    <a:pt x="392" y="564"/>
                  </a:lnTo>
                  <a:lnTo>
                    <a:pt x="384" y="578"/>
                  </a:lnTo>
                  <a:lnTo>
                    <a:pt x="375" y="590"/>
                  </a:lnTo>
                  <a:lnTo>
                    <a:pt x="369" y="600"/>
                  </a:lnTo>
                  <a:lnTo>
                    <a:pt x="364" y="605"/>
                  </a:lnTo>
                  <a:lnTo>
                    <a:pt x="360" y="610"/>
                  </a:lnTo>
                  <a:lnTo>
                    <a:pt x="355" y="610"/>
                  </a:lnTo>
                  <a:lnTo>
                    <a:pt x="352" y="608"/>
                  </a:lnTo>
                  <a:lnTo>
                    <a:pt x="348" y="603"/>
                  </a:lnTo>
                  <a:lnTo>
                    <a:pt x="345" y="596"/>
                  </a:lnTo>
                  <a:lnTo>
                    <a:pt x="342" y="586"/>
                  </a:lnTo>
                  <a:lnTo>
                    <a:pt x="345" y="561"/>
                  </a:lnTo>
                  <a:lnTo>
                    <a:pt x="347" y="537"/>
                  </a:lnTo>
                  <a:lnTo>
                    <a:pt x="347" y="529"/>
                  </a:lnTo>
                  <a:lnTo>
                    <a:pt x="348" y="524"/>
                  </a:lnTo>
                  <a:lnTo>
                    <a:pt x="347" y="519"/>
                  </a:lnTo>
                  <a:lnTo>
                    <a:pt x="345" y="515"/>
                  </a:lnTo>
                  <a:lnTo>
                    <a:pt x="343" y="514"/>
                  </a:lnTo>
                  <a:lnTo>
                    <a:pt x="340" y="514"/>
                  </a:lnTo>
                  <a:lnTo>
                    <a:pt x="337" y="517"/>
                  </a:lnTo>
                  <a:lnTo>
                    <a:pt x="332" y="521"/>
                  </a:lnTo>
                  <a:lnTo>
                    <a:pt x="327" y="524"/>
                  </a:lnTo>
                  <a:lnTo>
                    <a:pt x="322" y="524"/>
                  </a:lnTo>
                  <a:lnTo>
                    <a:pt x="318" y="524"/>
                  </a:lnTo>
                  <a:lnTo>
                    <a:pt x="315" y="524"/>
                  </a:lnTo>
                  <a:lnTo>
                    <a:pt x="313" y="521"/>
                  </a:lnTo>
                  <a:lnTo>
                    <a:pt x="313" y="517"/>
                  </a:lnTo>
                  <a:lnTo>
                    <a:pt x="313" y="512"/>
                  </a:lnTo>
                  <a:lnTo>
                    <a:pt x="315" y="505"/>
                  </a:lnTo>
                  <a:lnTo>
                    <a:pt x="320" y="494"/>
                  </a:lnTo>
                  <a:lnTo>
                    <a:pt x="323" y="482"/>
                  </a:lnTo>
                  <a:lnTo>
                    <a:pt x="320" y="480"/>
                  </a:lnTo>
                  <a:lnTo>
                    <a:pt x="316" y="477"/>
                  </a:lnTo>
                  <a:lnTo>
                    <a:pt x="313" y="473"/>
                  </a:lnTo>
                  <a:lnTo>
                    <a:pt x="310" y="470"/>
                  </a:lnTo>
                  <a:lnTo>
                    <a:pt x="305" y="460"/>
                  </a:lnTo>
                  <a:lnTo>
                    <a:pt x="300" y="448"/>
                  </a:lnTo>
                  <a:lnTo>
                    <a:pt x="291" y="446"/>
                  </a:lnTo>
                  <a:lnTo>
                    <a:pt x="285" y="445"/>
                  </a:lnTo>
                  <a:lnTo>
                    <a:pt x="279" y="443"/>
                  </a:lnTo>
                  <a:lnTo>
                    <a:pt x="274" y="440"/>
                  </a:lnTo>
                  <a:lnTo>
                    <a:pt x="269" y="431"/>
                  </a:lnTo>
                  <a:lnTo>
                    <a:pt x="268" y="423"/>
                  </a:lnTo>
                  <a:lnTo>
                    <a:pt x="258" y="423"/>
                  </a:lnTo>
                  <a:lnTo>
                    <a:pt x="247" y="421"/>
                  </a:lnTo>
                  <a:lnTo>
                    <a:pt x="241" y="416"/>
                  </a:lnTo>
                  <a:lnTo>
                    <a:pt x="234" y="409"/>
                  </a:lnTo>
                  <a:lnTo>
                    <a:pt x="227" y="399"/>
                  </a:lnTo>
                  <a:lnTo>
                    <a:pt x="224" y="387"/>
                  </a:lnTo>
                  <a:lnTo>
                    <a:pt x="221" y="372"/>
                  </a:lnTo>
                  <a:lnTo>
                    <a:pt x="219" y="354"/>
                  </a:lnTo>
                  <a:lnTo>
                    <a:pt x="215" y="345"/>
                  </a:lnTo>
                  <a:lnTo>
                    <a:pt x="214" y="337"/>
                  </a:lnTo>
                  <a:lnTo>
                    <a:pt x="210" y="334"/>
                  </a:lnTo>
                  <a:lnTo>
                    <a:pt x="209" y="330"/>
                  </a:lnTo>
                  <a:lnTo>
                    <a:pt x="205" y="332"/>
                  </a:lnTo>
                  <a:lnTo>
                    <a:pt x="204" y="334"/>
                  </a:lnTo>
                  <a:lnTo>
                    <a:pt x="200" y="339"/>
                  </a:lnTo>
                  <a:lnTo>
                    <a:pt x="199" y="345"/>
                  </a:lnTo>
                  <a:lnTo>
                    <a:pt x="192" y="349"/>
                  </a:lnTo>
                  <a:lnTo>
                    <a:pt x="187" y="354"/>
                  </a:lnTo>
                  <a:lnTo>
                    <a:pt x="184" y="362"/>
                  </a:lnTo>
                  <a:lnTo>
                    <a:pt x="182" y="374"/>
                  </a:lnTo>
                  <a:lnTo>
                    <a:pt x="180" y="398"/>
                  </a:lnTo>
                  <a:lnTo>
                    <a:pt x="178" y="423"/>
                  </a:lnTo>
                  <a:lnTo>
                    <a:pt x="177" y="431"/>
                  </a:lnTo>
                  <a:lnTo>
                    <a:pt x="177" y="438"/>
                  </a:lnTo>
                  <a:lnTo>
                    <a:pt x="177" y="443"/>
                  </a:lnTo>
                  <a:lnTo>
                    <a:pt x="178" y="446"/>
                  </a:lnTo>
                  <a:lnTo>
                    <a:pt x="182" y="448"/>
                  </a:lnTo>
                  <a:lnTo>
                    <a:pt x="185" y="448"/>
                  </a:lnTo>
                  <a:lnTo>
                    <a:pt x="190" y="446"/>
                  </a:lnTo>
                  <a:lnTo>
                    <a:pt x="197" y="443"/>
                  </a:lnTo>
                  <a:lnTo>
                    <a:pt x="205" y="438"/>
                  </a:lnTo>
                  <a:lnTo>
                    <a:pt x="212" y="436"/>
                  </a:lnTo>
                  <a:lnTo>
                    <a:pt x="217" y="436"/>
                  </a:lnTo>
                  <a:lnTo>
                    <a:pt x="221" y="440"/>
                  </a:lnTo>
                  <a:lnTo>
                    <a:pt x="221" y="445"/>
                  </a:lnTo>
                  <a:lnTo>
                    <a:pt x="219" y="451"/>
                  </a:lnTo>
                  <a:lnTo>
                    <a:pt x="215" y="458"/>
                  </a:lnTo>
                  <a:lnTo>
                    <a:pt x="210" y="465"/>
                  </a:lnTo>
                  <a:lnTo>
                    <a:pt x="190" y="490"/>
                  </a:lnTo>
                  <a:lnTo>
                    <a:pt x="168" y="515"/>
                  </a:lnTo>
                  <a:lnTo>
                    <a:pt x="163" y="522"/>
                  </a:lnTo>
                  <a:lnTo>
                    <a:pt x="157" y="526"/>
                  </a:lnTo>
                  <a:lnTo>
                    <a:pt x="153" y="526"/>
                  </a:lnTo>
                  <a:lnTo>
                    <a:pt x="148" y="524"/>
                  </a:lnTo>
                  <a:lnTo>
                    <a:pt x="143" y="521"/>
                  </a:lnTo>
                  <a:lnTo>
                    <a:pt x="138" y="515"/>
                  </a:lnTo>
                  <a:lnTo>
                    <a:pt x="131" y="504"/>
                  </a:lnTo>
                  <a:lnTo>
                    <a:pt x="123" y="495"/>
                  </a:lnTo>
                  <a:lnTo>
                    <a:pt x="114" y="487"/>
                  </a:lnTo>
                  <a:lnTo>
                    <a:pt x="106" y="478"/>
                  </a:lnTo>
                  <a:lnTo>
                    <a:pt x="89" y="467"/>
                  </a:lnTo>
                  <a:lnTo>
                    <a:pt x="72" y="457"/>
                  </a:lnTo>
                  <a:lnTo>
                    <a:pt x="64" y="457"/>
                  </a:lnTo>
                  <a:lnTo>
                    <a:pt x="59" y="458"/>
                  </a:lnTo>
                  <a:lnTo>
                    <a:pt x="54" y="457"/>
                  </a:lnTo>
                  <a:lnTo>
                    <a:pt x="52" y="455"/>
                  </a:lnTo>
                  <a:lnTo>
                    <a:pt x="51" y="450"/>
                  </a:lnTo>
                  <a:lnTo>
                    <a:pt x="52" y="445"/>
                  </a:lnTo>
                  <a:lnTo>
                    <a:pt x="57" y="436"/>
                  </a:lnTo>
                  <a:lnTo>
                    <a:pt x="62" y="428"/>
                  </a:lnTo>
                  <a:lnTo>
                    <a:pt x="66" y="419"/>
                  </a:lnTo>
                  <a:lnTo>
                    <a:pt x="67" y="413"/>
                  </a:lnTo>
                  <a:lnTo>
                    <a:pt x="67" y="408"/>
                  </a:lnTo>
                  <a:lnTo>
                    <a:pt x="64" y="403"/>
                  </a:lnTo>
                  <a:lnTo>
                    <a:pt x="57" y="399"/>
                  </a:lnTo>
                  <a:lnTo>
                    <a:pt x="51" y="396"/>
                  </a:lnTo>
                  <a:lnTo>
                    <a:pt x="40" y="393"/>
                  </a:lnTo>
                  <a:lnTo>
                    <a:pt x="27" y="391"/>
                  </a:lnTo>
                  <a:lnTo>
                    <a:pt x="22" y="394"/>
                  </a:lnTo>
                  <a:lnTo>
                    <a:pt x="17" y="394"/>
                  </a:lnTo>
                  <a:lnTo>
                    <a:pt x="14" y="396"/>
                  </a:lnTo>
                  <a:lnTo>
                    <a:pt x="10" y="394"/>
                  </a:lnTo>
                  <a:lnTo>
                    <a:pt x="8" y="389"/>
                  </a:lnTo>
                  <a:lnTo>
                    <a:pt x="8" y="382"/>
                  </a:lnTo>
                  <a:lnTo>
                    <a:pt x="10" y="374"/>
                  </a:lnTo>
                  <a:lnTo>
                    <a:pt x="14" y="361"/>
                  </a:lnTo>
                  <a:lnTo>
                    <a:pt x="20" y="354"/>
                  </a:lnTo>
                  <a:lnTo>
                    <a:pt x="25" y="347"/>
                  </a:lnTo>
                  <a:lnTo>
                    <a:pt x="29" y="339"/>
                  </a:lnTo>
                  <a:lnTo>
                    <a:pt x="32" y="330"/>
                  </a:lnTo>
                  <a:lnTo>
                    <a:pt x="34" y="320"/>
                  </a:lnTo>
                  <a:lnTo>
                    <a:pt x="34" y="308"/>
                  </a:lnTo>
                  <a:lnTo>
                    <a:pt x="34" y="297"/>
                  </a:lnTo>
                  <a:lnTo>
                    <a:pt x="30" y="283"/>
                  </a:lnTo>
                  <a:lnTo>
                    <a:pt x="27" y="276"/>
                  </a:lnTo>
                  <a:lnTo>
                    <a:pt x="24" y="271"/>
                  </a:lnTo>
                  <a:lnTo>
                    <a:pt x="24" y="266"/>
                  </a:lnTo>
                  <a:lnTo>
                    <a:pt x="24" y="261"/>
                  </a:lnTo>
                  <a:lnTo>
                    <a:pt x="25" y="251"/>
                  </a:lnTo>
                  <a:lnTo>
                    <a:pt x="27" y="243"/>
                  </a:lnTo>
                  <a:lnTo>
                    <a:pt x="24" y="222"/>
                  </a:lnTo>
                  <a:lnTo>
                    <a:pt x="22" y="202"/>
                  </a:lnTo>
                  <a:lnTo>
                    <a:pt x="20" y="184"/>
                  </a:lnTo>
                  <a:lnTo>
                    <a:pt x="22" y="167"/>
                  </a:lnTo>
                  <a:lnTo>
                    <a:pt x="25" y="165"/>
                  </a:lnTo>
                  <a:lnTo>
                    <a:pt x="29" y="163"/>
                  </a:lnTo>
                  <a:lnTo>
                    <a:pt x="30" y="160"/>
                  </a:lnTo>
                  <a:lnTo>
                    <a:pt x="32" y="158"/>
                  </a:lnTo>
                  <a:lnTo>
                    <a:pt x="30" y="155"/>
                  </a:lnTo>
                  <a:lnTo>
                    <a:pt x="29" y="152"/>
                  </a:lnTo>
                  <a:lnTo>
                    <a:pt x="25" y="150"/>
                  </a:lnTo>
                  <a:lnTo>
                    <a:pt x="20" y="148"/>
                  </a:lnTo>
                  <a:lnTo>
                    <a:pt x="10" y="140"/>
                  </a:lnTo>
                  <a:lnTo>
                    <a:pt x="0" y="135"/>
                  </a:lnTo>
                  <a:lnTo>
                    <a:pt x="2" y="130"/>
                  </a:lnTo>
                  <a:lnTo>
                    <a:pt x="3" y="125"/>
                  </a:lnTo>
                  <a:lnTo>
                    <a:pt x="27" y="125"/>
                  </a:lnTo>
                  <a:lnTo>
                    <a:pt x="52" y="125"/>
                  </a:lnTo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317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83613" name="Freeform 61"/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220" y="2440"/>
              <a:ext cx="921" cy="959"/>
            </a:xfrm>
            <a:custGeom>
              <a:avLst/>
              <a:gdLst>
                <a:gd name="T0" fmla="*/ 1 w 1615"/>
                <a:gd name="T1" fmla="*/ 1 h 1632"/>
                <a:gd name="T2" fmla="*/ 1 w 1615"/>
                <a:gd name="T3" fmla="*/ 1 h 1632"/>
                <a:gd name="T4" fmla="*/ 1 w 1615"/>
                <a:gd name="T5" fmla="*/ 1 h 1632"/>
                <a:gd name="T6" fmla="*/ 1 w 1615"/>
                <a:gd name="T7" fmla="*/ 1 h 1632"/>
                <a:gd name="T8" fmla="*/ 1 w 1615"/>
                <a:gd name="T9" fmla="*/ 1 h 1632"/>
                <a:gd name="T10" fmla="*/ 1 w 1615"/>
                <a:gd name="T11" fmla="*/ 1 h 1632"/>
                <a:gd name="T12" fmla="*/ 1 w 1615"/>
                <a:gd name="T13" fmla="*/ 1 h 1632"/>
                <a:gd name="T14" fmla="*/ 1 w 1615"/>
                <a:gd name="T15" fmla="*/ 1 h 1632"/>
                <a:gd name="T16" fmla="*/ 1 w 1615"/>
                <a:gd name="T17" fmla="*/ 1 h 1632"/>
                <a:gd name="T18" fmla="*/ 1 w 1615"/>
                <a:gd name="T19" fmla="*/ 1 h 1632"/>
                <a:gd name="T20" fmla="*/ 1 w 1615"/>
                <a:gd name="T21" fmla="*/ 1 h 1632"/>
                <a:gd name="T22" fmla="*/ 1 w 1615"/>
                <a:gd name="T23" fmla="*/ 1 h 1632"/>
                <a:gd name="T24" fmla="*/ 1 w 1615"/>
                <a:gd name="T25" fmla="*/ 1 h 1632"/>
                <a:gd name="T26" fmla="*/ 1 w 1615"/>
                <a:gd name="T27" fmla="*/ 1 h 1632"/>
                <a:gd name="T28" fmla="*/ 1 w 1615"/>
                <a:gd name="T29" fmla="*/ 1 h 1632"/>
                <a:gd name="T30" fmla="*/ 1 w 1615"/>
                <a:gd name="T31" fmla="*/ 1 h 1632"/>
                <a:gd name="T32" fmla="*/ 1 w 1615"/>
                <a:gd name="T33" fmla="*/ 1 h 1632"/>
                <a:gd name="T34" fmla="*/ 1 w 1615"/>
                <a:gd name="T35" fmla="*/ 1 h 1632"/>
                <a:gd name="T36" fmla="*/ 1 w 1615"/>
                <a:gd name="T37" fmla="*/ 1 h 1632"/>
                <a:gd name="T38" fmla="*/ 1 w 1615"/>
                <a:gd name="T39" fmla="*/ 1 h 1632"/>
                <a:gd name="T40" fmla="*/ 1 w 1615"/>
                <a:gd name="T41" fmla="*/ 1 h 1632"/>
                <a:gd name="T42" fmla="*/ 1 w 1615"/>
                <a:gd name="T43" fmla="*/ 1 h 1632"/>
                <a:gd name="T44" fmla="*/ 1 w 1615"/>
                <a:gd name="T45" fmla="*/ 1 h 1632"/>
                <a:gd name="T46" fmla="*/ 1 w 1615"/>
                <a:gd name="T47" fmla="*/ 1 h 1632"/>
                <a:gd name="T48" fmla="*/ 1 w 1615"/>
                <a:gd name="T49" fmla="*/ 1 h 1632"/>
                <a:gd name="T50" fmla="*/ 1 w 1615"/>
                <a:gd name="T51" fmla="*/ 1 h 1632"/>
                <a:gd name="T52" fmla="*/ 1 w 1615"/>
                <a:gd name="T53" fmla="*/ 1 h 1632"/>
                <a:gd name="T54" fmla="*/ 1 w 1615"/>
                <a:gd name="T55" fmla="*/ 1 h 1632"/>
                <a:gd name="T56" fmla="*/ 1 w 1615"/>
                <a:gd name="T57" fmla="*/ 1 h 1632"/>
                <a:gd name="T58" fmla="*/ 1 w 1615"/>
                <a:gd name="T59" fmla="*/ 1 h 1632"/>
                <a:gd name="T60" fmla="*/ 1 w 1615"/>
                <a:gd name="T61" fmla="*/ 1 h 1632"/>
                <a:gd name="T62" fmla="*/ 1 w 1615"/>
                <a:gd name="T63" fmla="*/ 1 h 1632"/>
                <a:gd name="T64" fmla="*/ 1 w 1615"/>
                <a:gd name="T65" fmla="*/ 1 h 1632"/>
                <a:gd name="T66" fmla="*/ 1 w 1615"/>
                <a:gd name="T67" fmla="*/ 1 h 1632"/>
                <a:gd name="T68" fmla="*/ 1 w 1615"/>
                <a:gd name="T69" fmla="*/ 1 h 1632"/>
                <a:gd name="T70" fmla="*/ 1 w 1615"/>
                <a:gd name="T71" fmla="*/ 1 h 1632"/>
                <a:gd name="T72" fmla="*/ 1 w 1615"/>
                <a:gd name="T73" fmla="*/ 1 h 1632"/>
                <a:gd name="T74" fmla="*/ 1 w 1615"/>
                <a:gd name="T75" fmla="*/ 1 h 1632"/>
                <a:gd name="T76" fmla="*/ 1 w 1615"/>
                <a:gd name="T77" fmla="*/ 1 h 1632"/>
                <a:gd name="T78" fmla="*/ 1 w 1615"/>
                <a:gd name="T79" fmla="*/ 1 h 1632"/>
                <a:gd name="T80" fmla="*/ 1 w 1615"/>
                <a:gd name="T81" fmla="*/ 1 h 1632"/>
                <a:gd name="T82" fmla="*/ 1 w 1615"/>
                <a:gd name="T83" fmla="*/ 1 h 1632"/>
                <a:gd name="T84" fmla="*/ 1 w 1615"/>
                <a:gd name="T85" fmla="*/ 1 h 1632"/>
                <a:gd name="T86" fmla="*/ 1 w 1615"/>
                <a:gd name="T87" fmla="*/ 1 h 1632"/>
                <a:gd name="T88" fmla="*/ 1 w 1615"/>
                <a:gd name="T89" fmla="*/ 1 h 1632"/>
                <a:gd name="T90" fmla="*/ 1 w 1615"/>
                <a:gd name="T91" fmla="*/ 1 h 1632"/>
                <a:gd name="T92" fmla="*/ 1 w 1615"/>
                <a:gd name="T93" fmla="*/ 1 h 1632"/>
                <a:gd name="T94" fmla="*/ 1 w 1615"/>
                <a:gd name="T95" fmla="*/ 1 h 1632"/>
                <a:gd name="T96" fmla="*/ 1 w 1615"/>
                <a:gd name="T97" fmla="*/ 1 h 1632"/>
                <a:gd name="T98" fmla="*/ 1 w 1615"/>
                <a:gd name="T99" fmla="*/ 1 h 1632"/>
                <a:gd name="T100" fmla="*/ 1 w 1615"/>
                <a:gd name="T101" fmla="*/ 1 h 1632"/>
                <a:gd name="T102" fmla="*/ 1 w 1615"/>
                <a:gd name="T103" fmla="*/ 1 h 1632"/>
                <a:gd name="T104" fmla="*/ 1 w 1615"/>
                <a:gd name="T105" fmla="*/ 1 h 1632"/>
                <a:gd name="T106" fmla="*/ 1 w 1615"/>
                <a:gd name="T107" fmla="*/ 1 h 1632"/>
                <a:gd name="T108" fmla="*/ 1 w 1615"/>
                <a:gd name="T109" fmla="*/ 1 h 1632"/>
                <a:gd name="T110" fmla="*/ 1 w 1615"/>
                <a:gd name="T111" fmla="*/ 1 h 1632"/>
                <a:gd name="T112" fmla="*/ 1 w 1615"/>
                <a:gd name="T113" fmla="*/ 1 h 1632"/>
                <a:gd name="T114" fmla="*/ 1 w 1615"/>
                <a:gd name="T115" fmla="*/ 1 h 1632"/>
                <a:gd name="T116" fmla="*/ 1 w 1615"/>
                <a:gd name="T117" fmla="*/ 1 h 1632"/>
                <a:gd name="T118" fmla="*/ 1 w 1615"/>
                <a:gd name="T119" fmla="*/ 1 h 1632"/>
                <a:gd name="T120" fmla="*/ 1 w 1615"/>
                <a:gd name="T121" fmla="*/ 1 h 1632"/>
                <a:gd name="T122" fmla="*/ 1 w 1615"/>
                <a:gd name="T123" fmla="*/ 1 h 1632"/>
                <a:gd name="T124" fmla="*/ 1 w 1615"/>
                <a:gd name="T125" fmla="*/ 1 h 163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615"/>
                <a:gd name="T190" fmla="*/ 0 h 1632"/>
                <a:gd name="T191" fmla="*/ 1615 w 1615"/>
                <a:gd name="T192" fmla="*/ 1632 h 163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615" h="1632">
                  <a:moveTo>
                    <a:pt x="930" y="1609"/>
                  </a:moveTo>
                  <a:lnTo>
                    <a:pt x="923" y="1602"/>
                  </a:lnTo>
                  <a:lnTo>
                    <a:pt x="918" y="1592"/>
                  </a:lnTo>
                  <a:lnTo>
                    <a:pt x="911" y="1585"/>
                  </a:lnTo>
                  <a:lnTo>
                    <a:pt x="904" y="1580"/>
                  </a:lnTo>
                  <a:lnTo>
                    <a:pt x="899" y="1577"/>
                  </a:lnTo>
                  <a:lnTo>
                    <a:pt x="896" y="1578"/>
                  </a:lnTo>
                  <a:lnTo>
                    <a:pt x="893" y="1580"/>
                  </a:lnTo>
                  <a:lnTo>
                    <a:pt x="891" y="1587"/>
                  </a:lnTo>
                  <a:lnTo>
                    <a:pt x="889" y="1595"/>
                  </a:lnTo>
                  <a:lnTo>
                    <a:pt x="889" y="1605"/>
                  </a:lnTo>
                  <a:lnTo>
                    <a:pt x="889" y="1617"/>
                  </a:lnTo>
                  <a:lnTo>
                    <a:pt x="888" y="1624"/>
                  </a:lnTo>
                  <a:lnTo>
                    <a:pt x="884" y="1629"/>
                  </a:lnTo>
                  <a:lnTo>
                    <a:pt x="879" y="1632"/>
                  </a:lnTo>
                  <a:lnTo>
                    <a:pt x="874" y="1632"/>
                  </a:lnTo>
                  <a:lnTo>
                    <a:pt x="867" y="1631"/>
                  </a:lnTo>
                  <a:lnTo>
                    <a:pt x="861" y="1627"/>
                  </a:lnTo>
                  <a:lnTo>
                    <a:pt x="852" y="1622"/>
                  </a:lnTo>
                  <a:lnTo>
                    <a:pt x="837" y="1605"/>
                  </a:lnTo>
                  <a:lnTo>
                    <a:pt x="824" y="1589"/>
                  </a:lnTo>
                  <a:lnTo>
                    <a:pt x="808" y="1575"/>
                  </a:lnTo>
                  <a:lnTo>
                    <a:pt x="793" y="1560"/>
                  </a:lnTo>
                  <a:lnTo>
                    <a:pt x="787" y="1558"/>
                  </a:lnTo>
                  <a:lnTo>
                    <a:pt x="781" y="1557"/>
                  </a:lnTo>
                  <a:lnTo>
                    <a:pt x="776" y="1557"/>
                  </a:lnTo>
                  <a:lnTo>
                    <a:pt x="771" y="1557"/>
                  </a:lnTo>
                  <a:lnTo>
                    <a:pt x="763" y="1560"/>
                  </a:lnTo>
                  <a:lnTo>
                    <a:pt x="755" y="1567"/>
                  </a:lnTo>
                  <a:lnTo>
                    <a:pt x="739" y="1568"/>
                  </a:lnTo>
                  <a:lnTo>
                    <a:pt x="726" y="1568"/>
                  </a:lnTo>
                  <a:lnTo>
                    <a:pt x="719" y="1567"/>
                  </a:lnTo>
                  <a:lnTo>
                    <a:pt x="714" y="1563"/>
                  </a:lnTo>
                  <a:lnTo>
                    <a:pt x="707" y="1560"/>
                  </a:lnTo>
                  <a:lnTo>
                    <a:pt x="702" y="1557"/>
                  </a:lnTo>
                  <a:lnTo>
                    <a:pt x="697" y="1553"/>
                  </a:lnTo>
                  <a:lnTo>
                    <a:pt x="691" y="1553"/>
                  </a:lnTo>
                  <a:lnTo>
                    <a:pt x="684" y="1555"/>
                  </a:lnTo>
                  <a:lnTo>
                    <a:pt x="677" y="1558"/>
                  </a:lnTo>
                  <a:lnTo>
                    <a:pt x="665" y="1568"/>
                  </a:lnTo>
                  <a:lnTo>
                    <a:pt x="652" y="1580"/>
                  </a:lnTo>
                  <a:lnTo>
                    <a:pt x="654" y="1594"/>
                  </a:lnTo>
                  <a:lnTo>
                    <a:pt x="652" y="1605"/>
                  </a:lnTo>
                  <a:lnTo>
                    <a:pt x="650" y="1612"/>
                  </a:lnTo>
                  <a:lnTo>
                    <a:pt x="647" y="1617"/>
                  </a:lnTo>
                  <a:lnTo>
                    <a:pt x="643" y="1621"/>
                  </a:lnTo>
                  <a:lnTo>
                    <a:pt x="638" y="1622"/>
                  </a:lnTo>
                  <a:lnTo>
                    <a:pt x="633" y="1622"/>
                  </a:lnTo>
                  <a:lnTo>
                    <a:pt x="630" y="1624"/>
                  </a:lnTo>
                  <a:lnTo>
                    <a:pt x="616" y="1624"/>
                  </a:lnTo>
                  <a:lnTo>
                    <a:pt x="603" y="1626"/>
                  </a:lnTo>
                  <a:lnTo>
                    <a:pt x="590" y="1626"/>
                  </a:lnTo>
                  <a:lnTo>
                    <a:pt x="576" y="1626"/>
                  </a:lnTo>
                  <a:lnTo>
                    <a:pt x="566" y="1624"/>
                  </a:lnTo>
                  <a:lnTo>
                    <a:pt x="559" y="1619"/>
                  </a:lnTo>
                  <a:lnTo>
                    <a:pt x="558" y="1615"/>
                  </a:lnTo>
                  <a:lnTo>
                    <a:pt x="556" y="1612"/>
                  </a:lnTo>
                  <a:lnTo>
                    <a:pt x="556" y="1609"/>
                  </a:lnTo>
                  <a:lnTo>
                    <a:pt x="556" y="1604"/>
                  </a:lnTo>
                  <a:lnTo>
                    <a:pt x="554" y="1599"/>
                  </a:lnTo>
                  <a:lnTo>
                    <a:pt x="551" y="1595"/>
                  </a:lnTo>
                  <a:lnTo>
                    <a:pt x="544" y="1594"/>
                  </a:lnTo>
                  <a:lnTo>
                    <a:pt x="537" y="1594"/>
                  </a:lnTo>
                  <a:lnTo>
                    <a:pt x="522" y="1592"/>
                  </a:lnTo>
                  <a:lnTo>
                    <a:pt x="512" y="1590"/>
                  </a:lnTo>
                  <a:lnTo>
                    <a:pt x="504" y="1587"/>
                  </a:lnTo>
                  <a:lnTo>
                    <a:pt x="497" y="1583"/>
                  </a:lnTo>
                  <a:lnTo>
                    <a:pt x="482" y="1580"/>
                  </a:lnTo>
                  <a:lnTo>
                    <a:pt x="470" y="1575"/>
                  </a:lnTo>
                  <a:lnTo>
                    <a:pt x="460" y="1572"/>
                  </a:lnTo>
                  <a:lnTo>
                    <a:pt x="452" y="1567"/>
                  </a:lnTo>
                  <a:lnTo>
                    <a:pt x="445" y="1562"/>
                  </a:lnTo>
                  <a:lnTo>
                    <a:pt x="441" y="1557"/>
                  </a:lnTo>
                  <a:lnTo>
                    <a:pt x="440" y="1551"/>
                  </a:lnTo>
                  <a:lnTo>
                    <a:pt x="441" y="1545"/>
                  </a:lnTo>
                  <a:lnTo>
                    <a:pt x="438" y="1533"/>
                  </a:lnTo>
                  <a:lnTo>
                    <a:pt x="436" y="1519"/>
                  </a:lnTo>
                  <a:lnTo>
                    <a:pt x="430" y="1506"/>
                  </a:lnTo>
                  <a:lnTo>
                    <a:pt x="425" y="1496"/>
                  </a:lnTo>
                  <a:lnTo>
                    <a:pt x="420" y="1491"/>
                  </a:lnTo>
                  <a:lnTo>
                    <a:pt x="413" y="1488"/>
                  </a:lnTo>
                  <a:lnTo>
                    <a:pt x="384" y="1469"/>
                  </a:lnTo>
                  <a:lnTo>
                    <a:pt x="364" y="1454"/>
                  </a:lnTo>
                  <a:lnTo>
                    <a:pt x="347" y="1450"/>
                  </a:lnTo>
                  <a:lnTo>
                    <a:pt x="334" y="1450"/>
                  </a:lnTo>
                  <a:lnTo>
                    <a:pt x="322" y="1452"/>
                  </a:lnTo>
                  <a:lnTo>
                    <a:pt x="312" y="1454"/>
                  </a:lnTo>
                  <a:lnTo>
                    <a:pt x="303" y="1454"/>
                  </a:lnTo>
                  <a:lnTo>
                    <a:pt x="295" y="1454"/>
                  </a:lnTo>
                  <a:lnTo>
                    <a:pt x="290" y="1452"/>
                  </a:lnTo>
                  <a:lnTo>
                    <a:pt x="283" y="1449"/>
                  </a:lnTo>
                  <a:lnTo>
                    <a:pt x="280" y="1445"/>
                  </a:lnTo>
                  <a:lnTo>
                    <a:pt x="275" y="1440"/>
                  </a:lnTo>
                  <a:lnTo>
                    <a:pt x="273" y="1435"/>
                  </a:lnTo>
                  <a:lnTo>
                    <a:pt x="270" y="1430"/>
                  </a:lnTo>
                  <a:lnTo>
                    <a:pt x="260" y="1408"/>
                  </a:lnTo>
                  <a:lnTo>
                    <a:pt x="248" y="1386"/>
                  </a:lnTo>
                  <a:lnTo>
                    <a:pt x="244" y="1381"/>
                  </a:lnTo>
                  <a:lnTo>
                    <a:pt x="241" y="1378"/>
                  </a:lnTo>
                  <a:lnTo>
                    <a:pt x="239" y="1375"/>
                  </a:lnTo>
                  <a:lnTo>
                    <a:pt x="239" y="1370"/>
                  </a:lnTo>
                  <a:lnTo>
                    <a:pt x="239" y="1363"/>
                  </a:lnTo>
                  <a:lnTo>
                    <a:pt x="241" y="1354"/>
                  </a:lnTo>
                  <a:lnTo>
                    <a:pt x="238" y="1346"/>
                  </a:lnTo>
                  <a:lnTo>
                    <a:pt x="236" y="1339"/>
                  </a:lnTo>
                  <a:lnTo>
                    <a:pt x="233" y="1334"/>
                  </a:lnTo>
                  <a:lnTo>
                    <a:pt x="228" y="1329"/>
                  </a:lnTo>
                  <a:lnTo>
                    <a:pt x="224" y="1326"/>
                  </a:lnTo>
                  <a:lnTo>
                    <a:pt x="219" y="1324"/>
                  </a:lnTo>
                  <a:lnTo>
                    <a:pt x="214" y="1324"/>
                  </a:lnTo>
                  <a:lnTo>
                    <a:pt x="209" y="1324"/>
                  </a:lnTo>
                  <a:lnTo>
                    <a:pt x="184" y="1302"/>
                  </a:lnTo>
                  <a:lnTo>
                    <a:pt x="165" y="1289"/>
                  </a:lnTo>
                  <a:lnTo>
                    <a:pt x="154" y="1280"/>
                  </a:lnTo>
                  <a:lnTo>
                    <a:pt x="147" y="1277"/>
                  </a:lnTo>
                  <a:lnTo>
                    <a:pt x="138" y="1275"/>
                  </a:lnTo>
                  <a:lnTo>
                    <a:pt x="128" y="1272"/>
                  </a:lnTo>
                  <a:lnTo>
                    <a:pt x="110" y="1258"/>
                  </a:lnTo>
                  <a:lnTo>
                    <a:pt x="93" y="1245"/>
                  </a:lnTo>
                  <a:lnTo>
                    <a:pt x="83" y="1238"/>
                  </a:lnTo>
                  <a:lnTo>
                    <a:pt x="78" y="1230"/>
                  </a:lnTo>
                  <a:lnTo>
                    <a:pt x="78" y="1225"/>
                  </a:lnTo>
                  <a:lnTo>
                    <a:pt x="78" y="1221"/>
                  </a:lnTo>
                  <a:lnTo>
                    <a:pt x="78" y="1216"/>
                  </a:lnTo>
                  <a:lnTo>
                    <a:pt x="81" y="1213"/>
                  </a:lnTo>
                  <a:lnTo>
                    <a:pt x="88" y="1193"/>
                  </a:lnTo>
                  <a:lnTo>
                    <a:pt x="96" y="1173"/>
                  </a:lnTo>
                  <a:lnTo>
                    <a:pt x="105" y="1157"/>
                  </a:lnTo>
                  <a:lnTo>
                    <a:pt x="115" y="1142"/>
                  </a:lnTo>
                  <a:lnTo>
                    <a:pt x="123" y="1127"/>
                  </a:lnTo>
                  <a:lnTo>
                    <a:pt x="132" y="1112"/>
                  </a:lnTo>
                  <a:lnTo>
                    <a:pt x="135" y="1107"/>
                  </a:lnTo>
                  <a:lnTo>
                    <a:pt x="137" y="1102"/>
                  </a:lnTo>
                  <a:lnTo>
                    <a:pt x="137" y="1098"/>
                  </a:lnTo>
                  <a:lnTo>
                    <a:pt x="137" y="1095"/>
                  </a:lnTo>
                  <a:lnTo>
                    <a:pt x="133" y="1090"/>
                  </a:lnTo>
                  <a:lnTo>
                    <a:pt x="127" y="1085"/>
                  </a:lnTo>
                  <a:lnTo>
                    <a:pt x="113" y="1080"/>
                  </a:lnTo>
                  <a:lnTo>
                    <a:pt x="100" y="1073"/>
                  </a:lnTo>
                  <a:lnTo>
                    <a:pt x="90" y="1066"/>
                  </a:lnTo>
                  <a:lnTo>
                    <a:pt x="81" y="1056"/>
                  </a:lnTo>
                  <a:lnTo>
                    <a:pt x="68" y="1048"/>
                  </a:lnTo>
                  <a:lnTo>
                    <a:pt x="56" y="1040"/>
                  </a:lnTo>
                  <a:lnTo>
                    <a:pt x="48" y="1031"/>
                  </a:lnTo>
                  <a:lnTo>
                    <a:pt x="42" y="1023"/>
                  </a:lnTo>
                  <a:lnTo>
                    <a:pt x="39" y="1016"/>
                  </a:lnTo>
                  <a:lnTo>
                    <a:pt x="37" y="1008"/>
                  </a:lnTo>
                  <a:lnTo>
                    <a:pt x="41" y="999"/>
                  </a:lnTo>
                  <a:lnTo>
                    <a:pt x="48" y="991"/>
                  </a:lnTo>
                  <a:lnTo>
                    <a:pt x="66" y="969"/>
                  </a:lnTo>
                  <a:lnTo>
                    <a:pt x="85" y="945"/>
                  </a:lnTo>
                  <a:lnTo>
                    <a:pt x="90" y="930"/>
                  </a:lnTo>
                  <a:lnTo>
                    <a:pt x="96" y="920"/>
                  </a:lnTo>
                  <a:lnTo>
                    <a:pt x="100" y="917"/>
                  </a:lnTo>
                  <a:lnTo>
                    <a:pt x="105" y="913"/>
                  </a:lnTo>
                  <a:lnTo>
                    <a:pt x="108" y="912"/>
                  </a:lnTo>
                  <a:lnTo>
                    <a:pt x="113" y="910"/>
                  </a:lnTo>
                  <a:lnTo>
                    <a:pt x="113" y="896"/>
                  </a:lnTo>
                  <a:lnTo>
                    <a:pt x="113" y="885"/>
                  </a:lnTo>
                  <a:lnTo>
                    <a:pt x="112" y="871"/>
                  </a:lnTo>
                  <a:lnTo>
                    <a:pt x="112" y="858"/>
                  </a:lnTo>
                  <a:lnTo>
                    <a:pt x="100" y="837"/>
                  </a:lnTo>
                  <a:lnTo>
                    <a:pt x="88" y="816"/>
                  </a:lnTo>
                  <a:lnTo>
                    <a:pt x="73" y="800"/>
                  </a:lnTo>
                  <a:lnTo>
                    <a:pt x="56" y="787"/>
                  </a:lnTo>
                  <a:lnTo>
                    <a:pt x="41" y="772"/>
                  </a:lnTo>
                  <a:lnTo>
                    <a:pt x="26" y="757"/>
                  </a:lnTo>
                  <a:lnTo>
                    <a:pt x="14" y="745"/>
                  </a:lnTo>
                  <a:lnTo>
                    <a:pt x="7" y="733"/>
                  </a:lnTo>
                  <a:lnTo>
                    <a:pt x="5" y="728"/>
                  </a:lnTo>
                  <a:lnTo>
                    <a:pt x="5" y="721"/>
                  </a:lnTo>
                  <a:lnTo>
                    <a:pt x="5" y="716"/>
                  </a:lnTo>
                  <a:lnTo>
                    <a:pt x="7" y="709"/>
                  </a:lnTo>
                  <a:lnTo>
                    <a:pt x="7" y="699"/>
                  </a:lnTo>
                  <a:lnTo>
                    <a:pt x="7" y="689"/>
                  </a:lnTo>
                  <a:lnTo>
                    <a:pt x="4" y="679"/>
                  </a:lnTo>
                  <a:lnTo>
                    <a:pt x="0" y="669"/>
                  </a:lnTo>
                  <a:lnTo>
                    <a:pt x="0" y="651"/>
                  </a:lnTo>
                  <a:lnTo>
                    <a:pt x="2" y="634"/>
                  </a:lnTo>
                  <a:lnTo>
                    <a:pt x="5" y="622"/>
                  </a:lnTo>
                  <a:lnTo>
                    <a:pt x="11" y="610"/>
                  </a:lnTo>
                  <a:lnTo>
                    <a:pt x="17" y="602"/>
                  </a:lnTo>
                  <a:lnTo>
                    <a:pt x="24" y="595"/>
                  </a:lnTo>
                  <a:lnTo>
                    <a:pt x="32" y="590"/>
                  </a:lnTo>
                  <a:lnTo>
                    <a:pt x="42" y="587"/>
                  </a:lnTo>
                  <a:lnTo>
                    <a:pt x="61" y="593"/>
                  </a:lnTo>
                  <a:lnTo>
                    <a:pt x="78" y="600"/>
                  </a:lnTo>
                  <a:lnTo>
                    <a:pt x="80" y="597"/>
                  </a:lnTo>
                  <a:lnTo>
                    <a:pt x="80" y="592"/>
                  </a:lnTo>
                  <a:lnTo>
                    <a:pt x="78" y="588"/>
                  </a:lnTo>
                  <a:lnTo>
                    <a:pt x="76" y="585"/>
                  </a:lnTo>
                  <a:lnTo>
                    <a:pt x="66" y="576"/>
                  </a:lnTo>
                  <a:lnTo>
                    <a:pt x="54" y="568"/>
                  </a:lnTo>
                  <a:lnTo>
                    <a:pt x="56" y="551"/>
                  </a:lnTo>
                  <a:lnTo>
                    <a:pt x="59" y="536"/>
                  </a:lnTo>
                  <a:lnTo>
                    <a:pt x="63" y="531"/>
                  </a:lnTo>
                  <a:lnTo>
                    <a:pt x="68" y="526"/>
                  </a:lnTo>
                  <a:lnTo>
                    <a:pt x="73" y="523"/>
                  </a:lnTo>
                  <a:lnTo>
                    <a:pt x="78" y="519"/>
                  </a:lnTo>
                  <a:lnTo>
                    <a:pt x="83" y="507"/>
                  </a:lnTo>
                  <a:lnTo>
                    <a:pt x="88" y="497"/>
                  </a:lnTo>
                  <a:lnTo>
                    <a:pt x="93" y="489"/>
                  </a:lnTo>
                  <a:lnTo>
                    <a:pt x="100" y="482"/>
                  </a:lnTo>
                  <a:lnTo>
                    <a:pt x="105" y="477"/>
                  </a:lnTo>
                  <a:lnTo>
                    <a:pt x="112" y="472"/>
                  </a:lnTo>
                  <a:lnTo>
                    <a:pt x="118" y="470"/>
                  </a:lnTo>
                  <a:lnTo>
                    <a:pt x="127" y="469"/>
                  </a:lnTo>
                  <a:lnTo>
                    <a:pt x="145" y="472"/>
                  </a:lnTo>
                  <a:lnTo>
                    <a:pt x="165" y="470"/>
                  </a:lnTo>
                  <a:lnTo>
                    <a:pt x="175" y="470"/>
                  </a:lnTo>
                  <a:lnTo>
                    <a:pt x="184" y="467"/>
                  </a:lnTo>
                  <a:lnTo>
                    <a:pt x="194" y="464"/>
                  </a:lnTo>
                  <a:lnTo>
                    <a:pt x="202" y="460"/>
                  </a:lnTo>
                  <a:lnTo>
                    <a:pt x="216" y="454"/>
                  </a:lnTo>
                  <a:lnTo>
                    <a:pt x="229" y="448"/>
                  </a:lnTo>
                  <a:lnTo>
                    <a:pt x="236" y="448"/>
                  </a:lnTo>
                  <a:lnTo>
                    <a:pt x="244" y="448"/>
                  </a:lnTo>
                  <a:lnTo>
                    <a:pt x="253" y="450"/>
                  </a:lnTo>
                  <a:lnTo>
                    <a:pt x="263" y="454"/>
                  </a:lnTo>
                  <a:lnTo>
                    <a:pt x="276" y="450"/>
                  </a:lnTo>
                  <a:lnTo>
                    <a:pt x="290" y="447"/>
                  </a:lnTo>
                  <a:lnTo>
                    <a:pt x="305" y="445"/>
                  </a:lnTo>
                  <a:lnTo>
                    <a:pt x="319" y="442"/>
                  </a:lnTo>
                  <a:lnTo>
                    <a:pt x="344" y="448"/>
                  </a:lnTo>
                  <a:lnTo>
                    <a:pt x="366" y="452"/>
                  </a:lnTo>
                  <a:lnTo>
                    <a:pt x="383" y="452"/>
                  </a:lnTo>
                  <a:lnTo>
                    <a:pt x="396" y="450"/>
                  </a:lnTo>
                  <a:lnTo>
                    <a:pt x="418" y="440"/>
                  </a:lnTo>
                  <a:lnTo>
                    <a:pt x="438" y="432"/>
                  </a:lnTo>
                  <a:lnTo>
                    <a:pt x="443" y="427"/>
                  </a:lnTo>
                  <a:lnTo>
                    <a:pt x="450" y="422"/>
                  </a:lnTo>
                  <a:lnTo>
                    <a:pt x="457" y="418"/>
                  </a:lnTo>
                  <a:lnTo>
                    <a:pt x="463" y="416"/>
                  </a:lnTo>
                  <a:lnTo>
                    <a:pt x="470" y="415"/>
                  </a:lnTo>
                  <a:lnTo>
                    <a:pt x="478" y="416"/>
                  </a:lnTo>
                  <a:lnTo>
                    <a:pt x="485" y="418"/>
                  </a:lnTo>
                  <a:lnTo>
                    <a:pt x="494" y="422"/>
                  </a:lnTo>
                  <a:lnTo>
                    <a:pt x="512" y="422"/>
                  </a:lnTo>
                  <a:lnTo>
                    <a:pt x="531" y="425"/>
                  </a:lnTo>
                  <a:lnTo>
                    <a:pt x="541" y="427"/>
                  </a:lnTo>
                  <a:lnTo>
                    <a:pt x="547" y="430"/>
                  </a:lnTo>
                  <a:lnTo>
                    <a:pt x="556" y="433"/>
                  </a:lnTo>
                  <a:lnTo>
                    <a:pt x="563" y="438"/>
                  </a:lnTo>
                  <a:lnTo>
                    <a:pt x="569" y="445"/>
                  </a:lnTo>
                  <a:lnTo>
                    <a:pt x="576" y="448"/>
                  </a:lnTo>
                  <a:lnTo>
                    <a:pt x="583" y="452"/>
                  </a:lnTo>
                  <a:lnTo>
                    <a:pt x="588" y="454"/>
                  </a:lnTo>
                  <a:lnTo>
                    <a:pt x="593" y="454"/>
                  </a:lnTo>
                  <a:lnTo>
                    <a:pt x="598" y="450"/>
                  </a:lnTo>
                  <a:lnTo>
                    <a:pt x="601" y="445"/>
                  </a:lnTo>
                  <a:lnTo>
                    <a:pt x="605" y="437"/>
                  </a:lnTo>
                  <a:lnTo>
                    <a:pt x="603" y="423"/>
                  </a:lnTo>
                  <a:lnTo>
                    <a:pt x="603" y="411"/>
                  </a:lnTo>
                  <a:lnTo>
                    <a:pt x="603" y="401"/>
                  </a:lnTo>
                  <a:lnTo>
                    <a:pt x="605" y="393"/>
                  </a:lnTo>
                  <a:lnTo>
                    <a:pt x="608" y="384"/>
                  </a:lnTo>
                  <a:lnTo>
                    <a:pt x="611" y="379"/>
                  </a:lnTo>
                  <a:lnTo>
                    <a:pt x="618" y="376"/>
                  </a:lnTo>
                  <a:lnTo>
                    <a:pt x="625" y="373"/>
                  </a:lnTo>
                  <a:lnTo>
                    <a:pt x="622" y="354"/>
                  </a:lnTo>
                  <a:lnTo>
                    <a:pt x="618" y="336"/>
                  </a:lnTo>
                  <a:lnTo>
                    <a:pt x="613" y="322"/>
                  </a:lnTo>
                  <a:lnTo>
                    <a:pt x="610" y="312"/>
                  </a:lnTo>
                  <a:lnTo>
                    <a:pt x="610" y="304"/>
                  </a:lnTo>
                  <a:lnTo>
                    <a:pt x="611" y="299"/>
                  </a:lnTo>
                  <a:lnTo>
                    <a:pt x="615" y="295"/>
                  </a:lnTo>
                  <a:lnTo>
                    <a:pt x="620" y="294"/>
                  </a:lnTo>
                  <a:lnTo>
                    <a:pt x="627" y="294"/>
                  </a:lnTo>
                  <a:lnTo>
                    <a:pt x="633" y="297"/>
                  </a:lnTo>
                  <a:lnTo>
                    <a:pt x="627" y="277"/>
                  </a:lnTo>
                  <a:lnTo>
                    <a:pt x="618" y="256"/>
                  </a:lnTo>
                  <a:lnTo>
                    <a:pt x="611" y="245"/>
                  </a:lnTo>
                  <a:lnTo>
                    <a:pt x="608" y="233"/>
                  </a:lnTo>
                  <a:lnTo>
                    <a:pt x="605" y="224"/>
                  </a:lnTo>
                  <a:lnTo>
                    <a:pt x="605" y="214"/>
                  </a:lnTo>
                  <a:lnTo>
                    <a:pt x="606" y="208"/>
                  </a:lnTo>
                  <a:lnTo>
                    <a:pt x="608" y="201"/>
                  </a:lnTo>
                  <a:lnTo>
                    <a:pt x="613" y="196"/>
                  </a:lnTo>
                  <a:lnTo>
                    <a:pt x="618" y="191"/>
                  </a:lnTo>
                  <a:lnTo>
                    <a:pt x="628" y="179"/>
                  </a:lnTo>
                  <a:lnTo>
                    <a:pt x="638" y="167"/>
                  </a:lnTo>
                  <a:lnTo>
                    <a:pt x="625" y="149"/>
                  </a:lnTo>
                  <a:lnTo>
                    <a:pt x="613" y="130"/>
                  </a:lnTo>
                  <a:lnTo>
                    <a:pt x="610" y="128"/>
                  </a:lnTo>
                  <a:lnTo>
                    <a:pt x="608" y="125"/>
                  </a:lnTo>
                  <a:lnTo>
                    <a:pt x="606" y="118"/>
                  </a:lnTo>
                  <a:lnTo>
                    <a:pt x="606" y="112"/>
                  </a:lnTo>
                  <a:lnTo>
                    <a:pt x="606" y="105"/>
                  </a:lnTo>
                  <a:lnTo>
                    <a:pt x="606" y="95"/>
                  </a:lnTo>
                  <a:lnTo>
                    <a:pt x="603" y="85"/>
                  </a:lnTo>
                  <a:lnTo>
                    <a:pt x="600" y="75"/>
                  </a:lnTo>
                  <a:lnTo>
                    <a:pt x="598" y="66"/>
                  </a:lnTo>
                  <a:lnTo>
                    <a:pt x="595" y="59"/>
                  </a:lnTo>
                  <a:lnTo>
                    <a:pt x="593" y="51"/>
                  </a:lnTo>
                  <a:lnTo>
                    <a:pt x="593" y="44"/>
                  </a:lnTo>
                  <a:lnTo>
                    <a:pt x="595" y="38"/>
                  </a:lnTo>
                  <a:lnTo>
                    <a:pt x="600" y="32"/>
                  </a:lnTo>
                  <a:lnTo>
                    <a:pt x="606" y="29"/>
                  </a:lnTo>
                  <a:lnTo>
                    <a:pt x="618" y="27"/>
                  </a:lnTo>
                  <a:lnTo>
                    <a:pt x="632" y="19"/>
                  </a:lnTo>
                  <a:lnTo>
                    <a:pt x="637" y="17"/>
                  </a:lnTo>
                  <a:lnTo>
                    <a:pt x="640" y="21"/>
                  </a:lnTo>
                  <a:lnTo>
                    <a:pt x="648" y="29"/>
                  </a:lnTo>
                  <a:lnTo>
                    <a:pt x="655" y="32"/>
                  </a:lnTo>
                  <a:lnTo>
                    <a:pt x="662" y="34"/>
                  </a:lnTo>
                  <a:lnTo>
                    <a:pt x="670" y="32"/>
                  </a:lnTo>
                  <a:lnTo>
                    <a:pt x="677" y="29"/>
                  </a:lnTo>
                  <a:lnTo>
                    <a:pt x="697" y="21"/>
                  </a:lnTo>
                  <a:lnTo>
                    <a:pt x="717" y="12"/>
                  </a:lnTo>
                  <a:lnTo>
                    <a:pt x="724" y="19"/>
                  </a:lnTo>
                  <a:lnTo>
                    <a:pt x="731" y="24"/>
                  </a:lnTo>
                  <a:lnTo>
                    <a:pt x="738" y="27"/>
                  </a:lnTo>
                  <a:lnTo>
                    <a:pt x="746" y="29"/>
                  </a:lnTo>
                  <a:lnTo>
                    <a:pt x="755" y="29"/>
                  </a:lnTo>
                  <a:lnTo>
                    <a:pt x="763" y="26"/>
                  </a:lnTo>
                  <a:lnTo>
                    <a:pt x="773" y="22"/>
                  </a:lnTo>
                  <a:lnTo>
                    <a:pt x="783" y="14"/>
                  </a:lnTo>
                  <a:lnTo>
                    <a:pt x="785" y="9"/>
                  </a:lnTo>
                  <a:lnTo>
                    <a:pt x="787" y="4"/>
                  </a:lnTo>
                  <a:lnTo>
                    <a:pt x="790" y="2"/>
                  </a:lnTo>
                  <a:lnTo>
                    <a:pt x="793" y="0"/>
                  </a:lnTo>
                  <a:lnTo>
                    <a:pt x="797" y="0"/>
                  </a:lnTo>
                  <a:lnTo>
                    <a:pt x="800" y="2"/>
                  </a:lnTo>
                  <a:lnTo>
                    <a:pt x="805" y="6"/>
                  </a:lnTo>
                  <a:lnTo>
                    <a:pt x="812" y="11"/>
                  </a:lnTo>
                  <a:lnTo>
                    <a:pt x="810" y="16"/>
                  </a:lnTo>
                  <a:lnTo>
                    <a:pt x="810" y="21"/>
                  </a:lnTo>
                  <a:lnTo>
                    <a:pt x="810" y="26"/>
                  </a:lnTo>
                  <a:lnTo>
                    <a:pt x="812" y="29"/>
                  </a:lnTo>
                  <a:lnTo>
                    <a:pt x="815" y="31"/>
                  </a:lnTo>
                  <a:lnTo>
                    <a:pt x="818" y="32"/>
                  </a:lnTo>
                  <a:lnTo>
                    <a:pt x="822" y="34"/>
                  </a:lnTo>
                  <a:lnTo>
                    <a:pt x="827" y="34"/>
                  </a:lnTo>
                  <a:lnTo>
                    <a:pt x="830" y="41"/>
                  </a:lnTo>
                  <a:lnTo>
                    <a:pt x="835" y="48"/>
                  </a:lnTo>
                  <a:lnTo>
                    <a:pt x="840" y="53"/>
                  </a:lnTo>
                  <a:lnTo>
                    <a:pt x="847" y="58"/>
                  </a:lnTo>
                  <a:lnTo>
                    <a:pt x="854" y="59"/>
                  </a:lnTo>
                  <a:lnTo>
                    <a:pt x="862" y="63"/>
                  </a:lnTo>
                  <a:lnTo>
                    <a:pt x="872" y="63"/>
                  </a:lnTo>
                  <a:lnTo>
                    <a:pt x="881" y="63"/>
                  </a:lnTo>
                  <a:lnTo>
                    <a:pt x="911" y="59"/>
                  </a:lnTo>
                  <a:lnTo>
                    <a:pt x="941" y="59"/>
                  </a:lnTo>
                  <a:lnTo>
                    <a:pt x="957" y="59"/>
                  </a:lnTo>
                  <a:lnTo>
                    <a:pt x="972" y="61"/>
                  </a:lnTo>
                  <a:lnTo>
                    <a:pt x="988" y="64"/>
                  </a:lnTo>
                  <a:lnTo>
                    <a:pt x="1004" y="68"/>
                  </a:lnTo>
                  <a:lnTo>
                    <a:pt x="1010" y="73"/>
                  </a:lnTo>
                  <a:lnTo>
                    <a:pt x="1017" y="78"/>
                  </a:lnTo>
                  <a:lnTo>
                    <a:pt x="1026" y="81"/>
                  </a:lnTo>
                  <a:lnTo>
                    <a:pt x="1034" y="83"/>
                  </a:lnTo>
                  <a:lnTo>
                    <a:pt x="1042" y="85"/>
                  </a:lnTo>
                  <a:lnTo>
                    <a:pt x="1054" y="86"/>
                  </a:lnTo>
                  <a:lnTo>
                    <a:pt x="1064" y="86"/>
                  </a:lnTo>
                  <a:lnTo>
                    <a:pt x="1078" y="85"/>
                  </a:lnTo>
                  <a:lnTo>
                    <a:pt x="1086" y="83"/>
                  </a:lnTo>
                  <a:lnTo>
                    <a:pt x="1093" y="81"/>
                  </a:lnTo>
                  <a:lnTo>
                    <a:pt x="1096" y="83"/>
                  </a:lnTo>
                  <a:lnTo>
                    <a:pt x="1098" y="85"/>
                  </a:lnTo>
                  <a:lnTo>
                    <a:pt x="1100" y="86"/>
                  </a:lnTo>
                  <a:lnTo>
                    <a:pt x="1100" y="90"/>
                  </a:lnTo>
                  <a:lnTo>
                    <a:pt x="1103" y="95"/>
                  </a:lnTo>
                  <a:lnTo>
                    <a:pt x="1106" y="96"/>
                  </a:lnTo>
                  <a:lnTo>
                    <a:pt x="1110" y="98"/>
                  </a:lnTo>
                  <a:lnTo>
                    <a:pt x="1113" y="98"/>
                  </a:lnTo>
                  <a:lnTo>
                    <a:pt x="1121" y="95"/>
                  </a:lnTo>
                  <a:lnTo>
                    <a:pt x="1128" y="90"/>
                  </a:lnTo>
                  <a:lnTo>
                    <a:pt x="1140" y="80"/>
                  </a:lnTo>
                  <a:lnTo>
                    <a:pt x="1153" y="68"/>
                  </a:lnTo>
                  <a:lnTo>
                    <a:pt x="1160" y="80"/>
                  </a:lnTo>
                  <a:lnTo>
                    <a:pt x="1169" y="93"/>
                  </a:lnTo>
                  <a:lnTo>
                    <a:pt x="1175" y="102"/>
                  </a:lnTo>
                  <a:lnTo>
                    <a:pt x="1179" y="110"/>
                  </a:lnTo>
                  <a:lnTo>
                    <a:pt x="1180" y="118"/>
                  </a:lnTo>
                  <a:lnTo>
                    <a:pt x="1180" y="128"/>
                  </a:lnTo>
                  <a:lnTo>
                    <a:pt x="1177" y="139"/>
                  </a:lnTo>
                  <a:lnTo>
                    <a:pt x="1174" y="147"/>
                  </a:lnTo>
                  <a:lnTo>
                    <a:pt x="1167" y="157"/>
                  </a:lnTo>
                  <a:lnTo>
                    <a:pt x="1159" y="167"/>
                  </a:lnTo>
                  <a:lnTo>
                    <a:pt x="1148" y="179"/>
                  </a:lnTo>
                  <a:lnTo>
                    <a:pt x="1140" y="187"/>
                  </a:lnTo>
                  <a:lnTo>
                    <a:pt x="1135" y="196"/>
                  </a:lnTo>
                  <a:lnTo>
                    <a:pt x="1133" y="203"/>
                  </a:lnTo>
                  <a:lnTo>
                    <a:pt x="1133" y="208"/>
                  </a:lnTo>
                  <a:lnTo>
                    <a:pt x="1137" y="211"/>
                  </a:lnTo>
                  <a:lnTo>
                    <a:pt x="1143" y="213"/>
                  </a:lnTo>
                  <a:lnTo>
                    <a:pt x="1152" y="213"/>
                  </a:lnTo>
                  <a:lnTo>
                    <a:pt x="1160" y="230"/>
                  </a:lnTo>
                  <a:lnTo>
                    <a:pt x="1170" y="246"/>
                  </a:lnTo>
                  <a:lnTo>
                    <a:pt x="1179" y="263"/>
                  </a:lnTo>
                  <a:lnTo>
                    <a:pt x="1187" y="278"/>
                  </a:lnTo>
                  <a:lnTo>
                    <a:pt x="1190" y="290"/>
                  </a:lnTo>
                  <a:lnTo>
                    <a:pt x="1192" y="299"/>
                  </a:lnTo>
                  <a:lnTo>
                    <a:pt x="1192" y="307"/>
                  </a:lnTo>
                  <a:lnTo>
                    <a:pt x="1190" y="314"/>
                  </a:lnTo>
                  <a:lnTo>
                    <a:pt x="1189" y="319"/>
                  </a:lnTo>
                  <a:lnTo>
                    <a:pt x="1184" y="324"/>
                  </a:lnTo>
                  <a:lnTo>
                    <a:pt x="1180" y="327"/>
                  </a:lnTo>
                  <a:lnTo>
                    <a:pt x="1175" y="331"/>
                  </a:lnTo>
                  <a:lnTo>
                    <a:pt x="1169" y="339"/>
                  </a:lnTo>
                  <a:lnTo>
                    <a:pt x="1164" y="347"/>
                  </a:lnTo>
                  <a:lnTo>
                    <a:pt x="1160" y="356"/>
                  </a:lnTo>
                  <a:lnTo>
                    <a:pt x="1157" y="364"/>
                  </a:lnTo>
                  <a:lnTo>
                    <a:pt x="1155" y="373"/>
                  </a:lnTo>
                  <a:lnTo>
                    <a:pt x="1155" y="381"/>
                  </a:lnTo>
                  <a:lnTo>
                    <a:pt x="1155" y="390"/>
                  </a:lnTo>
                  <a:lnTo>
                    <a:pt x="1155" y="398"/>
                  </a:lnTo>
                  <a:lnTo>
                    <a:pt x="1153" y="411"/>
                  </a:lnTo>
                  <a:lnTo>
                    <a:pt x="1152" y="422"/>
                  </a:lnTo>
                  <a:lnTo>
                    <a:pt x="1153" y="430"/>
                  </a:lnTo>
                  <a:lnTo>
                    <a:pt x="1159" y="435"/>
                  </a:lnTo>
                  <a:lnTo>
                    <a:pt x="1164" y="437"/>
                  </a:lnTo>
                  <a:lnTo>
                    <a:pt x="1170" y="438"/>
                  </a:lnTo>
                  <a:lnTo>
                    <a:pt x="1179" y="438"/>
                  </a:lnTo>
                  <a:lnTo>
                    <a:pt x="1187" y="438"/>
                  </a:lnTo>
                  <a:lnTo>
                    <a:pt x="1202" y="435"/>
                  </a:lnTo>
                  <a:lnTo>
                    <a:pt x="1216" y="433"/>
                  </a:lnTo>
                  <a:lnTo>
                    <a:pt x="1219" y="435"/>
                  </a:lnTo>
                  <a:lnTo>
                    <a:pt x="1221" y="437"/>
                  </a:lnTo>
                  <a:lnTo>
                    <a:pt x="1221" y="440"/>
                  </a:lnTo>
                  <a:lnTo>
                    <a:pt x="1217" y="445"/>
                  </a:lnTo>
                  <a:lnTo>
                    <a:pt x="1206" y="459"/>
                  </a:lnTo>
                  <a:lnTo>
                    <a:pt x="1197" y="470"/>
                  </a:lnTo>
                  <a:lnTo>
                    <a:pt x="1192" y="477"/>
                  </a:lnTo>
                  <a:lnTo>
                    <a:pt x="1190" y="482"/>
                  </a:lnTo>
                  <a:lnTo>
                    <a:pt x="1189" y="489"/>
                  </a:lnTo>
                  <a:lnTo>
                    <a:pt x="1189" y="496"/>
                  </a:lnTo>
                  <a:lnTo>
                    <a:pt x="1184" y="509"/>
                  </a:lnTo>
                  <a:lnTo>
                    <a:pt x="1180" y="521"/>
                  </a:lnTo>
                  <a:lnTo>
                    <a:pt x="1182" y="533"/>
                  </a:lnTo>
                  <a:lnTo>
                    <a:pt x="1184" y="543"/>
                  </a:lnTo>
                  <a:lnTo>
                    <a:pt x="1189" y="551"/>
                  </a:lnTo>
                  <a:lnTo>
                    <a:pt x="1194" y="560"/>
                  </a:lnTo>
                  <a:lnTo>
                    <a:pt x="1202" y="568"/>
                  </a:lnTo>
                  <a:lnTo>
                    <a:pt x="1209" y="576"/>
                  </a:lnTo>
                  <a:lnTo>
                    <a:pt x="1216" y="590"/>
                  </a:lnTo>
                  <a:lnTo>
                    <a:pt x="1222" y="602"/>
                  </a:lnTo>
                  <a:lnTo>
                    <a:pt x="1226" y="605"/>
                  </a:lnTo>
                  <a:lnTo>
                    <a:pt x="1231" y="608"/>
                  </a:lnTo>
                  <a:lnTo>
                    <a:pt x="1234" y="612"/>
                  </a:lnTo>
                  <a:lnTo>
                    <a:pt x="1241" y="612"/>
                  </a:lnTo>
                  <a:lnTo>
                    <a:pt x="1248" y="624"/>
                  </a:lnTo>
                  <a:lnTo>
                    <a:pt x="1256" y="632"/>
                  </a:lnTo>
                  <a:lnTo>
                    <a:pt x="1263" y="640"/>
                  </a:lnTo>
                  <a:lnTo>
                    <a:pt x="1271" y="647"/>
                  </a:lnTo>
                  <a:lnTo>
                    <a:pt x="1280" y="654"/>
                  </a:lnTo>
                  <a:lnTo>
                    <a:pt x="1290" y="657"/>
                  </a:lnTo>
                  <a:lnTo>
                    <a:pt x="1300" y="661"/>
                  </a:lnTo>
                  <a:lnTo>
                    <a:pt x="1310" y="664"/>
                  </a:lnTo>
                  <a:lnTo>
                    <a:pt x="1312" y="666"/>
                  </a:lnTo>
                  <a:lnTo>
                    <a:pt x="1315" y="669"/>
                  </a:lnTo>
                  <a:lnTo>
                    <a:pt x="1320" y="671"/>
                  </a:lnTo>
                  <a:lnTo>
                    <a:pt x="1323" y="671"/>
                  </a:lnTo>
                  <a:lnTo>
                    <a:pt x="1334" y="671"/>
                  </a:lnTo>
                  <a:lnTo>
                    <a:pt x="1345" y="666"/>
                  </a:lnTo>
                  <a:lnTo>
                    <a:pt x="1357" y="664"/>
                  </a:lnTo>
                  <a:lnTo>
                    <a:pt x="1364" y="664"/>
                  </a:lnTo>
                  <a:lnTo>
                    <a:pt x="1367" y="664"/>
                  </a:lnTo>
                  <a:lnTo>
                    <a:pt x="1369" y="666"/>
                  </a:lnTo>
                  <a:lnTo>
                    <a:pt x="1369" y="667"/>
                  </a:lnTo>
                  <a:lnTo>
                    <a:pt x="1371" y="669"/>
                  </a:lnTo>
                  <a:lnTo>
                    <a:pt x="1384" y="681"/>
                  </a:lnTo>
                  <a:lnTo>
                    <a:pt x="1399" y="691"/>
                  </a:lnTo>
                  <a:lnTo>
                    <a:pt x="1413" y="698"/>
                  </a:lnTo>
                  <a:lnTo>
                    <a:pt x="1426" y="701"/>
                  </a:lnTo>
                  <a:lnTo>
                    <a:pt x="1438" y="704"/>
                  </a:lnTo>
                  <a:lnTo>
                    <a:pt x="1451" y="704"/>
                  </a:lnTo>
                  <a:lnTo>
                    <a:pt x="1463" y="703"/>
                  </a:lnTo>
                  <a:lnTo>
                    <a:pt x="1475" y="701"/>
                  </a:lnTo>
                  <a:lnTo>
                    <a:pt x="1482" y="698"/>
                  </a:lnTo>
                  <a:lnTo>
                    <a:pt x="1488" y="698"/>
                  </a:lnTo>
                  <a:lnTo>
                    <a:pt x="1495" y="699"/>
                  </a:lnTo>
                  <a:lnTo>
                    <a:pt x="1500" y="703"/>
                  </a:lnTo>
                  <a:lnTo>
                    <a:pt x="1504" y="708"/>
                  </a:lnTo>
                  <a:lnTo>
                    <a:pt x="1507" y="716"/>
                  </a:lnTo>
                  <a:lnTo>
                    <a:pt x="1509" y="725"/>
                  </a:lnTo>
                  <a:lnTo>
                    <a:pt x="1509" y="736"/>
                  </a:lnTo>
                  <a:lnTo>
                    <a:pt x="1536" y="758"/>
                  </a:lnTo>
                  <a:lnTo>
                    <a:pt x="1562" y="780"/>
                  </a:lnTo>
                  <a:lnTo>
                    <a:pt x="1588" y="800"/>
                  </a:lnTo>
                  <a:lnTo>
                    <a:pt x="1615" y="822"/>
                  </a:lnTo>
                  <a:lnTo>
                    <a:pt x="1615" y="824"/>
                  </a:lnTo>
                  <a:lnTo>
                    <a:pt x="1615" y="827"/>
                  </a:lnTo>
                  <a:lnTo>
                    <a:pt x="1600" y="837"/>
                  </a:lnTo>
                  <a:lnTo>
                    <a:pt x="1586" y="844"/>
                  </a:lnTo>
                  <a:lnTo>
                    <a:pt x="1573" y="848"/>
                  </a:lnTo>
                  <a:lnTo>
                    <a:pt x="1559" y="849"/>
                  </a:lnTo>
                  <a:lnTo>
                    <a:pt x="1554" y="854"/>
                  </a:lnTo>
                  <a:lnTo>
                    <a:pt x="1551" y="859"/>
                  </a:lnTo>
                  <a:lnTo>
                    <a:pt x="1549" y="864"/>
                  </a:lnTo>
                  <a:lnTo>
                    <a:pt x="1549" y="868"/>
                  </a:lnTo>
                  <a:lnTo>
                    <a:pt x="1551" y="871"/>
                  </a:lnTo>
                  <a:lnTo>
                    <a:pt x="1554" y="875"/>
                  </a:lnTo>
                  <a:lnTo>
                    <a:pt x="1561" y="878"/>
                  </a:lnTo>
                  <a:lnTo>
                    <a:pt x="1568" y="880"/>
                  </a:lnTo>
                  <a:lnTo>
                    <a:pt x="1578" y="883"/>
                  </a:lnTo>
                  <a:lnTo>
                    <a:pt x="1588" y="886"/>
                  </a:lnTo>
                  <a:lnTo>
                    <a:pt x="1596" y="888"/>
                  </a:lnTo>
                  <a:lnTo>
                    <a:pt x="1601" y="890"/>
                  </a:lnTo>
                  <a:lnTo>
                    <a:pt x="1603" y="893"/>
                  </a:lnTo>
                  <a:lnTo>
                    <a:pt x="1603" y="895"/>
                  </a:lnTo>
                  <a:lnTo>
                    <a:pt x="1601" y="896"/>
                  </a:lnTo>
                  <a:lnTo>
                    <a:pt x="1596" y="900"/>
                  </a:lnTo>
                  <a:lnTo>
                    <a:pt x="1588" y="903"/>
                  </a:lnTo>
                  <a:lnTo>
                    <a:pt x="1578" y="905"/>
                  </a:lnTo>
                  <a:lnTo>
                    <a:pt x="1568" y="905"/>
                  </a:lnTo>
                  <a:lnTo>
                    <a:pt x="1556" y="905"/>
                  </a:lnTo>
                  <a:lnTo>
                    <a:pt x="1546" y="907"/>
                  </a:lnTo>
                  <a:lnTo>
                    <a:pt x="1534" y="912"/>
                  </a:lnTo>
                  <a:lnTo>
                    <a:pt x="1524" y="915"/>
                  </a:lnTo>
                  <a:lnTo>
                    <a:pt x="1514" y="918"/>
                  </a:lnTo>
                  <a:lnTo>
                    <a:pt x="1493" y="920"/>
                  </a:lnTo>
                  <a:lnTo>
                    <a:pt x="1473" y="922"/>
                  </a:lnTo>
                  <a:lnTo>
                    <a:pt x="1467" y="922"/>
                  </a:lnTo>
                  <a:lnTo>
                    <a:pt x="1461" y="923"/>
                  </a:lnTo>
                  <a:lnTo>
                    <a:pt x="1455" y="925"/>
                  </a:lnTo>
                  <a:lnTo>
                    <a:pt x="1448" y="930"/>
                  </a:lnTo>
                  <a:lnTo>
                    <a:pt x="1431" y="942"/>
                  </a:lnTo>
                  <a:lnTo>
                    <a:pt x="1413" y="954"/>
                  </a:lnTo>
                  <a:lnTo>
                    <a:pt x="1394" y="965"/>
                  </a:lnTo>
                  <a:lnTo>
                    <a:pt x="1377" y="976"/>
                  </a:lnTo>
                  <a:lnTo>
                    <a:pt x="1381" y="987"/>
                  </a:lnTo>
                  <a:lnTo>
                    <a:pt x="1382" y="997"/>
                  </a:lnTo>
                  <a:lnTo>
                    <a:pt x="1382" y="1006"/>
                  </a:lnTo>
                  <a:lnTo>
                    <a:pt x="1381" y="1014"/>
                  </a:lnTo>
                  <a:lnTo>
                    <a:pt x="1379" y="1021"/>
                  </a:lnTo>
                  <a:lnTo>
                    <a:pt x="1376" y="1028"/>
                  </a:lnTo>
                  <a:lnTo>
                    <a:pt x="1372" y="1033"/>
                  </a:lnTo>
                  <a:lnTo>
                    <a:pt x="1367" y="1038"/>
                  </a:lnTo>
                  <a:lnTo>
                    <a:pt x="1357" y="1046"/>
                  </a:lnTo>
                  <a:lnTo>
                    <a:pt x="1344" y="1055"/>
                  </a:lnTo>
                  <a:lnTo>
                    <a:pt x="1330" y="1060"/>
                  </a:lnTo>
                  <a:lnTo>
                    <a:pt x="1315" y="1066"/>
                  </a:lnTo>
                  <a:lnTo>
                    <a:pt x="1307" y="1068"/>
                  </a:lnTo>
                  <a:lnTo>
                    <a:pt x="1298" y="1072"/>
                  </a:lnTo>
                  <a:lnTo>
                    <a:pt x="1291" y="1077"/>
                  </a:lnTo>
                  <a:lnTo>
                    <a:pt x="1283" y="1082"/>
                  </a:lnTo>
                  <a:lnTo>
                    <a:pt x="1271" y="1092"/>
                  </a:lnTo>
                  <a:lnTo>
                    <a:pt x="1260" y="1105"/>
                  </a:lnTo>
                  <a:lnTo>
                    <a:pt x="1253" y="1110"/>
                  </a:lnTo>
                  <a:lnTo>
                    <a:pt x="1246" y="1115"/>
                  </a:lnTo>
                  <a:lnTo>
                    <a:pt x="1238" y="1119"/>
                  </a:lnTo>
                  <a:lnTo>
                    <a:pt x="1231" y="1120"/>
                  </a:lnTo>
                  <a:lnTo>
                    <a:pt x="1214" y="1120"/>
                  </a:lnTo>
                  <a:lnTo>
                    <a:pt x="1199" y="1119"/>
                  </a:lnTo>
                  <a:lnTo>
                    <a:pt x="1187" y="1117"/>
                  </a:lnTo>
                  <a:lnTo>
                    <a:pt x="1179" y="1115"/>
                  </a:lnTo>
                  <a:lnTo>
                    <a:pt x="1170" y="1117"/>
                  </a:lnTo>
                  <a:lnTo>
                    <a:pt x="1165" y="1119"/>
                  </a:lnTo>
                  <a:lnTo>
                    <a:pt x="1159" y="1122"/>
                  </a:lnTo>
                  <a:lnTo>
                    <a:pt x="1155" y="1127"/>
                  </a:lnTo>
                  <a:lnTo>
                    <a:pt x="1150" y="1132"/>
                  </a:lnTo>
                  <a:lnTo>
                    <a:pt x="1147" y="1139"/>
                  </a:lnTo>
                  <a:lnTo>
                    <a:pt x="1142" y="1149"/>
                  </a:lnTo>
                  <a:lnTo>
                    <a:pt x="1137" y="1154"/>
                  </a:lnTo>
                  <a:lnTo>
                    <a:pt x="1130" y="1157"/>
                  </a:lnTo>
                  <a:lnTo>
                    <a:pt x="1125" y="1157"/>
                  </a:lnTo>
                  <a:lnTo>
                    <a:pt x="1120" y="1156"/>
                  </a:lnTo>
                  <a:lnTo>
                    <a:pt x="1113" y="1151"/>
                  </a:lnTo>
                  <a:lnTo>
                    <a:pt x="1108" y="1146"/>
                  </a:lnTo>
                  <a:lnTo>
                    <a:pt x="1103" y="1139"/>
                  </a:lnTo>
                  <a:lnTo>
                    <a:pt x="1089" y="1129"/>
                  </a:lnTo>
                  <a:lnTo>
                    <a:pt x="1079" y="1122"/>
                  </a:lnTo>
                  <a:lnTo>
                    <a:pt x="1074" y="1120"/>
                  </a:lnTo>
                  <a:lnTo>
                    <a:pt x="1069" y="1120"/>
                  </a:lnTo>
                  <a:lnTo>
                    <a:pt x="1066" y="1120"/>
                  </a:lnTo>
                  <a:lnTo>
                    <a:pt x="1063" y="1122"/>
                  </a:lnTo>
                  <a:lnTo>
                    <a:pt x="1054" y="1127"/>
                  </a:lnTo>
                  <a:lnTo>
                    <a:pt x="1049" y="1136"/>
                  </a:lnTo>
                  <a:lnTo>
                    <a:pt x="1044" y="1146"/>
                  </a:lnTo>
                  <a:lnTo>
                    <a:pt x="1039" y="1159"/>
                  </a:lnTo>
                  <a:lnTo>
                    <a:pt x="1031" y="1186"/>
                  </a:lnTo>
                  <a:lnTo>
                    <a:pt x="1020" y="1213"/>
                  </a:lnTo>
                  <a:lnTo>
                    <a:pt x="1012" y="1240"/>
                  </a:lnTo>
                  <a:lnTo>
                    <a:pt x="1002" y="1267"/>
                  </a:lnTo>
                  <a:lnTo>
                    <a:pt x="997" y="1280"/>
                  </a:lnTo>
                  <a:lnTo>
                    <a:pt x="990" y="1292"/>
                  </a:lnTo>
                  <a:lnTo>
                    <a:pt x="985" y="1296"/>
                  </a:lnTo>
                  <a:lnTo>
                    <a:pt x="980" y="1299"/>
                  </a:lnTo>
                  <a:lnTo>
                    <a:pt x="973" y="1301"/>
                  </a:lnTo>
                  <a:lnTo>
                    <a:pt x="967" y="1302"/>
                  </a:lnTo>
                  <a:lnTo>
                    <a:pt x="951" y="1307"/>
                  </a:lnTo>
                  <a:lnTo>
                    <a:pt x="941" y="1312"/>
                  </a:lnTo>
                  <a:lnTo>
                    <a:pt x="936" y="1317"/>
                  </a:lnTo>
                  <a:lnTo>
                    <a:pt x="933" y="1321"/>
                  </a:lnTo>
                  <a:lnTo>
                    <a:pt x="933" y="1324"/>
                  </a:lnTo>
                  <a:lnTo>
                    <a:pt x="936" y="1328"/>
                  </a:lnTo>
                  <a:lnTo>
                    <a:pt x="943" y="1329"/>
                  </a:lnTo>
                  <a:lnTo>
                    <a:pt x="955" y="1331"/>
                  </a:lnTo>
                  <a:lnTo>
                    <a:pt x="963" y="1334"/>
                  </a:lnTo>
                  <a:lnTo>
                    <a:pt x="972" y="1339"/>
                  </a:lnTo>
                  <a:lnTo>
                    <a:pt x="978" y="1344"/>
                  </a:lnTo>
                  <a:lnTo>
                    <a:pt x="982" y="1349"/>
                  </a:lnTo>
                  <a:lnTo>
                    <a:pt x="983" y="1358"/>
                  </a:lnTo>
                  <a:lnTo>
                    <a:pt x="983" y="1366"/>
                  </a:lnTo>
                  <a:lnTo>
                    <a:pt x="980" y="1378"/>
                  </a:lnTo>
                  <a:lnTo>
                    <a:pt x="975" y="1390"/>
                  </a:lnTo>
                  <a:lnTo>
                    <a:pt x="968" y="1407"/>
                  </a:lnTo>
                  <a:lnTo>
                    <a:pt x="960" y="1420"/>
                  </a:lnTo>
                  <a:lnTo>
                    <a:pt x="957" y="1425"/>
                  </a:lnTo>
                  <a:lnTo>
                    <a:pt x="951" y="1430"/>
                  </a:lnTo>
                  <a:lnTo>
                    <a:pt x="946" y="1435"/>
                  </a:lnTo>
                  <a:lnTo>
                    <a:pt x="941" y="1437"/>
                  </a:lnTo>
                  <a:lnTo>
                    <a:pt x="936" y="1439"/>
                  </a:lnTo>
                  <a:lnTo>
                    <a:pt x="931" y="1444"/>
                  </a:lnTo>
                  <a:lnTo>
                    <a:pt x="930" y="1450"/>
                  </a:lnTo>
                  <a:lnTo>
                    <a:pt x="928" y="1461"/>
                  </a:lnTo>
                  <a:lnTo>
                    <a:pt x="925" y="1466"/>
                  </a:lnTo>
                  <a:lnTo>
                    <a:pt x="925" y="1471"/>
                  </a:lnTo>
                  <a:lnTo>
                    <a:pt x="925" y="1474"/>
                  </a:lnTo>
                  <a:lnTo>
                    <a:pt x="925" y="1477"/>
                  </a:lnTo>
                  <a:lnTo>
                    <a:pt x="928" y="1477"/>
                  </a:lnTo>
                  <a:lnTo>
                    <a:pt x="931" y="1477"/>
                  </a:lnTo>
                  <a:lnTo>
                    <a:pt x="935" y="1476"/>
                  </a:lnTo>
                  <a:lnTo>
                    <a:pt x="941" y="1474"/>
                  </a:lnTo>
                  <a:lnTo>
                    <a:pt x="948" y="1471"/>
                  </a:lnTo>
                  <a:lnTo>
                    <a:pt x="953" y="1469"/>
                  </a:lnTo>
                  <a:lnTo>
                    <a:pt x="958" y="1469"/>
                  </a:lnTo>
                  <a:lnTo>
                    <a:pt x="962" y="1472"/>
                  </a:lnTo>
                  <a:lnTo>
                    <a:pt x="965" y="1477"/>
                  </a:lnTo>
                  <a:lnTo>
                    <a:pt x="965" y="1482"/>
                  </a:lnTo>
                  <a:lnTo>
                    <a:pt x="963" y="1489"/>
                  </a:lnTo>
                  <a:lnTo>
                    <a:pt x="962" y="1496"/>
                  </a:lnTo>
                  <a:lnTo>
                    <a:pt x="951" y="1513"/>
                  </a:lnTo>
                  <a:lnTo>
                    <a:pt x="943" y="1530"/>
                  </a:lnTo>
                  <a:lnTo>
                    <a:pt x="935" y="1545"/>
                  </a:lnTo>
                  <a:lnTo>
                    <a:pt x="925" y="1558"/>
                  </a:lnTo>
                  <a:lnTo>
                    <a:pt x="930" y="1575"/>
                  </a:lnTo>
                  <a:lnTo>
                    <a:pt x="931" y="1583"/>
                  </a:lnTo>
                  <a:lnTo>
                    <a:pt x="931" y="1594"/>
                  </a:lnTo>
                  <a:lnTo>
                    <a:pt x="930" y="1609"/>
                  </a:lnTo>
                </a:path>
              </a:pathLst>
            </a:custGeom>
            <a:solidFill>
              <a:srgbClr val="CCECFF"/>
            </a:solidFill>
            <a:ln w="12700" cap="flat" cmpd="sng">
              <a:solidFill>
                <a:schemeClr val="bg1"/>
              </a:solidFill>
              <a:prstDash val="dash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83614" name="Freeform 62"/>
            <p:cNvSpPr>
              <a:spLocks/>
            </p:cNvSpPr>
            <p:nvPr/>
          </p:nvSpPr>
          <p:spPr bwMode="auto">
            <a:xfrm>
              <a:off x="869" y="2366"/>
              <a:ext cx="464" cy="559"/>
            </a:xfrm>
            <a:custGeom>
              <a:avLst/>
              <a:gdLst>
                <a:gd name="T0" fmla="*/ 1 w 815"/>
                <a:gd name="T1" fmla="*/ 1 h 953"/>
                <a:gd name="T2" fmla="*/ 1 w 815"/>
                <a:gd name="T3" fmla="*/ 1 h 953"/>
                <a:gd name="T4" fmla="*/ 1 w 815"/>
                <a:gd name="T5" fmla="*/ 1 h 953"/>
                <a:gd name="T6" fmla="*/ 1 w 815"/>
                <a:gd name="T7" fmla="*/ 1 h 953"/>
                <a:gd name="T8" fmla="*/ 1 w 815"/>
                <a:gd name="T9" fmla="*/ 1 h 953"/>
                <a:gd name="T10" fmla="*/ 1 w 815"/>
                <a:gd name="T11" fmla="*/ 1 h 953"/>
                <a:gd name="T12" fmla="*/ 1 w 815"/>
                <a:gd name="T13" fmla="*/ 1 h 953"/>
                <a:gd name="T14" fmla="*/ 1 w 815"/>
                <a:gd name="T15" fmla="*/ 1 h 953"/>
                <a:gd name="T16" fmla="*/ 1 w 815"/>
                <a:gd name="T17" fmla="*/ 1 h 953"/>
                <a:gd name="T18" fmla="*/ 1 w 815"/>
                <a:gd name="T19" fmla="*/ 1 h 953"/>
                <a:gd name="T20" fmla="*/ 1 w 815"/>
                <a:gd name="T21" fmla="*/ 1 h 953"/>
                <a:gd name="T22" fmla="*/ 1 w 815"/>
                <a:gd name="T23" fmla="*/ 1 h 953"/>
                <a:gd name="T24" fmla="*/ 1 w 815"/>
                <a:gd name="T25" fmla="*/ 1 h 953"/>
                <a:gd name="T26" fmla="*/ 1 w 815"/>
                <a:gd name="T27" fmla="*/ 1 h 953"/>
                <a:gd name="T28" fmla="*/ 1 w 815"/>
                <a:gd name="T29" fmla="*/ 1 h 953"/>
                <a:gd name="T30" fmla="*/ 1 w 815"/>
                <a:gd name="T31" fmla="*/ 1 h 953"/>
                <a:gd name="T32" fmla="*/ 1 w 815"/>
                <a:gd name="T33" fmla="*/ 1 h 953"/>
                <a:gd name="T34" fmla="*/ 1 w 815"/>
                <a:gd name="T35" fmla="*/ 1 h 953"/>
                <a:gd name="T36" fmla="*/ 1 w 815"/>
                <a:gd name="T37" fmla="*/ 1 h 953"/>
                <a:gd name="T38" fmla="*/ 1 w 815"/>
                <a:gd name="T39" fmla="*/ 1 h 953"/>
                <a:gd name="T40" fmla="*/ 1 w 815"/>
                <a:gd name="T41" fmla="*/ 1 h 953"/>
                <a:gd name="T42" fmla="*/ 1 w 815"/>
                <a:gd name="T43" fmla="*/ 1 h 953"/>
                <a:gd name="T44" fmla="*/ 1 w 815"/>
                <a:gd name="T45" fmla="*/ 1 h 953"/>
                <a:gd name="T46" fmla="*/ 1 w 815"/>
                <a:gd name="T47" fmla="*/ 1 h 953"/>
                <a:gd name="T48" fmla="*/ 1 w 815"/>
                <a:gd name="T49" fmla="*/ 1 h 953"/>
                <a:gd name="T50" fmla="*/ 1 w 815"/>
                <a:gd name="T51" fmla="*/ 1 h 953"/>
                <a:gd name="T52" fmla="*/ 1 w 815"/>
                <a:gd name="T53" fmla="*/ 1 h 953"/>
                <a:gd name="T54" fmla="*/ 1 w 815"/>
                <a:gd name="T55" fmla="*/ 1 h 953"/>
                <a:gd name="T56" fmla="*/ 1 w 815"/>
                <a:gd name="T57" fmla="*/ 1 h 953"/>
                <a:gd name="T58" fmla="*/ 1 w 815"/>
                <a:gd name="T59" fmla="*/ 1 h 953"/>
                <a:gd name="T60" fmla="*/ 1 w 815"/>
                <a:gd name="T61" fmla="*/ 1 h 953"/>
                <a:gd name="T62" fmla="*/ 1 w 815"/>
                <a:gd name="T63" fmla="*/ 1 h 953"/>
                <a:gd name="T64" fmla="*/ 1 w 815"/>
                <a:gd name="T65" fmla="*/ 1 h 953"/>
                <a:gd name="T66" fmla="*/ 1 w 815"/>
                <a:gd name="T67" fmla="*/ 1 h 953"/>
                <a:gd name="T68" fmla="*/ 1 w 815"/>
                <a:gd name="T69" fmla="*/ 1 h 953"/>
                <a:gd name="T70" fmla="*/ 1 w 815"/>
                <a:gd name="T71" fmla="*/ 1 h 953"/>
                <a:gd name="T72" fmla="*/ 1 w 815"/>
                <a:gd name="T73" fmla="*/ 1 h 953"/>
                <a:gd name="T74" fmla="*/ 1 w 815"/>
                <a:gd name="T75" fmla="*/ 1 h 953"/>
                <a:gd name="T76" fmla="*/ 1 w 815"/>
                <a:gd name="T77" fmla="*/ 1 h 953"/>
                <a:gd name="T78" fmla="*/ 1 w 815"/>
                <a:gd name="T79" fmla="*/ 1 h 953"/>
                <a:gd name="T80" fmla="*/ 1 w 815"/>
                <a:gd name="T81" fmla="*/ 1 h 953"/>
                <a:gd name="T82" fmla="*/ 1 w 815"/>
                <a:gd name="T83" fmla="*/ 1 h 953"/>
                <a:gd name="T84" fmla="*/ 1 w 815"/>
                <a:gd name="T85" fmla="*/ 1 h 953"/>
                <a:gd name="T86" fmla="*/ 1 w 815"/>
                <a:gd name="T87" fmla="*/ 1 h 953"/>
                <a:gd name="T88" fmla="*/ 1 w 815"/>
                <a:gd name="T89" fmla="*/ 1 h 953"/>
                <a:gd name="T90" fmla="*/ 1 w 815"/>
                <a:gd name="T91" fmla="*/ 1 h 953"/>
                <a:gd name="T92" fmla="*/ 1 w 815"/>
                <a:gd name="T93" fmla="*/ 1 h 953"/>
                <a:gd name="T94" fmla="*/ 1 w 815"/>
                <a:gd name="T95" fmla="*/ 1 h 953"/>
                <a:gd name="T96" fmla="*/ 1 w 815"/>
                <a:gd name="T97" fmla="*/ 1 h 953"/>
                <a:gd name="T98" fmla="*/ 1 w 815"/>
                <a:gd name="T99" fmla="*/ 1 h 953"/>
                <a:gd name="T100" fmla="*/ 1 w 815"/>
                <a:gd name="T101" fmla="*/ 1 h 953"/>
                <a:gd name="T102" fmla="*/ 1 w 815"/>
                <a:gd name="T103" fmla="*/ 1 h 953"/>
                <a:gd name="T104" fmla="*/ 1 w 815"/>
                <a:gd name="T105" fmla="*/ 1 h 953"/>
                <a:gd name="T106" fmla="*/ 1 w 815"/>
                <a:gd name="T107" fmla="*/ 1 h 953"/>
                <a:gd name="T108" fmla="*/ 1 w 815"/>
                <a:gd name="T109" fmla="*/ 1 h 953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815"/>
                <a:gd name="T166" fmla="*/ 0 h 953"/>
                <a:gd name="T167" fmla="*/ 815 w 815"/>
                <a:gd name="T168" fmla="*/ 953 h 953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815" h="953">
                  <a:moveTo>
                    <a:pt x="20" y="197"/>
                  </a:moveTo>
                  <a:lnTo>
                    <a:pt x="31" y="185"/>
                  </a:lnTo>
                  <a:lnTo>
                    <a:pt x="42" y="172"/>
                  </a:lnTo>
                  <a:lnTo>
                    <a:pt x="52" y="158"/>
                  </a:lnTo>
                  <a:lnTo>
                    <a:pt x="64" y="143"/>
                  </a:lnTo>
                  <a:lnTo>
                    <a:pt x="66" y="138"/>
                  </a:lnTo>
                  <a:lnTo>
                    <a:pt x="69" y="133"/>
                  </a:lnTo>
                  <a:lnTo>
                    <a:pt x="73" y="131"/>
                  </a:lnTo>
                  <a:lnTo>
                    <a:pt x="76" y="129"/>
                  </a:lnTo>
                  <a:lnTo>
                    <a:pt x="79" y="129"/>
                  </a:lnTo>
                  <a:lnTo>
                    <a:pt x="83" y="129"/>
                  </a:lnTo>
                  <a:lnTo>
                    <a:pt x="86" y="131"/>
                  </a:lnTo>
                  <a:lnTo>
                    <a:pt x="91" y="135"/>
                  </a:lnTo>
                  <a:lnTo>
                    <a:pt x="98" y="141"/>
                  </a:lnTo>
                  <a:lnTo>
                    <a:pt x="105" y="148"/>
                  </a:lnTo>
                  <a:lnTo>
                    <a:pt x="111" y="150"/>
                  </a:lnTo>
                  <a:lnTo>
                    <a:pt x="118" y="151"/>
                  </a:lnTo>
                  <a:lnTo>
                    <a:pt x="118" y="155"/>
                  </a:lnTo>
                  <a:lnTo>
                    <a:pt x="118" y="160"/>
                  </a:lnTo>
                  <a:lnTo>
                    <a:pt x="110" y="163"/>
                  </a:lnTo>
                  <a:lnTo>
                    <a:pt x="101" y="167"/>
                  </a:lnTo>
                  <a:lnTo>
                    <a:pt x="115" y="178"/>
                  </a:lnTo>
                  <a:lnTo>
                    <a:pt x="128" y="192"/>
                  </a:lnTo>
                  <a:lnTo>
                    <a:pt x="133" y="193"/>
                  </a:lnTo>
                  <a:lnTo>
                    <a:pt x="138" y="197"/>
                  </a:lnTo>
                  <a:lnTo>
                    <a:pt x="140" y="200"/>
                  </a:lnTo>
                  <a:lnTo>
                    <a:pt x="142" y="205"/>
                  </a:lnTo>
                  <a:lnTo>
                    <a:pt x="142" y="210"/>
                  </a:lnTo>
                  <a:lnTo>
                    <a:pt x="142" y="217"/>
                  </a:lnTo>
                  <a:lnTo>
                    <a:pt x="142" y="234"/>
                  </a:lnTo>
                  <a:lnTo>
                    <a:pt x="142" y="252"/>
                  </a:lnTo>
                  <a:lnTo>
                    <a:pt x="142" y="269"/>
                  </a:lnTo>
                  <a:lnTo>
                    <a:pt x="142" y="288"/>
                  </a:lnTo>
                  <a:lnTo>
                    <a:pt x="142" y="293"/>
                  </a:lnTo>
                  <a:lnTo>
                    <a:pt x="142" y="296"/>
                  </a:lnTo>
                  <a:lnTo>
                    <a:pt x="145" y="301"/>
                  </a:lnTo>
                  <a:lnTo>
                    <a:pt x="148" y="303"/>
                  </a:lnTo>
                  <a:lnTo>
                    <a:pt x="152" y="305"/>
                  </a:lnTo>
                  <a:lnTo>
                    <a:pt x="157" y="306"/>
                  </a:lnTo>
                  <a:lnTo>
                    <a:pt x="164" y="306"/>
                  </a:lnTo>
                  <a:lnTo>
                    <a:pt x="170" y="305"/>
                  </a:lnTo>
                  <a:lnTo>
                    <a:pt x="187" y="306"/>
                  </a:lnTo>
                  <a:lnTo>
                    <a:pt x="202" y="310"/>
                  </a:lnTo>
                  <a:lnTo>
                    <a:pt x="209" y="313"/>
                  </a:lnTo>
                  <a:lnTo>
                    <a:pt x="216" y="316"/>
                  </a:lnTo>
                  <a:lnTo>
                    <a:pt x="221" y="320"/>
                  </a:lnTo>
                  <a:lnTo>
                    <a:pt x="228" y="327"/>
                  </a:lnTo>
                  <a:lnTo>
                    <a:pt x="233" y="335"/>
                  </a:lnTo>
                  <a:lnTo>
                    <a:pt x="238" y="340"/>
                  </a:lnTo>
                  <a:lnTo>
                    <a:pt x="244" y="342"/>
                  </a:lnTo>
                  <a:lnTo>
                    <a:pt x="251" y="342"/>
                  </a:lnTo>
                  <a:lnTo>
                    <a:pt x="258" y="340"/>
                  </a:lnTo>
                  <a:lnTo>
                    <a:pt x="263" y="342"/>
                  </a:lnTo>
                  <a:lnTo>
                    <a:pt x="268" y="342"/>
                  </a:lnTo>
                  <a:lnTo>
                    <a:pt x="271" y="345"/>
                  </a:lnTo>
                  <a:lnTo>
                    <a:pt x="273" y="348"/>
                  </a:lnTo>
                  <a:lnTo>
                    <a:pt x="275" y="355"/>
                  </a:lnTo>
                  <a:lnTo>
                    <a:pt x="276" y="360"/>
                  </a:lnTo>
                  <a:lnTo>
                    <a:pt x="276" y="369"/>
                  </a:lnTo>
                  <a:lnTo>
                    <a:pt x="275" y="391"/>
                  </a:lnTo>
                  <a:lnTo>
                    <a:pt x="276" y="409"/>
                  </a:lnTo>
                  <a:lnTo>
                    <a:pt x="278" y="416"/>
                  </a:lnTo>
                  <a:lnTo>
                    <a:pt x="281" y="423"/>
                  </a:lnTo>
                  <a:lnTo>
                    <a:pt x="285" y="426"/>
                  </a:lnTo>
                  <a:lnTo>
                    <a:pt x="290" y="428"/>
                  </a:lnTo>
                  <a:lnTo>
                    <a:pt x="295" y="433"/>
                  </a:lnTo>
                  <a:lnTo>
                    <a:pt x="300" y="436"/>
                  </a:lnTo>
                  <a:lnTo>
                    <a:pt x="305" y="439"/>
                  </a:lnTo>
                  <a:lnTo>
                    <a:pt x="312" y="441"/>
                  </a:lnTo>
                  <a:lnTo>
                    <a:pt x="323" y="441"/>
                  </a:lnTo>
                  <a:lnTo>
                    <a:pt x="339" y="439"/>
                  </a:lnTo>
                  <a:lnTo>
                    <a:pt x="352" y="434"/>
                  </a:lnTo>
                  <a:lnTo>
                    <a:pt x="366" y="428"/>
                  </a:lnTo>
                  <a:lnTo>
                    <a:pt x="379" y="421"/>
                  </a:lnTo>
                  <a:lnTo>
                    <a:pt x="389" y="414"/>
                  </a:lnTo>
                  <a:lnTo>
                    <a:pt x="401" y="407"/>
                  </a:lnTo>
                  <a:lnTo>
                    <a:pt x="409" y="399"/>
                  </a:lnTo>
                  <a:lnTo>
                    <a:pt x="418" y="391"/>
                  </a:lnTo>
                  <a:lnTo>
                    <a:pt x="426" y="380"/>
                  </a:lnTo>
                  <a:lnTo>
                    <a:pt x="443" y="360"/>
                  </a:lnTo>
                  <a:lnTo>
                    <a:pt x="460" y="342"/>
                  </a:lnTo>
                  <a:lnTo>
                    <a:pt x="460" y="333"/>
                  </a:lnTo>
                  <a:lnTo>
                    <a:pt x="460" y="325"/>
                  </a:lnTo>
                  <a:lnTo>
                    <a:pt x="458" y="320"/>
                  </a:lnTo>
                  <a:lnTo>
                    <a:pt x="456" y="315"/>
                  </a:lnTo>
                  <a:lnTo>
                    <a:pt x="450" y="308"/>
                  </a:lnTo>
                  <a:lnTo>
                    <a:pt x="443" y="303"/>
                  </a:lnTo>
                  <a:lnTo>
                    <a:pt x="445" y="298"/>
                  </a:lnTo>
                  <a:lnTo>
                    <a:pt x="446" y="293"/>
                  </a:lnTo>
                  <a:lnTo>
                    <a:pt x="446" y="286"/>
                  </a:lnTo>
                  <a:lnTo>
                    <a:pt x="445" y="279"/>
                  </a:lnTo>
                  <a:lnTo>
                    <a:pt x="441" y="263"/>
                  </a:lnTo>
                  <a:lnTo>
                    <a:pt x="433" y="241"/>
                  </a:lnTo>
                  <a:lnTo>
                    <a:pt x="428" y="241"/>
                  </a:lnTo>
                  <a:lnTo>
                    <a:pt x="421" y="241"/>
                  </a:lnTo>
                  <a:lnTo>
                    <a:pt x="423" y="229"/>
                  </a:lnTo>
                  <a:lnTo>
                    <a:pt x="423" y="217"/>
                  </a:lnTo>
                  <a:lnTo>
                    <a:pt x="418" y="214"/>
                  </a:lnTo>
                  <a:lnTo>
                    <a:pt x="411" y="209"/>
                  </a:lnTo>
                  <a:lnTo>
                    <a:pt x="409" y="197"/>
                  </a:lnTo>
                  <a:lnTo>
                    <a:pt x="406" y="185"/>
                  </a:lnTo>
                  <a:lnTo>
                    <a:pt x="403" y="177"/>
                  </a:lnTo>
                  <a:lnTo>
                    <a:pt x="398" y="170"/>
                  </a:lnTo>
                  <a:lnTo>
                    <a:pt x="387" y="168"/>
                  </a:lnTo>
                  <a:lnTo>
                    <a:pt x="377" y="170"/>
                  </a:lnTo>
                  <a:lnTo>
                    <a:pt x="369" y="173"/>
                  </a:lnTo>
                  <a:lnTo>
                    <a:pt x="359" y="180"/>
                  </a:lnTo>
                  <a:lnTo>
                    <a:pt x="350" y="173"/>
                  </a:lnTo>
                  <a:lnTo>
                    <a:pt x="345" y="167"/>
                  </a:lnTo>
                  <a:lnTo>
                    <a:pt x="344" y="156"/>
                  </a:lnTo>
                  <a:lnTo>
                    <a:pt x="345" y="146"/>
                  </a:lnTo>
                  <a:lnTo>
                    <a:pt x="335" y="135"/>
                  </a:lnTo>
                  <a:lnTo>
                    <a:pt x="330" y="126"/>
                  </a:lnTo>
                  <a:lnTo>
                    <a:pt x="325" y="118"/>
                  </a:lnTo>
                  <a:lnTo>
                    <a:pt x="325" y="113"/>
                  </a:lnTo>
                  <a:lnTo>
                    <a:pt x="327" y="109"/>
                  </a:lnTo>
                  <a:lnTo>
                    <a:pt x="332" y="109"/>
                  </a:lnTo>
                  <a:lnTo>
                    <a:pt x="339" y="111"/>
                  </a:lnTo>
                  <a:lnTo>
                    <a:pt x="349" y="114"/>
                  </a:lnTo>
                  <a:lnTo>
                    <a:pt x="364" y="123"/>
                  </a:lnTo>
                  <a:lnTo>
                    <a:pt x="379" y="131"/>
                  </a:lnTo>
                  <a:lnTo>
                    <a:pt x="389" y="131"/>
                  </a:lnTo>
                  <a:lnTo>
                    <a:pt x="398" y="128"/>
                  </a:lnTo>
                  <a:lnTo>
                    <a:pt x="401" y="124"/>
                  </a:lnTo>
                  <a:lnTo>
                    <a:pt x="403" y="119"/>
                  </a:lnTo>
                  <a:lnTo>
                    <a:pt x="401" y="106"/>
                  </a:lnTo>
                  <a:lnTo>
                    <a:pt x="394" y="91"/>
                  </a:lnTo>
                  <a:lnTo>
                    <a:pt x="392" y="76"/>
                  </a:lnTo>
                  <a:lnTo>
                    <a:pt x="392" y="60"/>
                  </a:lnTo>
                  <a:lnTo>
                    <a:pt x="392" y="45"/>
                  </a:lnTo>
                  <a:lnTo>
                    <a:pt x="391" y="30"/>
                  </a:lnTo>
                  <a:lnTo>
                    <a:pt x="391" y="25"/>
                  </a:lnTo>
                  <a:lnTo>
                    <a:pt x="389" y="20"/>
                  </a:lnTo>
                  <a:lnTo>
                    <a:pt x="387" y="18"/>
                  </a:lnTo>
                  <a:lnTo>
                    <a:pt x="386" y="15"/>
                  </a:lnTo>
                  <a:lnTo>
                    <a:pt x="379" y="13"/>
                  </a:lnTo>
                  <a:lnTo>
                    <a:pt x="371" y="13"/>
                  </a:lnTo>
                  <a:lnTo>
                    <a:pt x="374" y="7"/>
                  </a:lnTo>
                  <a:lnTo>
                    <a:pt x="376" y="3"/>
                  </a:lnTo>
                  <a:lnTo>
                    <a:pt x="381" y="2"/>
                  </a:lnTo>
                  <a:lnTo>
                    <a:pt x="384" y="0"/>
                  </a:lnTo>
                  <a:lnTo>
                    <a:pt x="389" y="2"/>
                  </a:lnTo>
                  <a:lnTo>
                    <a:pt x="396" y="5"/>
                  </a:lnTo>
                  <a:lnTo>
                    <a:pt x="403" y="8"/>
                  </a:lnTo>
                  <a:lnTo>
                    <a:pt x="409" y="15"/>
                  </a:lnTo>
                  <a:lnTo>
                    <a:pt x="424" y="12"/>
                  </a:lnTo>
                  <a:lnTo>
                    <a:pt x="438" y="13"/>
                  </a:lnTo>
                  <a:lnTo>
                    <a:pt x="448" y="15"/>
                  </a:lnTo>
                  <a:lnTo>
                    <a:pt x="456" y="20"/>
                  </a:lnTo>
                  <a:lnTo>
                    <a:pt x="470" y="18"/>
                  </a:lnTo>
                  <a:lnTo>
                    <a:pt x="485" y="18"/>
                  </a:lnTo>
                  <a:lnTo>
                    <a:pt x="493" y="20"/>
                  </a:lnTo>
                  <a:lnTo>
                    <a:pt x="502" y="22"/>
                  </a:lnTo>
                  <a:lnTo>
                    <a:pt x="510" y="25"/>
                  </a:lnTo>
                  <a:lnTo>
                    <a:pt x="520" y="30"/>
                  </a:lnTo>
                  <a:lnTo>
                    <a:pt x="541" y="30"/>
                  </a:lnTo>
                  <a:lnTo>
                    <a:pt x="557" y="30"/>
                  </a:lnTo>
                  <a:lnTo>
                    <a:pt x="566" y="30"/>
                  </a:lnTo>
                  <a:lnTo>
                    <a:pt x="573" y="32"/>
                  </a:lnTo>
                  <a:lnTo>
                    <a:pt x="578" y="35"/>
                  </a:lnTo>
                  <a:lnTo>
                    <a:pt x="583" y="39"/>
                  </a:lnTo>
                  <a:lnTo>
                    <a:pt x="598" y="40"/>
                  </a:lnTo>
                  <a:lnTo>
                    <a:pt x="611" y="40"/>
                  </a:lnTo>
                  <a:lnTo>
                    <a:pt x="616" y="40"/>
                  </a:lnTo>
                  <a:lnTo>
                    <a:pt x="623" y="39"/>
                  </a:lnTo>
                  <a:lnTo>
                    <a:pt x="628" y="35"/>
                  </a:lnTo>
                  <a:lnTo>
                    <a:pt x="633" y="32"/>
                  </a:lnTo>
                  <a:lnTo>
                    <a:pt x="637" y="42"/>
                  </a:lnTo>
                  <a:lnTo>
                    <a:pt x="640" y="52"/>
                  </a:lnTo>
                  <a:lnTo>
                    <a:pt x="648" y="59"/>
                  </a:lnTo>
                  <a:lnTo>
                    <a:pt x="658" y="64"/>
                  </a:lnTo>
                  <a:lnTo>
                    <a:pt x="670" y="69"/>
                  </a:lnTo>
                  <a:lnTo>
                    <a:pt x="684" y="72"/>
                  </a:lnTo>
                  <a:lnTo>
                    <a:pt x="694" y="81"/>
                  </a:lnTo>
                  <a:lnTo>
                    <a:pt x="702" y="86"/>
                  </a:lnTo>
                  <a:lnTo>
                    <a:pt x="711" y="98"/>
                  </a:lnTo>
                  <a:lnTo>
                    <a:pt x="717" y="108"/>
                  </a:lnTo>
                  <a:lnTo>
                    <a:pt x="722" y="118"/>
                  </a:lnTo>
                  <a:lnTo>
                    <a:pt x="724" y="128"/>
                  </a:lnTo>
                  <a:lnTo>
                    <a:pt x="726" y="136"/>
                  </a:lnTo>
                  <a:lnTo>
                    <a:pt x="726" y="143"/>
                  </a:lnTo>
                  <a:lnTo>
                    <a:pt x="724" y="150"/>
                  </a:lnTo>
                  <a:lnTo>
                    <a:pt x="719" y="155"/>
                  </a:lnTo>
                  <a:lnTo>
                    <a:pt x="732" y="165"/>
                  </a:lnTo>
                  <a:lnTo>
                    <a:pt x="743" y="175"/>
                  </a:lnTo>
                  <a:lnTo>
                    <a:pt x="749" y="182"/>
                  </a:lnTo>
                  <a:lnTo>
                    <a:pt x="753" y="187"/>
                  </a:lnTo>
                  <a:lnTo>
                    <a:pt x="756" y="195"/>
                  </a:lnTo>
                  <a:lnTo>
                    <a:pt x="759" y="204"/>
                  </a:lnTo>
                  <a:lnTo>
                    <a:pt x="764" y="210"/>
                  </a:lnTo>
                  <a:lnTo>
                    <a:pt x="770" y="217"/>
                  </a:lnTo>
                  <a:lnTo>
                    <a:pt x="773" y="220"/>
                  </a:lnTo>
                  <a:lnTo>
                    <a:pt x="778" y="220"/>
                  </a:lnTo>
                  <a:lnTo>
                    <a:pt x="785" y="220"/>
                  </a:lnTo>
                  <a:lnTo>
                    <a:pt x="791" y="219"/>
                  </a:lnTo>
                  <a:lnTo>
                    <a:pt x="795" y="247"/>
                  </a:lnTo>
                  <a:lnTo>
                    <a:pt x="798" y="278"/>
                  </a:lnTo>
                  <a:lnTo>
                    <a:pt x="802" y="306"/>
                  </a:lnTo>
                  <a:lnTo>
                    <a:pt x="807" y="337"/>
                  </a:lnTo>
                  <a:lnTo>
                    <a:pt x="798" y="350"/>
                  </a:lnTo>
                  <a:lnTo>
                    <a:pt x="793" y="364"/>
                  </a:lnTo>
                  <a:lnTo>
                    <a:pt x="790" y="374"/>
                  </a:lnTo>
                  <a:lnTo>
                    <a:pt x="790" y="384"/>
                  </a:lnTo>
                  <a:lnTo>
                    <a:pt x="800" y="385"/>
                  </a:lnTo>
                  <a:lnTo>
                    <a:pt x="810" y="387"/>
                  </a:lnTo>
                  <a:lnTo>
                    <a:pt x="805" y="409"/>
                  </a:lnTo>
                  <a:lnTo>
                    <a:pt x="800" y="433"/>
                  </a:lnTo>
                  <a:lnTo>
                    <a:pt x="807" y="455"/>
                  </a:lnTo>
                  <a:lnTo>
                    <a:pt x="815" y="476"/>
                  </a:lnTo>
                  <a:lnTo>
                    <a:pt x="808" y="493"/>
                  </a:lnTo>
                  <a:lnTo>
                    <a:pt x="802" y="510"/>
                  </a:lnTo>
                  <a:lnTo>
                    <a:pt x="807" y="519"/>
                  </a:lnTo>
                  <a:lnTo>
                    <a:pt x="812" y="529"/>
                  </a:lnTo>
                  <a:lnTo>
                    <a:pt x="812" y="535"/>
                  </a:lnTo>
                  <a:lnTo>
                    <a:pt x="812" y="540"/>
                  </a:lnTo>
                  <a:lnTo>
                    <a:pt x="807" y="542"/>
                  </a:lnTo>
                  <a:lnTo>
                    <a:pt x="803" y="544"/>
                  </a:lnTo>
                  <a:lnTo>
                    <a:pt x="802" y="554"/>
                  </a:lnTo>
                  <a:lnTo>
                    <a:pt x="800" y="564"/>
                  </a:lnTo>
                  <a:lnTo>
                    <a:pt x="796" y="574"/>
                  </a:lnTo>
                  <a:lnTo>
                    <a:pt x="795" y="584"/>
                  </a:lnTo>
                  <a:lnTo>
                    <a:pt x="791" y="593"/>
                  </a:lnTo>
                  <a:lnTo>
                    <a:pt x="788" y="598"/>
                  </a:lnTo>
                  <a:lnTo>
                    <a:pt x="783" y="603"/>
                  </a:lnTo>
                  <a:lnTo>
                    <a:pt x="778" y="606"/>
                  </a:lnTo>
                  <a:lnTo>
                    <a:pt x="773" y="608"/>
                  </a:lnTo>
                  <a:lnTo>
                    <a:pt x="768" y="608"/>
                  </a:lnTo>
                  <a:lnTo>
                    <a:pt x="761" y="606"/>
                  </a:lnTo>
                  <a:lnTo>
                    <a:pt x="756" y="608"/>
                  </a:lnTo>
                  <a:lnTo>
                    <a:pt x="753" y="613"/>
                  </a:lnTo>
                  <a:lnTo>
                    <a:pt x="749" y="618"/>
                  </a:lnTo>
                  <a:lnTo>
                    <a:pt x="748" y="626"/>
                  </a:lnTo>
                  <a:lnTo>
                    <a:pt x="748" y="636"/>
                  </a:lnTo>
                  <a:lnTo>
                    <a:pt x="748" y="650"/>
                  </a:lnTo>
                  <a:lnTo>
                    <a:pt x="751" y="665"/>
                  </a:lnTo>
                  <a:lnTo>
                    <a:pt x="754" y="672"/>
                  </a:lnTo>
                  <a:lnTo>
                    <a:pt x="756" y="678"/>
                  </a:lnTo>
                  <a:lnTo>
                    <a:pt x="756" y="684"/>
                  </a:lnTo>
                  <a:lnTo>
                    <a:pt x="754" y="689"/>
                  </a:lnTo>
                  <a:lnTo>
                    <a:pt x="751" y="694"/>
                  </a:lnTo>
                  <a:lnTo>
                    <a:pt x="746" y="699"/>
                  </a:lnTo>
                  <a:lnTo>
                    <a:pt x="739" y="704"/>
                  </a:lnTo>
                  <a:lnTo>
                    <a:pt x="731" y="707"/>
                  </a:lnTo>
                  <a:lnTo>
                    <a:pt x="711" y="710"/>
                  </a:lnTo>
                  <a:lnTo>
                    <a:pt x="692" y="717"/>
                  </a:lnTo>
                  <a:lnTo>
                    <a:pt x="675" y="724"/>
                  </a:lnTo>
                  <a:lnTo>
                    <a:pt x="662" y="734"/>
                  </a:lnTo>
                  <a:lnTo>
                    <a:pt x="653" y="737"/>
                  </a:lnTo>
                  <a:lnTo>
                    <a:pt x="647" y="737"/>
                  </a:lnTo>
                  <a:lnTo>
                    <a:pt x="640" y="734"/>
                  </a:lnTo>
                  <a:lnTo>
                    <a:pt x="635" y="727"/>
                  </a:lnTo>
                  <a:lnTo>
                    <a:pt x="631" y="722"/>
                  </a:lnTo>
                  <a:lnTo>
                    <a:pt x="630" y="719"/>
                  </a:lnTo>
                  <a:lnTo>
                    <a:pt x="626" y="719"/>
                  </a:lnTo>
                  <a:lnTo>
                    <a:pt x="621" y="721"/>
                  </a:lnTo>
                  <a:lnTo>
                    <a:pt x="618" y="724"/>
                  </a:lnTo>
                  <a:lnTo>
                    <a:pt x="613" y="729"/>
                  </a:lnTo>
                  <a:lnTo>
                    <a:pt x="606" y="737"/>
                  </a:lnTo>
                  <a:lnTo>
                    <a:pt x="600" y="746"/>
                  </a:lnTo>
                  <a:lnTo>
                    <a:pt x="601" y="766"/>
                  </a:lnTo>
                  <a:lnTo>
                    <a:pt x="603" y="788"/>
                  </a:lnTo>
                  <a:lnTo>
                    <a:pt x="588" y="810"/>
                  </a:lnTo>
                  <a:lnTo>
                    <a:pt x="573" y="833"/>
                  </a:lnTo>
                  <a:lnTo>
                    <a:pt x="566" y="844"/>
                  </a:lnTo>
                  <a:lnTo>
                    <a:pt x="557" y="852"/>
                  </a:lnTo>
                  <a:lnTo>
                    <a:pt x="549" y="859"/>
                  </a:lnTo>
                  <a:lnTo>
                    <a:pt x="539" y="864"/>
                  </a:lnTo>
                  <a:lnTo>
                    <a:pt x="519" y="877"/>
                  </a:lnTo>
                  <a:lnTo>
                    <a:pt x="505" y="887"/>
                  </a:lnTo>
                  <a:lnTo>
                    <a:pt x="519" y="901"/>
                  </a:lnTo>
                  <a:lnTo>
                    <a:pt x="525" y="913"/>
                  </a:lnTo>
                  <a:lnTo>
                    <a:pt x="527" y="918"/>
                  </a:lnTo>
                  <a:lnTo>
                    <a:pt x="529" y="923"/>
                  </a:lnTo>
                  <a:lnTo>
                    <a:pt x="527" y="928"/>
                  </a:lnTo>
                  <a:lnTo>
                    <a:pt x="525" y="931"/>
                  </a:lnTo>
                  <a:lnTo>
                    <a:pt x="519" y="938"/>
                  </a:lnTo>
                  <a:lnTo>
                    <a:pt x="510" y="945"/>
                  </a:lnTo>
                  <a:lnTo>
                    <a:pt x="497" y="948"/>
                  </a:lnTo>
                  <a:lnTo>
                    <a:pt x="483" y="953"/>
                  </a:lnTo>
                  <a:lnTo>
                    <a:pt x="456" y="931"/>
                  </a:lnTo>
                  <a:lnTo>
                    <a:pt x="429" y="909"/>
                  </a:lnTo>
                  <a:lnTo>
                    <a:pt x="403" y="887"/>
                  </a:lnTo>
                  <a:lnTo>
                    <a:pt x="376" y="865"/>
                  </a:lnTo>
                  <a:lnTo>
                    <a:pt x="376" y="854"/>
                  </a:lnTo>
                  <a:lnTo>
                    <a:pt x="374" y="845"/>
                  </a:lnTo>
                  <a:lnTo>
                    <a:pt x="371" y="837"/>
                  </a:lnTo>
                  <a:lnTo>
                    <a:pt x="367" y="832"/>
                  </a:lnTo>
                  <a:lnTo>
                    <a:pt x="362" y="828"/>
                  </a:lnTo>
                  <a:lnTo>
                    <a:pt x="355" y="827"/>
                  </a:lnTo>
                  <a:lnTo>
                    <a:pt x="349" y="827"/>
                  </a:lnTo>
                  <a:lnTo>
                    <a:pt x="342" y="830"/>
                  </a:lnTo>
                  <a:lnTo>
                    <a:pt x="330" y="832"/>
                  </a:lnTo>
                  <a:lnTo>
                    <a:pt x="318" y="833"/>
                  </a:lnTo>
                  <a:lnTo>
                    <a:pt x="305" y="833"/>
                  </a:lnTo>
                  <a:lnTo>
                    <a:pt x="293" y="830"/>
                  </a:lnTo>
                  <a:lnTo>
                    <a:pt x="280" y="827"/>
                  </a:lnTo>
                  <a:lnTo>
                    <a:pt x="266" y="820"/>
                  </a:lnTo>
                  <a:lnTo>
                    <a:pt x="251" y="810"/>
                  </a:lnTo>
                  <a:lnTo>
                    <a:pt x="238" y="798"/>
                  </a:lnTo>
                  <a:lnTo>
                    <a:pt x="236" y="796"/>
                  </a:lnTo>
                  <a:lnTo>
                    <a:pt x="236" y="795"/>
                  </a:lnTo>
                  <a:lnTo>
                    <a:pt x="234" y="793"/>
                  </a:lnTo>
                  <a:lnTo>
                    <a:pt x="231" y="793"/>
                  </a:lnTo>
                  <a:lnTo>
                    <a:pt x="224" y="793"/>
                  </a:lnTo>
                  <a:lnTo>
                    <a:pt x="212" y="795"/>
                  </a:lnTo>
                  <a:lnTo>
                    <a:pt x="201" y="800"/>
                  </a:lnTo>
                  <a:lnTo>
                    <a:pt x="190" y="800"/>
                  </a:lnTo>
                  <a:lnTo>
                    <a:pt x="187" y="800"/>
                  </a:lnTo>
                  <a:lnTo>
                    <a:pt x="182" y="798"/>
                  </a:lnTo>
                  <a:lnTo>
                    <a:pt x="179" y="795"/>
                  </a:lnTo>
                  <a:lnTo>
                    <a:pt x="177" y="793"/>
                  </a:lnTo>
                  <a:lnTo>
                    <a:pt x="167" y="790"/>
                  </a:lnTo>
                  <a:lnTo>
                    <a:pt x="157" y="786"/>
                  </a:lnTo>
                  <a:lnTo>
                    <a:pt x="147" y="783"/>
                  </a:lnTo>
                  <a:lnTo>
                    <a:pt x="138" y="776"/>
                  </a:lnTo>
                  <a:lnTo>
                    <a:pt x="130" y="769"/>
                  </a:lnTo>
                  <a:lnTo>
                    <a:pt x="123" y="761"/>
                  </a:lnTo>
                  <a:lnTo>
                    <a:pt x="115" y="753"/>
                  </a:lnTo>
                  <a:lnTo>
                    <a:pt x="108" y="741"/>
                  </a:lnTo>
                  <a:lnTo>
                    <a:pt x="101" y="741"/>
                  </a:lnTo>
                  <a:lnTo>
                    <a:pt x="98" y="737"/>
                  </a:lnTo>
                  <a:lnTo>
                    <a:pt x="93" y="734"/>
                  </a:lnTo>
                  <a:lnTo>
                    <a:pt x="89" y="731"/>
                  </a:lnTo>
                  <a:lnTo>
                    <a:pt x="83" y="719"/>
                  </a:lnTo>
                  <a:lnTo>
                    <a:pt x="76" y="705"/>
                  </a:lnTo>
                  <a:lnTo>
                    <a:pt x="69" y="697"/>
                  </a:lnTo>
                  <a:lnTo>
                    <a:pt x="61" y="689"/>
                  </a:lnTo>
                  <a:lnTo>
                    <a:pt x="56" y="680"/>
                  </a:lnTo>
                  <a:lnTo>
                    <a:pt x="51" y="672"/>
                  </a:lnTo>
                  <a:lnTo>
                    <a:pt x="49" y="662"/>
                  </a:lnTo>
                  <a:lnTo>
                    <a:pt x="47" y="650"/>
                  </a:lnTo>
                  <a:lnTo>
                    <a:pt x="51" y="638"/>
                  </a:lnTo>
                  <a:lnTo>
                    <a:pt x="56" y="625"/>
                  </a:lnTo>
                  <a:lnTo>
                    <a:pt x="56" y="618"/>
                  </a:lnTo>
                  <a:lnTo>
                    <a:pt x="57" y="611"/>
                  </a:lnTo>
                  <a:lnTo>
                    <a:pt x="59" y="606"/>
                  </a:lnTo>
                  <a:lnTo>
                    <a:pt x="64" y="599"/>
                  </a:lnTo>
                  <a:lnTo>
                    <a:pt x="73" y="588"/>
                  </a:lnTo>
                  <a:lnTo>
                    <a:pt x="84" y="574"/>
                  </a:lnTo>
                  <a:lnTo>
                    <a:pt x="88" y="569"/>
                  </a:lnTo>
                  <a:lnTo>
                    <a:pt x="88" y="566"/>
                  </a:lnTo>
                  <a:lnTo>
                    <a:pt x="86" y="564"/>
                  </a:lnTo>
                  <a:lnTo>
                    <a:pt x="83" y="562"/>
                  </a:lnTo>
                  <a:lnTo>
                    <a:pt x="69" y="564"/>
                  </a:lnTo>
                  <a:lnTo>
                    <a:pt x="54" y="567"/>
                  </a:lnTo>
                  <a:lnTo>
                    <a:pt x="46" y="567"/>
                  </a:lnTo>
                  <a:lnTo>
                    <a:pt x="37" y="567"/>
                  </a:lnTo>
                  <a:lnTo>
                    <a:pt x="31" y="566"/>
                  </a:lnTo>
                  <a:lnTo>
                    <a:pt x="26" y="564"/>
                  </a:lnTo>
                  <a:lnTo>
                    <a:pt x="20" y="559"/>
                  </a:lnTo>
                  <a:lnTo>
                    <a:pt x="19" y="551"/>
                  </a:lnTo>
                  <a:lnTo>
                    <a:pt x="20" y="540"/>
                  </a:lnTo>
                  <a:lnTo>
                    <a:pt x="22" y="527"/>
                  </a:lnTo>
                  <a:lnTo>
                    <a:pt x="22" y="519"/>
                  </a:lnTo>
                  <a:lnTo>
                    <a:pt x="22" y="510"/>
                  </a:lnTo>
                  <a:lnTo>
                    <a:pt x="22" y="502"/>
                  </a:lnTo>
                  <a:lnTo>
                    <a:pt x="24" y="493"/>
                  </a:lnTo>
                  <a:lnTo>
                    <a:pt x="27" y="485"/>
                  </a:lnTo>
                  <a:lnTo>
                    <a:pt x="31" y="476"/>
                  </a:lnTo>
                  <a:lnTo>
                    <a:pt x="36" y="468"/>
                  </a:lnTo>
                  <a:lnTo>
                    <a:pt x="42" y="460"/>
                  </a:lnTo>
                  <a:lnTo>
                    <a:pt x="47" y="456"/>
                  </a:lnTo>
                  <a:lnTo>
                    <a:pt x="51" y="453"/>
                  </a:lnTo>
                  <a:lnTo>
                    <a:pt x="56" y="448"/>
                  </a:lnTo>
                  <a:lnTo>
                    <a:pt x="57" y="443"/>
                  </a:lnTo>
                  <a:lnTo>
                    <a:pt x="59" y="436"/>
                  </a:lnTo>
                  <a:lnTo>
                    <a:pt x="59" y="428"/>
                  </a:lnTo>
                  <a:lnTo>
                    <a:pt x="57" y="419"/>
                  </a:lnTo>
                  <a:lnTo>
                    <a:pt x="54" y="407"/>
                  </a:lnTo>
                  <a:lnTo>
                    <a:pt x="46" y="392"/>
                  </a:lnTo>
                  <a:lnTo>
                    <a:pt x="37" y="375"/>
                  </a:lnTo>
                  <a:lnTo>
                    <a:pt x="27" y="359"/>
                  </a:lnTo>
                  <a:lnTo>
                    <a:pt x="19" y="342"/>
                  </a:lnTo>
                  <a:lnTo>
                    <a:pt x="10" y="342"/>
                  </a:lnTo>
                  <a:lnTo>
                    <a:pt x="4" y="340"/>
                  </a:lnTo>
                  <a:lnTo>
                    <a:pt x="0" y="337"/>
                  </a:lnTo>
                  <a:lnTo>
                    <a:pt x="0" y="332"/>
                  </a:lnTo>
                  <a:lnTo>
                    <a:pt x="2" y="325"/>
                  </a:lnTo>
                  <a:lnTo>
                    <a:pt x="7" y="316"/>
                  </a:lnTo>
                  <a:lnTo>
                    <a:pt x="15" y="308"/>
                  </a:lnTo>
                  <a:lnTo>
                    <a:pt x="26" y="296"/>
                  </a:lnTo>
                  <a:lnTo>
                    <a:pt x="34" y="286"/>
                  </a:lnTo>
                  <a:lnTo>
                    <a:pt x="41" y="276"/>
                  </a:lnTo>
                  <a:lnTo>
                    <a:pt x="44" y="268"/>
                  </a:lnTo>
                  <a:lnTo>
                    <a:pt x="47" y="257"/>
                  </a:lnTo>
                  <a:lnTo>
                    <a:pt x="47" y="247"/>
                  </a:lnTo>
                  <a:lnTo>
                    <a:pt x="46" y="239"/>
                  </a:lnTo>
                  <a:lnTo>
                    <a:pt x="42" y="231"/>
                  </a:lnTo>
                  <a:lnTo>
                    <a:pt x="36" y="222"/>
                  </a:lnTo>
                  <a:lnTo>
                    <a:pt x="27" y="209"/>
                  </a:lnTo>
                  <a:lnTo>
                    <a:pt x="20" y="197"/>
                  </a:lnTo>
                </a:path>
              </a:pathLst>
            </a:custGeom>
            <a:solidFill>
              <a:srgbClr val="CCECFF"/>
            </a:solidFill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83615" name="Freeform 63"/>
            <p:cNvSpPr>
              <a:spLocks/>
            </p:cNvSpPr>
            <p:nvPr/>
          </p:nvSpPr>
          <p:spPr bwMode="auto">
            <a:xfrm>
              <a:off x="915" y="2395"/>
              <a:ext cx="108" cy="85"/>
            </a:xfrm>
            <a:custGeom>
              <a:avLst/>
              <a:gdLst>
                <a:gd name="T0" fmla="*/ 0 w 190"/>
                <a:gd name="T1" fmla="*/ 1 h 144"/>
                <a:gd name="T2" fmla="*/ 1 w 190"/>
                <a:gd name="T3" fmla="*/ 1 h 144"/>
                <a:gd name="T4" fmla="*/ 1 w 190"/>
                <a:gd name="T5" fmla="*/ 1 h 144"/>
                <a:gd name="T6" fmla="*/ 1 w 190"/>
                <a:gd name="T7" fmla="*/ 1 h 144"/>
                <a:gd name="T8" fmla="*/ 1 w 190"/>
                <a:gd name="T9" fmla="*/ 1 h 144"/>
                <a:gd name="T10" fmla="*/ 1 w 190"/>
                <a:gd name="T11" fmla="*/ 1 h 144"/>
                <a:gd name="T12" fmla="*/ 1 w 190"/>
                <a:gd name="T13" fmla="*/ 1 h 144"/>
                <a:gd name="T14" fmla="*/ 1 w 190"/>
                <a:gd name="T15" fmla="*/ 1 h 144"/>
                <a:gd name="T16" fmla="*/ 1 w 190"/>
                <a:gd name="T17" fmla="*/ 1 h 144"/>
                <a:gd name="T18" fmla="*/ 1 w 190"/>
                <a:gd name="T19" fmla="*/ 1 h 144"/>
                <a:gd name="T20" fmla="*/ 1 w 190"/>
                <a:gd name="T21" fmla="*/ 0 h 144"/>
                <a:gd name="T22" fmla="*/ 1 w 190"/>
                <a:gd name="T23" fmla="*/ 1 h 144"/>
                <a:gd name="T24" fmla="*/ 1 w 190"/>
                <a:gd name="T25" fmla="*/ 1 h 144"/>
                <a:gd name="T26" fmla="*/ 1 w 190"/>
                <a:gd name="T27" fmla="*/ 1 h 144"/>
                <a:gd name="T28" fmla="*/ 1 w 190"/>
                <a:gd name="T29" fmla="*/ 1 h 144"/>
                <a:gd name="T30" fmla="*/ 1 w 190"/>
                <a:gd name="T31" fmla="*/ 1 h 144"/>
                <a:gd name="T32" fmla="*/ 1 w 190"/>
                <a:gd name="T33" fmla="*/ 1 h 144"/>
                <a:gd name="T34" fmla="*/ 1 w 190"/>
                <a:gd name="T35" fmla="*/ 1 h 144"/>
                <a:gd name="T36" fmla="*/ 1 w 190"/>
                <a:gd name="T37" fmla="*/ 1 h 144"/>
                <a:gd name="T38" fmla="*/ 1 w 190"/>
                <a:gd name="T39" fmla="*/ 1 h 144"/>
                <a:gd name="T40" fmla="*/ 1 w 190"/>
                <a:gd name="T41" fmla="*/ 1 h 144"/>
                <a:gd name="T42" fmla="*/ 1 w 190"/>
                <a:gd name="T43" fmla="*/ 1 h 144"/>
                <a:gd name="T44" fmla="*/ 1 w 190"/>
                <a:gd name="T45" fmla="*/ 1 h 144"/>
                <a:gd name="T46" fmla="*/ 1 w 190"/>
                <a:gd name="T47" fmla="*/ 1 h 144"/>
                <a:gd name="T48" fmla="*/ 1 w 190"/>
                <a:gd name="T49" fmla="*/ 1 h 144"/>
                <a:gd name="T50" fmla="*/ 1 w 190"/>
                <a:gd name="T51" fmla="*/ 1 h 144"/>
                <a:gd name="T52" fmla="*/ 1 w 190"/>
                <a:gd name="T53" fmla="*/ 1 h 144"/>
                <a:gd name="T54" fmla="*/ 1 w 190"/>
                <a:gd name="T55" fmla="*/ 1 h 144"/>
                <a:gd name="T56" fmla="*/ 1 w 190"/>
                <a:gd name="T57" fmla="*/ 1 h 144"/>
                <a:gd name="T58" fmla="*/ 1 w 190"/>
                <a:gd name="T59" fmla="*/ 1 h 144"/>
                <a:gd name="T60" fmla="*/ 1 w 190"/>
                <a:gd name="T61" fmla="*/ 1 h 144"/>
                <a:gd name="T62" fmla="*/ 1 w 190"/>
                <a:gd name="T63" fmla="*/ 1 h 144"/>
                <a:gd name="T64" fmla="*/ 1 w 190"/>
                <a:gd name="T65" fmla="*/ 1 h 144"/>
                <a:gd name="T66" fmla="*/ 1 w 190"/>
                <a:gd name="T67" fmla="*/ 1 h 144"/>
                <a:gd name="T68" fmla="*/ 1 w 190"/>
                <a:gd name="T69" fmla="*/ 1 h 144"/>
                <a:gd name="T70" fmla="*/ 1 w 190"/>
                <a:gd name="T71" fmla="*/ 1 h 144"/>
                <a:gd name="T72" fmla="*/ 1 w 190"/>
                <a:gd name="T73" fmla="*/ 1 h 144"/>
                <a:gd name="T74" fmla="*/ 1 w 190"/>
                <a:gd name="T75" fmla="*/ 1 h 144"/>
                <a:gd name="T76" fmla="*/ 1 w 190"/>
                <a:gd name="T77" fmla="*/ 1 h 144"/>
                <a:gd name="T78" fmla="*/ 1 w 190"/>
                <a:gd name="T79" fmla="*/ 1 h 144"/>
                <a:gd name="T80" fmla="*/ 1 w 190"/>
                <a:gd name="T81" fmla="*/ 1 h 144"/>
                <a:gd name="T82" fmla="*/ 1 w 190"/>
                <a:gd name="T83" fmla="*/ 1 h 144"/>
                <a:gd name="T84" fmla="*/ 1 w 190"/>
                <a:gd name="T85" fmla="*/ 1 h 144"/>
                <a:gd name="T86" fmla="*/ 1 w 190"/>
                <a:gd name="T87" fmla="*/ 1 h 144"/>
                <a:gd name="T88" fmla="*/ 1 w 190"/>
                <a:gd name="T89" fmla="*/ 1 h 144"/>
                <a:gd name="T90" fmla="*/ 1 w 190"/>
                <a:gd name="T91" fmla="*/ 1 h 144"/>
                <a:gd name="T92" fmla="*/ 0 w 190"/>
                <a:gd name="T93" fmla="*/ 1 h 14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190"/>
                <a:gd name="T142" fmla="*/ 0 h 144"/>
                <a:gd name="T143" fmla="*/ 190 w 190"/>
                <a:gd name="T144" fmla="*/ 144 h 14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190" h="144">
                  <a:moveTo>
                    <a:pt x="0" y="67"/>
                  </a:moveTo>
                  <a:lnTo>
                    <a:pt x="7" y="49"/>
                  </a:lnTo>
                  <a:lnTo>
                    <a:pt x="15" y="33"/>
                  </a:lnTo>
                  <a:lnTo>
                    <a:pt x="20" y="27"/>
                  </a:lnTo>
                  <a:lnTo>
                    <a:pt x="25" y="22"/>
                  </a:lnTo>
                  <a:lnTo>
                    <a:pt x="30" y="17"/>
                  </a:lnTo>
                  <a:lnTo>
                    <a:pt x="35" y="13"/>
                  </a:lnTo>
                  <a:lnTo>
                    <a:pt x="59" y="10"/>
                  </a:lnTo>
                  <a:lnTo>
                    <a:pt x="77" y="6"/>
                  </a:lnTo>
                  <a:lnTo>
                    <a:pt x="79" y="3"/>
                  </a:lnTo>
                  <a:lnTo>
                    <a:pt x="79" y="0"/>
                  </a:lnTo>
                  <a:lnTo>
                    <a:pt x="89" y="3"/>
                  </a:lnTo>
                  <a:lnTo>
                    <a:pt x="98" y="6"/>
                  </a:lnTo>
                  <a:lnTo>
                    <a:pt x="106" y="13"/>
                  </a:lnTo>
                  <a:lnTo>
                    <a:pt x="116" y="23"/>
                  </a:lnTo>
                  <a:lnTo>
                    <a:pt x="131" y="28"/>
                  </a:lnTo>
                  <a:lnTo>
                    <a:pt x="147" y="33"/>
                  </a:lnTo>
                  <a:lnTo>
                    <a:pt x="162" y="38"/>
                  </a:lnTo>
                  <a:lnTo>
                    <a:pt x="177" y="43"/>
                  </a:lnTo>
                  <a:lnTo>
                    <a:pt x="184" y="49"/>
                  </a:lnTo>
                  <a:lnTo>
                    <a:pt x="189" y="54"/>
                  </a:lnTo>
                  <a:lnTo>
                    <a:pt x="190" y="60"/>
                  </a:lnTo>
                  <a:lnTo>
                    <a:pt x="189" y="67"/>
                  </a:lnTo>
                  <a:lnTo>
                    <a:pt x="187" y="72"/>
                  </a:lnTo>
                  <a:lnTo>
                    <a:pt x="184" y="77"/>
                  </a:lnTo>
                  <a:lnTo>
                    <a:pt x="178" y="79"/>
                  </a:lnTo>
                  <a:lnTo>
                    <a:pt x="173" y="77"/>
                  </a:lnTo>
                  <a:lnTo>
                    <a:pt x="172" y="99"/>
                  </a:lnTo>
                  <a:lnTo>
                    <a:pt x="170" y="119"/>
                  </a:lnTo>
                  <a:lnTo>
                    <a:pt x="172" y="126"/>
                  </a:lnTo>
                  <a:lnTo>
                    <a:pt x="172" y="133"/>
                  </a:lnTo>
                  <a:lnTo>
                    <a:pt x="170" y="138"/>
                  </a:lnTo>
                  <a:lnTo>
                    <a:pt x="167" y="141"/>
                  </a:lnTo>
                  <a:lnTo>
                    <a:pt x="162" y="143"/>
                  </a:lnTo>
                  <a:lnTo>
                    <a:pt x="155" y="144"/>
                  </a:lnTo>
                  <a:lnTo>
                    <a:pt x="147" y="144"/>
                  </a:lnTo>
                  <a:lnTo>
                    <a:pt x="136" y="144"/>
                  </a:lnTo>
                  <a:lnTo>
                    <a:pt x="121" y="143"/>
                  </a:lnTo>
                  <a:lnTo>
                    <a:pt x="106" y="139"/>
                  </a:lnTo>
                  <a:lnTo>
                    <a:pt x="91" y="134"/>
                  </a:lnTo>
                  <a:lnTo>
                    <a:pt x="77" y="128"/>
                  </a:lnTo>
                  <a:lnTo>
                    <a:pt x="66" y="119"/>
                  </a:lnTo>
                  <a:lnTo>
                    <a:pt x="54" y="111"/>
                  </a:lnTo>
                  <a:lnTo>
                    <a:pt x="44" y="99"/>
                  </a:lnTo>
                  <a:lnTo>
                    <a:pt x="35" y="86"/>
                  </a:lnTo>
                  <a:lnTo>
                    <a:pt x="17" y="75"/>
                  </a:lnTo>
                  <a:lnTo>
                    <a:pt x="0" y="67"/>
                  </a:lnTo>
                </a:path>
              </a:pathLst>
            </a:custGeom>
            <a:solidFill>
              <a:srgbClr val="CCECFF"/>
            </a:solidFill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33929" name="Freeform 64"/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1269" y="2371"/>
              <a:ext cx="653" cy="441"/>
            </a:xfrm>
            <a:custGeom>
              <a:avLst/>
              <a:gdLst>
                <a:gd name="T0" fmla="*/ 1 w 1146"/>
                <a:gd name="T1" fmla="*/ 9 h 755"/>
                <a:gd name="T2" fmla="*/ 23 w 1146"/>
                <a:gd name="T3" fmla="*/ 16 h 755"/>
                <a:gd name="T4" fmla="*/ 47 w 1146"/>
                <a:gd name="T5" fmla="*/ 12 h 755"/>
                <a:gd name="T6" fmla="*/ 79 w 1146"/>
                <a:gd name="T7" fmla="*/ 4 h 755"/>
                <a:gd name="T8" fmla="*/ 98 w 1146"/>
                <a:gd name="T9" fmla="*/ 1 h 755"/>
                <a:gd name="T10" fmla="*/ 115 w 1146"/>
                <a:gd name="T11" fmla="*/ 15 h 755"/>
                <a:gd name="T12" fmla="*/ 132 w 1146"/>
                <a:gd name="T13" fmla="*/ 23 h 755"/>
                <a:gd name="T14" fmla="*/ 156 w 1146"/>
                <a:gd name="T15" fmla="*/ 23 h 755"/>
                <a:gd name="T16" fmla="*/ 178 w 1146"/>
                <a:gd name="T17" fmla="*/ 33 h 755"/>
                <a:gd name="T18" fmla="*/ 201 w 1146"/>
                <a:gd name="T19" fmla="*/ 33 h 755"/>
                <a:gd name="T20" fmla="*/ 243 w 1146"/>
                <a:gd name="T21" fmla="*/ 60 h 755"/>
                <a:gd name="T22" fmla="*/ 267 w 1146"/>
                <a:gd name="T23" fmla="*/ 75 h 755"/>
                <a:gd name="T24" fmla="*/ 280 w 1146"/>
                <a:gd name="T25" fmla="*/ 76 h 755"/>
                <a:gd name="T26" fmla="*/ 289 w 1146"/>
                <a:gd name="T27" fmla="*/ 76 h 755"/>
                <a:gd name="T28" fmla="*/ 309 w 1146"/>
                <a:gd name="T29" fmla="*/ 89 h 755"/>
                <a:gd name="T30" fmla="*/ 315 w 1146"/>
                <a:gd name="T31" fmla="*/ 104 h 755"/>
                <a:gd name="T32" fmla="*/ 326 w 1146"/>
                <a:gd name="T33" fmla="*/ 107 h 755"/>
                <a:gd name="T34" fmla="*/ 333 w 1146"/>
                <a:gd name="T35" fmla="*/ 110 h 755"/>
                <a:gd name="T36" fmla="*/ 347 w 1146"/>
                <a:gd name="T37" fmla="*/ 119 h 755"/>
                <a:gd name="T38" fmla="*/ 354 w 1146"/>
                <a:gd name="T39" fmla="*/ 123 h 755"/>
                <a:gd name="T40" fmla="*/ 360 w 1146"/>
                <a:gd name="T41" fmla="*/ 127 h 755"/>
                <a:gd name="T42" fmla="*/ 362 w 1146"/>
                <a:gd name="T43" fmla="*/ 131 h 755"/>
                <a:gd name="T44" fmla="*/ 372 w 1146"/>
                <a:gd name="T45" fmla="*/ 154 h 755"/>
                <a:gd name="T46" fmla="*/ 366 w 1146"/>
                <a:gd name="T47" fmla="*/ 165 h 755"/>
                <a:gd name="T48" fmla="*/ 355 w 1146"/>
                <a:gd name="T49" fmla="*/ 167 h 755"/>
                <a:gd name="T50" fmla="*/ 341 w 1146"/>
                <a:gd name="T51" fmla="*/ 152 h 755"/>
                <a:gd name="T52" fmla="*/ 333 w 1146"/>
                <a:gd name="T53" fmla="*/ 130 h 755"/>
                <a:gd name="T54" fmla="*/ 310 w 1146"/>
                <a:gd name="T55" fmla="*/ 130 h 755"/>
                <a:gd name="T56" fmla="*/ 293 w 1146"/>
                <a:gd name="T57" fmla="*/ 137 h 755"/>
                <a:gd name="T58" fmla="*/ 291 w 1146"/>
                <a:gd name="T59" fmla="*/ 162 h 755"/>
                <a:gd name="T60" fmla="*/ 306 w 1146"/>
                <a:gd name="T61" fmla="*/ 178 h 755"/>
                <a:gd name="T62" fmla="*/ 315 w 1146"/>
                <a:gd name="T63" fmla="*/ 184 h 755"/>
                <a:gd name="T64" fmla="*/ 312 w 1146"/>
                <a:gd name="T65" fmla="*/ 199 h 755"/>
                <a:gd name="T66" fmla="*/ 297 w 1146"/>
                <a:gd name="T67" fmla="*/ 202 h 755"/>
                <a:gd name="T68" fmla="*/ 262 w 1146"/>
                <a:gd name="T69" fmla="*/ 216 h 755"/>
                <a:gd name="T70" fmla="*/ 246 w 1146"/>
                <a:gd name="T71" fmla="*/ 232 h 755"/>
                <a:gd name="T72" fmla="*/ 228 w 1146"/>
                <a:gd name="T73" fmla="*/ 232 h 755"/>
                <a:gd name="T74" fmla="*/ 201 w 1146"/>
                <a:gd name="T75" fmla="*/ 234 h 755"/>
                <a:gd name="T76" fmla="*/ 177 w 1146"/>
                <a:gd name="T77" fmla="*/ 246 h 755"/>
                <a:gd name="T78" fmla="*/ 161 w 1146"/>
                <a:gd name="T79" fmla="*/ 249 h 755"/>
                <a:gd name="T80" fmla="*/ 144 w 1146"/>
                <a:gd name="T81" fmla="*/ 255 h 755"/>
                <a:gd name="T82" fmla="*/ 125 w 1146"/>
                <a:gd name="T83" fmla="*/ 255 h 755"/>
                <a:gd name="T84" fmla="*/ 103 w 1146"/>
                <a:gd name="T85" fmla="*/ 256 h 755"/>
                <a:gd name="T86" fmla="*/ 72 w 1146"/>
                <a:gd name="T87" fmla="*/ 244 h 755"/>
                <a:gd name="T88" fmla="*/ 70 w 1146"/>
                <a:gd name="T89" fmla="*/ 234 h 755"/>
                <a:gd name="T90" fmla="*/ 76 w 1146"/>
                <a:gd name="T91" fmla="*/ 221 h 755"/>
                <a:gd name="T92" fmla="*/ 63 w 1146"/>
                <a:gd name="T93" fmla="*/ 217 h 755"/>
                <a:gd name="T94" fmla="*/ 66 w 1146"/>
                <a:gd name="T95" fmla="*/ 195 h 755"/>
                <a:gd name="T96" fmla="*/ 51 w 1146"/>
                <a:gd name="T97" fmla="*/ 186 h 755"/>
                <a:gd name="T98" fmla="*/ 38 w 1146"/>
                <a:gd name="T99" fmla="*/ 173 h 755"/>
                <a:gd name="T100" fmla="*/ 36 w 1146"/>
                <a:gd name="T101" fmla="*/ 135 h 755"/>
                <a:gd name="T102" fmla="*/ 34 w 1146"/>
                <a:gd name="T103" fmla="*/ 115 h 755"/>
                <a:gd name="T104" fmla="*/ 30 w 1146"/>
                <a:gd name="T105" fmla="*/ 71 h 755"/>
                <a:gd name="T106" fmla="*/ 21 w 1146"/>
                <a:gd name="T107" fmla="*/ 62 h 755"/>
                <a:gd name="T108" fmla="*/ 10 w 1146"/>
                <a:gd name="T109" fmla="*/ 47 h 755"/>
                <a:gd name="T110" fmla="*/ 6 w 1146"/>
                <a:gd name="T111" fmla="*/ 29 h 755"/>
                <a:gd name="T112" fmla="*/ 8 w 1146"/>
                <a:gd name="T113" fmla="*/ 23 h 755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1146" h="755">
                  <a:moveTo>
                    <a:pt x="25" y="59"/>
                  </a:moveTo>
                  <a:lnTo>
                    <a:pt x="14" y="47"/>
                  </a:lnTo>
                  <a:lnTo>
                    <a:pt x="2" y="34"/>
                  </a:lnTo>
                  <a:lnTo>
                    <a:pt x="0" y="31"/>
                  </a:lnTo>
                  <a:lnTo>
                    <a:pt x="0" y="27"/>
                  </a:lnTo>
                  <a:lnTo>
                    <a:pt x="2" y="26"/>
                  </a:lnTo>
                  <a:lnTo>
                    <a:pt x="3" y="22"/>
                  </a:lnTo>
                  <a:lnTo>
                    <a:pt x="12" y="19"/>
                  </a:lnTo>
                  <a:lnTo>
                    <a:pt x="24" y="17"/>
                  </a:lnTo>
                  <a:lnTo>
                    <a:pt x="39" y="37"/>
                  </a:lnTo>
                  <a:lnTo>
                    <a:pt x="54" y="56"/>
                  </a:lnTo>
                  <a:lnTo>
                    <a:pt x="71" y="46"/>
                  </a:lnTo>
                  <a:lnTo>
                    <a:pt x="86" y="34"/>
                  </a:lnTo>
                  <a:lnTo>
                    <a:pt x="94" y="32"/>
                  </a:lnTo>
                  <a:lnTo>
                    <a:pt x="104" y="31"/>
                  </a:lnTo>
                  <a:lnTo>
                    <a:pt x="113" y="32"/>
                  </a:lnTo>
                  <a:lnTo>
                    <a:pt x="123" y="34"/>
                  </a:lnTo>
                  <a:lnTo>
                    <a:pt x="145" y="34"/>
                  </a:lnTo>
                  <a:lnTo>
                    <a:pt x="168" y="32"/>
                  </a:lnTo>
                  <a:lnTo>
                    <a:pt x="192" y="32"/>
                  </a:lnTo>
                  <a:lnTo>
                    <a:pt x="214" y="31"/>
                  </a:lnTo>
                  <a:lnTo>
                    <a:pt x="222" y="22"/>
                  </a:lnTo>
                  <a:lnTo>
                    <a:pt x="231" y="17"/>
                  </a:lnTo>
                  <a:lnTo>
                    <a:pt x="242" y="12"/>
                  </a:lnTo>
                  <a:lnTo>
                    <a:pt x="258" y="7"/>
                  </a:lnTo>
                  <a:lnTo>
                    <a:pt x="264" y="4"/>
                  </a:lnTo>
                  <a:lnTo>
                    <a:pt x="273" y="0"/>
                  </a:lnTo>
                  <a:lnTo>
                    <a:pt x="281" y="0"/>
                  </a:lnTo>
                  <a:lnTo>
                    <a:pt x="293" y="2"/>
                  </a:lnTo>
                  <a:lnTo>
                    <a:pt x="301" y="4"/>
                  </a:lnTo>
                  <a:lnTo>
                    <a:pt x="310" y="5"/>
                  </a:lnTo>
                  <a:lnTo>
                    <a:pt x="317" y="10"/>
                  </a:lnTo>
                  <a:lnTo>
                    <a:pt x="322" y="17"/>
                  </a:lnTo>
                  <a:lnTo>
                    <a:pt x="332" y="27"/>
                  </a:lnTo>
                  <a:lnTo>
                    <a:pt x="342" y="36"/>
                  </a:lnTo>
                  <a:lnTo>
                    <a:pt x="354" y="42"/>
                  </a:lnTo>
                  <a:lnTo>
                    <a:pt x="365" y="46"/>
                  </a:lnTo>
                  <a:lnTo>
                    <a:pt x="374" y="53"/>
                  </a:lnTo>
                  <a:lnTo>
                    <a:pt x="381" y="58"/>
                  </a:lnTo>
                  <a:lnTo>
                    <a:pt x="389" y="61"/>
                  </a:lnTo>
                  <a:lnTo>
                    <a:pt x="397" y="64"/>
                  </a:lnTo>
                  <a:lnTo>
                    <a:pt x="406" y="66"/>
                  </a:lnTo>
                  <a:lnTo>
                    <a:pt x="414" y="68"/>
                  </a:lnTo>
                  <a:lnTo>
                    <a:pt x="421" y="68"/>
                  </a:lnTo>
                  <a:lnTo>
                    <a:pt x="429" y="68"/>
                  </a:lnTo>
                  <a:lnTo>
                    <a:pt x="453" y="64"/>
                  </a:lnTo>
                  <a:lnTo>
                    <a:pt x="471" y="66"/>
                  </a:lnTo>
                  <a:lnTo>
                    <a:pt x="480" y="68"/>
                  </a:lnTo>
                  <a:lnTo>
                    <a:pt x="488" y="69"/>
                  </a:lnTo>
                  <a:lnTo>
                    <a:pt x="495" y="74"/>
                  </a:lnTo>
                  <a:lnTo>
                    <a:pt x="500" y="79"/>
                  </a:lnTo>
                  <a:lnTo>
                    <a:pt x="517" y="88"/>
                  </a:lnTo>
                  <a:lnTo>
                    <a:pt x="534" y="95"/>
                  </a:lnTo>
                  <a:lnTo>
                    <a:pt x="549" y="98"/>
                  </a:lnTo>
                  <a:lnTo>
                    <a:pt x="564" y="98"/>
                  </a:lnTo>
                  <a:lnTo>
                    <a:pt x="571" y="93"/>
                  </a:lnTo>
                  <a:lnTo>
                    <a:pt x="579" y="90"/>
                  </a:lnTo>
                  <a:lnTo>
                    <a:pt x="588" y="88"/>
                  </a:lnTo>
                  <a:lnTo>
                    <a:pt x="598" y="90"/>
                  </a:lnTo>
                  <a:lnTo>
                    <a:pt x="620" y="96"/>
                  </a:lnTo>
                  <a:lnTo>
                    <a:pt x="641" y="106"/>
                  </a:lnTo>
                  <a:lnTo>
                    <a:pt x="668" y="120"/>
                  </a:lnTo>
                  <a:lnTo>
                    <a:pt x="694" y="133"/>
                  </a:lnTo>
                  <a:lnTo>
                    <a:pt x="715" y="150"/>
                  </a:lnTo>
                  <a:lnTo>
                    <a:pt x="736" y="167"/>
                  </a:lnTo>
                  <a:lnTo>
                    <a:pt x="749" y="177"/>
                  </a:lnTo>
                  <a:lnTo>
                    <a:pt x="764" y="189"/>
                  </a:lnTo>
                  <a:lnTo>
                    <a:pt x="778" y="199"/>
                  </a:lnTo>
                  <a:lnTo>
                    <a:pt x="791" y="209"/>
                  </a:lnTo>
                  <a:lnTo>
                    <a:pt x="806" y="212"/>
                  </a:lnTo>
                  <a:lnTo>
                    <a:pt x="818" y="218"/>
                  </a:lnTo>
                  <a:lnTo>
                    <a:pt x="823" y="221"/>
                  </a:lnTo>
                  <a:lnTo>
                    <a:pt x="827" y="224"/>
                  </a:lnTo>
                  <a:lnTo>
                    <a:pt x="830" y="229"/>
                  </a:lnTo>
                  <a:lnTo>
                    <a:pt x="832" y="234"/>
                  </a:lnTo>
                  <a:lnTo>
                    <a:pt x="842" y="233"/>
                  </a:lnTo>
                  <a:lnTo>
                    <a:pt x="854" y="228"/>
                  </a:lnTo>
                  <a:lnTo>
                    <a:pt x="862" y="223"/>
                  </a:lnTo>
                  <a:lnTo>
                    <a:pt x="870" y="218"/>
                  </a:lnTo>
                  <a:lnTo>
                    <a:pt x="874" y="216"/>
                  </a:lnTo>
                  <a:lnTo>
                    <a:pt x="877" y="214"/>
                  </a:lnTo>
                  <a:lnTo>
                    <a:pt x="880" y="214"/>
                  </a:lnTo>
                  <a:lnTo>
                    <a:pt x="884" y="216"/>
                  </a:lnTo>
                  <a:lnTo>
                    <a:pt x="891" y="223"/>
                  </a:lnTo>
                  <a:lnTo>
                    <a:pt x="899" y="234"/>
                  </a:lnTo>
                  <a:lnTo>
                    <a:pt x="916" y="243"/>
                  </a:lnTo>
                  <a:lnTo>
                    <a:pt x="924" y="248"/>
                  </a:lnTo>
                  <a:lnTo>
                    <a:pt x="934" y="253"/>
                  </a:lnTo>
                  <a:lnTo>
                    <a:pt x="944" y="256"/>
                  </a:lnTo>
                  <a:lnTo>
                    <a:pt x="951" y="261"/>
                  </a:lnTo>
                  <a:lnTo>
                    <a:pt x="958" y="266"/>
                  </a:lnTo>
                  <a:lnTo>
                    <a:pt x="961" y="273"/>
                  </a:lnTo>
                  <a:lnTo>
                    <a:pt x="965" y="280"/>
                  </a:lnTo>
                  <a:lnTo>
                    <a:pt x="966" y="287"/>
                  </a:lnTo>
                  <a:lnTo>
                    <a:pt x="966" y="293"/>
                  </a:lnTo>
                  <a:lnTo>
                    <a:pt x="968" y="305"/>
                  </a:lnTo>
                  <a:lnTo>
                    <a:pt x="971" y="314"/>
                  </a:lnTo>
                  <a:lnTo>
                    <a:pt x="973" y="315"/>
                  </a:lnTo>
                  <a:lnTo>
                    <a:pt x="978" y="317"/>
                  </a:lnTo>
                  <a:lnTo>
                    <a:pt x="983" y="317"/>
                  </a:lnTo>
                  <a:lnTo>
                    <a:pt x="990" y="315"/>
                  </a:lnTo>
                  <a:lnTo>
                    <a:pt x="1003" y="315"/>
                  </a:lnTo>
                  <a:lnTo>
                    <a:pt x="1012" y="317"/>
                  </a:lnTo>
                  <a:lnTo>
                    <a:pt x="1013" y="319"/>
                  </a:lnTo>
                  <a:lnTo>
                    <a:pt x="1015" y="320"/>
                  </a:lnTo>
                  <a:lnTo>
                    <a:pt x="1017" y="324"/>
                  </a:lnTo>
                  <a:lnTo>
                    <a:pt x="1015" y="327"/>
                  </a:lnTo>
                  <a:lnTo>
                    <a:pt x="1027" y="324"/>
                  </a:lnTo>
                  <a:lnTo>
                    <a:pt x="1037" y="322"/>
                  </a:lnTo>
                  <a:lnTo>
                    <a:pt x="1045" y="324"/>
                  </a:lnTo>
                  <a:lnTo>
                    <a:pt x="1052" y="327"/>
                  </a:lnTo>
                  <a:lnTo>
                    <a:pt x="1059" y="332"/>
                  </a:lnTo>
                  <a:lnTo>
                    <a:pt x="1064" y="339"/>
                  </a:lnTo>
                  <a:lnTo>
                    <a:pt x="1069" y="347"/>
                  </a:lnTo>
                  <a:lnTo>
                    <a:pt x="1074" y="357"/>
                  </a:lnTo>
                  <a:lnTo>
                    <a:pt x="1074" y="371"/>
                  </a:lnTo>
                  <a:lnTo>
                    <a:pt x="1074" y="383"/>
                  </a:lnTo>
                  <a:lnTo>
                    <a:pt x="1079" y="374"/>
                  </a:lnTo>
                  <a:lnTo>
                    <a:pt x="1086" y="366"/>
                  </a:lnTo>
                  <a:lnTo>
                    <a:pt x="1091" y="359"/>
                  </a:lnTo>
                  <a:lnTo>
                    <a:pt x="1099" y="354"/>
                  </a:lnTo>
                  <a:lnTo>
                    <a:pt x="1108" y="351"/>
                  </a:lnTo>
                  <a:lnTo>
                    <a:pt x="1113" y="352"/>
                  </a:lnTo>
                  <a:lnTo>
                    <a:pt x="1114" y="357"/>
                  </a:lnTo>
                  <a:lnTo>
                    <a:pt x="1114" y="366"/>
                  </a:lnTo>
                  <a:lnTo>
                    <a:pt x="1109" y="371"/>
                  </a:lnTo>
                  <a:lnTo>
                    <a:pt x="1103" y="378"/>
                  </a:lnTo>
                  <a:lnTo>
                    <a:pt x="1109" y="376"/>
                  </a:lnTo>
                  <a:lnTo>
                    <a:pt x="1116" y="376"/>
                  </a:lnTo>
                  <a:lnTo>
                    <a:pt x="1118" y="376"/>
                  </a:lnTo>
                  <a:lnTo>
                    <a:pt x="1118" y="378"/>
                  </a:lnTo>
                  <a:lnTo>
                    <a:pt x="1116" y="383"/>
                  </a:lnTo>
                  <a:lnTo>
                    <a:pt x="1113" y="386"/>
                  </a:lnTo>
                  <a:lnTo>
                    <a:pt x="1121" y="404"/>
                  </a:lnTo>
                  <a:lnTo>
                    <a:pt x="1131" y="425"/>
                  </a:lnTo>
                  <a:lnTo>
                    <a:pt x="1138" y="433"/>
                  </a:lnTo>
                  <a:lnTo>
                    <a:pt x="1145" y="442"/>
                  </a:lnTo>
                  <a:lnTo>
                    <a:pt x="1146" y="452"/>
                  </a:lnTo>
                  <a:lnTo>
                    <a:pt x="1146" y="462"/>
                  </a:lnTo>
                  <a:lnTo>
                    <a:pt x="1143" y="462"/>
                  </a:lnTo>
                  <a:lnTo>
                    <a:pt x="1138" y="463"/>
                  </a:lnTo>
                  <a:lnTo>
                    <a:pt x="1133" y="470"/>
                  </a:lnTo>
                  <a:lnTo>
                    <a:pt x="1130" y="477"/>
                  </a:lnTo>
                  <a:lnTo>
                    <a:pt x="1126" y="484"/>
                  </a:lnTo>
                  <a:lnTo>
                    <a:pt x="1123" y="490"/>
                  </a:lnTo>
                  <a:lnTo>
                    <a:pt x="1119" y="494"/>
                  </a:lnTo>
                  <a:lnTo>
                    <a:pt x="1114" y="494"/>
                  </a:lnTo>
                  <a:lnTo>
                    <a:pt x="1108" y="494"/>
                  </a:lnTo>
                  <a:lnTo>
                    <a:pt x="1101" y="492"/>
                  </a:lnTo>
                  <a:lnTo>
                    <a:pt x="1094" y="489"/>
                  </a:lnTo>
                  <a:lnTo>
                    <a:pt x="1086" y="484"/>
                  </a:lnTo>
                  <a:lnTo>
                    <a:pt x="1079" y="479"/>
                  </a:lnTo>
                  <a:lnTo>
                    <a:pt x="1071" y="472"/>
                  </a:lnTo>
                  <a:lnTo>
                    <a:pt x="1064" y="463"/>
                  </a:lnTo>
                  <a:lnTo>
                    <a:pt x="1056" y="455"/>
                  </a:lnTo>
                  <a:lnTo>
                    <a:pt x="1049" y="445"/>
                  </a:lnTo>
                  <a:lnTo>
                    <a:pt x="1044" y="435"/>
                  </a:lnTo>
                  <a:lnTo>
                    <a:pt x="1039" y="425"/>
                  </a:lnTo>
                  <a:lnTo>
                    <a:pt x="1034" y="413"/>
                  </a:lnTo>
                  <a:lnTo>
                    <a:pt x="1032" y="401"/>
                  </a:lnTo>
                  <a:lnTo>
                    <a:pt x="1030" y="388"/>
                  </a:lnTo>
                  <a:lnTo>
                    <a:pt x="1027" y="381"/>
                  </a:lnTo>
                  <a:lnTo>
                    <a:pt x="1020" y="378"/>
                  </a:lnTo>
                  <a:lnTo>
                    <a:pt x="1013" y="378"/>
                  </a:lnTo>
                  <a:lnTo>
                    <a:pt x="1007" y="379"/>
                  </a:lnTo>
                  <a:lnTo>
                    <a:pt x="988" y="381"/>
                  </a:lnTo>
                  <a:lnTo>
                    <a:pt x="971" y="381"/>
                  </a:lnTo>
                  <a:lnTo>
                    <a:pt x="955" y="381"/>
                  </a:lnTo>
                  <a:lnTo>
                    <a:pt x="936" y="383"/>
                  </a:lnTo>
                  <a:lnTo>
                    <a:pt x="926" y="383"/>
                  </a:lnTo>
                  <a:lnTo>
                    <a:pt x="917" y="384"/>
                  </a:lnTo>
                  <a:lnTo>
                    <a:pt x="912" y="389"/>
                  </a:lnTo>
                  <a:lnTo>
                    <a:pt x="907" y="394"/>
                  </a:lnTo>
                  <a:lnTo>
                    <a:pt x="904" y="403"/>
                  </a:lnTo>
                  <a:lnTo>
                    <a:pt x="901" y="411"/>
                  </a:lnTo>
                  <a:lnTo>
                    <a:pt x="899" y="421"/>
                  </a:lnTo>
                  <a:lnTo>
                    <a:pt x="899" y="431"/>
                  </a:lnTo>
                  <a:lnTo>
                    <a:pt x="897" y="445"/>
                  </a:lnTo>
                  <a:lnTo>
                    <a:pt x="897" y="460"/>
                  </a:lnTo>
                  <a:lnTo>
                    <a:pt x="897" y="475"/>
                  </a:lnTo>
                  <a:lnTo>
                    <a:pt x="897" y="490"/>
                  </a:lnTo>
                  <a:lnTo>
                    <a:pt x="907" y="500"/>
                  </a:lnTo>
                  <a:lnTo>
                    <a:pt x="919" y="511"/>
                  </a:lnTo>
                  <a:lnTo>
                    <a:pt x="926" y="516"/>
                  </a:lnTo>
                  <a:lnTo>
                    <a:pt x="933" y="519"/>
                  </a:lnTo>
                  <a:lnTo>
                    <a:pt x="943" y="521"/>
                  </a:lnTo>
                  <a:lnTo>
                    <a:pt x="953" y="522"/>
                  </a:lnTo>
                  <a:lnTo>
                    <a:pt x="963" y="526"/>
                  </a:lnTo>
                  <a:lnTo>
                    <a:pt x="968" y="531"/>
                  </a:lnTo>
                  <a:lnTo>
                    <a:pt x="970" y="532"/>
                  </a:lnTo>
                  <a:lnTo>
                    <a:pt x="970" y="536"/>
                  </a:lnTo>
                  <a:lnTo>
                    <a:pt x="968" y="539"/>
                  </a:lnTo>
                  <a:lnTo>
                    <a:pt x="965" y="543"/>
                  </a:lnTo>
                  <a:lnTo>
                    <a:pt x="960" y="556"/>
                  </a:lnTo>
                  <a:lnTo>
                    <a:pt x="955" y="568"/>
                  </a:lnTo>
                  <a:lnTo>
                    <a:pt x="960" y="575"/>
                  </a:lnTo>
                  <a:lnTo>
                    <a:pt x="961" y="580"/>
                  </a:lnTo>
                  <a:lnTo>
                    <a:pt x="961" y="583"/>
                  </a:lnTo>
                  <a:lnTo>
                    <a:pt x="960" y="586"/>
                  </a:lnTo>
                  <a:lnTo>
                    <a:pt x="956" y="588"/>
                  </a:lnTo>
                  <a:lnTo>
                    <a:pt x="951" y="590"/>
                  </a:lnTo>
                  <a:lnTo>
                    <a:pt x="946" y="588"/>
                  </a:lnTo>
                  <a:lnTo>
                    <a:pt x="941" y="586"/>
                  </a:lnTo>
                  <a:lnTo>
                    <a:pt x="914" y="591"/>
                  </a:lnTo>
                  <a:lnTo>
                    <a:pt x="887" y="600"/>
                  </a:lnTo>
                  <a:lnTo>
                    <a:pt x="862" y="610"/>
                  </a:lnTo>
                  <a:lnTo>
                    <a:pt x="835" y="620"/>
                  </a:lnTo>
                  <a:lnTo>
                    <a:pt x="825" y="623"/>
                  </a:lnTo>
                  <a:lnTo>
                    <a:pt x="816" y="628"/>
                  </a:lnTo>
                  <a:lnTo>
                    <a:pt x="808" y="633"/>
                  </a:lnTo>
                  <a:lnTo>
                    <a:pt x="801" y="640"/>
                  </a:lnTo>
                  <a:lnTo>
                    <a:pt x="788" y="652"/>
                  </a:lnTo>
                  <a:lnTo>
                    <a:pt x="778" y="664"/>
                  </a:lnTo>
                  <a:lnTo>
                    <a:pt x="771" y="672"/>
                  </a:lnTo>
                  <a:lnTo>
                    <a:pt x="764" y="677"/>
                  </a:lnTo>
                  <a:lnTo>
                    <a:pt x="758" y="681"/>
                  </a:lnTo>
                  <a:lnTo>
                    <a:pt x="751" y="682"/>
                  </a:lnTo>
                  <a:lnTo>
                    <a:pt x="744" y="682"/>
                  </a:lnTo>
                  <a:lnTo>
                    <a:pt x="736" y="682"/>
                  </a:lnTo>
                  <a:lnTo>
                    <a:pt x="729" y="681"/>
                  </a:lnTo>
                  <a:lnTo>
                    <a:pt x="721" y="677"/>
                  </a:lnTo>
                  <a:lnTo>
                    <a:pt x="704" y="681"/>
                  </a:lnTo>
                  <a:lnTo>
                    <a:pt x="687" y="682"/>
                  </a:lnTo>
                  <a:lnTo>
                    <a:pt x="672" y="681"/>
                  </a:lnTo>
                  <a:lnTo>
                    <a:pt x="658" y="677"/>
                  </a:lnTo>
                  <a:lnTo>
                    <a:pt x="641" y="679"/>
                  </a:lnTo>
                  <a:lnTo>
                    <a:pt x="628" y="682"/>
                  </a:lnTo>
                  <a:lnTo>
                    <a:pt x="618" y="686"/>
                  </a:lnTo>
                  <a:lnTo>
                    <a:pt x="606" y="692"/>
                  </a:lnTo>
                  <a:lnTo>
                    <a:pt x="594" y="701"/>
                  </a:lnTo>
                  <a:lnTo>
                    <a:pt x="583" y="706"/>
                  </a:lnTo>
                  <a:lnTo>
                    <a:pt x="569" y="709"/>
                  </a:lnTo>
                  <a:lnTo>
                    <a:pt x="556" y="711"/>
                  </a:lnTo>
                  <a:lnTo>
                    <a:pt x="544" y="721"/>
                  </a:lnTo>
                  <a:lnTo>
                    <a:pt x="534" y="731"/>
                  </a:lnTo>
                  <a:lnTo>
                    <a:pt x="525" y="736"/>
                  </a:lnTo>
                  <a:lnTo>
                    <a:pt x="519" y="738"/>
                  </a:lnTo>
                  <a:lnTo>
                    <a:pt x="510" y="738"/>
                  </a:lnTo>
                  <a:lnTo>
                    <a:pt x="502" y="735"/>
                  </a:lnTo>
                  <a:lnTo>
                    <a:pt x="497" y="731"/>
                  </a:lnTo>
                  <a:lnTo>
                    <a:pt x="492" y="731"/>
                  </a:lnTo>
                  <a:lnTo>
                    <a:pt x="485" y="731"/>
                  </a:lnTo>
                  <a:lnTo>
                    <a:pt x="478" y="731"/>
                  </a:lnTo>
                  <a:lnTo>
                    <a:pt x="465" y="736"/>
                  </a:lnTo>
                  <a:lnTo>
                    <a:pt x="450" y="741"/>
                  </a:lnTo>
                  <a:lnTo>
                    <a:pt x="443" y="746"/>
                  </a:lnTo>
                  <a:lnTo>
                    <a:pt x="436" y="750"/>
                  </a:lnTo>
                  <a:lnTo>
                    <a:pt x="429" y="751"/>
                  </a:lnTo>
                  <a:lnTo>
                    <a:pt x="423" y="753"/>
                  </a:lnTo>
                  <a:lnTo>
                    <a:pt x="407" y="753"/>
                  </a:lnTo>
                  <a:lnTo>
                    <a:pt x="394" y="751"/>
                  </a:lnTo>
                  <a:lnTo>
                    <a:pt x="384" y="748"/>
                  </a:lnTo>
                  <a:lnTo>
                    <a:pt x="375" y="748"/>
                  </a:lnTo>
                  <a:lnTo>
                    <a:pt x="365" y="750"/>
                  </a:lnTo>
                  <a:lnTo>
                    <a:pt x="357" y="751"/>
                  </a:lnTo>
                  <a:lnTo>
                    <a:pt x="343" y="755"/>
                  </a:lnTo>
                  <a:lnTo>
                    <a:pt x="330" y="755"/>
                  </a:lnTo>
                  <a:lnTo>
                    <a:pt x="317" y="751"/>
                  </a:lnTo>
                  <a:lnTo>
                    <a:pt x="305" y="745"/>
                  </a:lnTo>
                  <a:lnTo>
                    <a:pt x="286" y="738"/>
                  </a:lnTo>
                  <a:lnTo>
                    <a:pt x="269" y="731"/>
                  </a:lnTo>
                  <a:lnTo>
                    <a:pt x="251" y="724"/>
                  </a:lnTo>
                  <a:lnTo>
                    <a:pt x="234" y="718"/>
                  </a:lnTo>
                  <a:lnTo>
                    <a:pt x="222" y="714"/>
                  </a:lnTo>
                  <a:lnTo>
                    <a:pt x="214" y="709"/>
                  </a:lnTo>
                  <a:lnTo>
                    <a:pt x="209" y="706"/>
                  </a:lnTo>
                  <a:lnTo>
                    <a:pt x="207" y="701"/>
                  </a:lnTo>
                  <a:lnTo>
                    <a:pt x="207" y="696"/>
                  </a:lnTo>
                  <a:lnTo>
                    <a:pt x="210" y="689"/>
                  </a:lnTo>
                  <a:lnTo>
                    <a:pt x="216" y="684"/>
                  </a:lnTo>
                  <a:lnTo>
                    <a:pt x="222" y="677"/>
                  </a:lnTo>
                  <a:lnTo>
                    <a:pt x="237" y="665"/>
                  </a:lnTo>
                  <a:lnTo>
                    <a:pt x="244" y="655"/>
                  </a:lnTo>
                  <a:lnTo>
                    <a:pt x="244" y="652"/>
                  </a:lnTo>
                  <a:lnTo>
                    <a:pt x="241" y="650"/>
                  </a:lnTo>
                  <a:lnTo>
                    <a:pt x="234" y="649"/>
                  </a:lnTo>
                  <a:lnTo>
                    <a:pt x="222" y="649"/>
                  </a:lnTo>
                  <a:lnTo>
                    <a:pt x="214" y="649"/>
                  </a:lnTo>
                  <a:lnTo>
                    <a:pt x="207" y="647"/>
                  </a:lnTo>
                  <a:lnTo>
                    <a:pt x="202" y="645"/>
                  </a:lnTo>
                  <a:lnTo>
                    <a:pt x="197" y="640"/>
                  </a:lnTo>
                  <a:lnTo>
                    <a:pt x="195" y="635"/>
                  </a:lnTo>
                  <a:lnTo>
                    <a:pt x="194" y="628"/>
                  </a:lnTo>
                  <a:lnTo>
                    <a:pt x="195" y="618"/>
                  </a:lnTo>
                  <a:lnTo>
                    <a:pt x="199" y="608"/>
                  </a:lnTo>
                  <a:lnTo>
                    <a:pt x="202" y="595"/>
                  </a:lnTo>
                  <a:lnTo>
                    <a:pt x="204" y="581"/>
                  </a:lnTo>
                  <a:lnTo>
                    <a:pt x="202" y="571"/>
                  </a:lnTo>
                  <a:lnTo>
                    <a:pt x="200" y="564"/>
                  </a:lnTo>
                  <a:lnTo>
                    <a:pt x="195" y="558"/>
                  </a:lnTo>
                  <a:lnTo>
                    <a:pt x="190" y="553"/>
                  </a:lnTo>
                  <a:lnTo>
                    <a:pt x="182" y="549"/>
                  </a:lnTo>
                  <a:lnTo>
                    <a:pt x="172" y="549"/>
                  </a:lnTo>
                  <a:lnTo>
                    <a:pt x="158" y="546"/>
                  </a:lnTo>
                  <a:lnTo>
                    <a:pt x="145" y="541"/>
                  </a:lnTo>
                  <a:lnTo>
                    <a:pt x="131" y="534"/>
                  </a:lnTo>
                  <a:lnTo>
                    <a:pt x="120" y="526"/>
                  </a:lnTo>
                  <a:lnTo>
                    <a:pt x="120" y="521"/>
                  </a:lnTo>
                  <a:lnTo>
                    <a:pt x="120" y="516"/>
                  </a:lnTo>
                  <a:lnTo>
                    <a:pt x="115" y="506"/>
                  </a:lnTo>
                  <a:lnTo>
                    <a:pt x="110" y="497"/>
                  </a:lnTo>
                  <a:lnTo>
                    <a:pt x="116" y="480"/>
                  </a:lnTo>
                  <a:lnTo>
                    <a:pt x="123" y="463"/>
                  </a:lnTo>
                  <a:lnTo>
                    <a:pt x="115" y="442"/>
                  </a:lnTo>
                  <a:lnTo>
                    <a:pt x="108" y="420"/>
                  </a:lnTo>
                  <a:lnTo>
                    <a:pt x="113" y="396"/>
                  </a:lnTo>
                  <a:lnTo>
                    <a:pt x="118" y="374"/>
                  </a:lnTo>
                  <a:lnTo>
                    <a:pt x="108" y="372"/>
                  </a:lnTo>
                  <a:lnTo>
                    <a:pt x="98" y="371"/>
                  </a:lnTo>
                  <a:lnTo>
                    <a:pt x="98" y="361"/>
                  </a:lnTo>
                  <a:lnTo>
                    <a:pt x="101" y="351"/>
                  </a:lnTo>
                  <a:lnTo>
                    <a:pt x="106" y="337"/>
                  </a:lnTo>
                  <a:lnTo>
                    <a:pt x="115" y="324"/>
                  </a:lnTo>
                  <a:lnTo>
                    <a:pt x="110" y="293"/>
                  </a:lnTo>
                  <a:lnTo>
                    <a:pt x="106" y="265"/>
                  </a:lnTo>
                  <a:lnTo>
                    <a:pt x="103" y="234"/>
                  </a:lnTo>
                  <a:lnTo>
                    <a:pt x="99" y="206"/>
                  </a:lnTo>
                  <a:lnTo>
                    <a:pt x="93" y="207"/>
                  </a:lnTo>
                  <a:lnTo>
                    <a:pt x="86" y="207"/>
                  </a:lnTo>
                  <a:lnTo>
                    <a:pt x="81" y="207"/>
                  </a:lnTo>
                  <a:lnTo>
                    <a:pt x="78" y="204"/>
                  </a:lnTo>
                  <a:lnTo>
                    <a:pt x="72" y="197"/>
                  </a:lnTo>
                  <a:lnTo>
                    <a:pt x="67" y="191"/>
                  </a:lnTo>
                  <a:lnTo>
                    <a:pt x="64" y="182"/>
                  </a:lnTo>
                  <a:lnTo>
                    <a:pt x="61" y="174"/>
                  </a:lnTo>
                  <a:lnTo>
                    <a:pt x="57" y="169"/>
                  </a:lnTo>
                  <a:lnTo>
                    <a:pt x="51" y="162"/>
                  </a:lnTo>
                  <a:lnTo>
                    <a:pt x="40" y="152"/>
                  </a:lnTo>
                  <a:lnTo>
                    <a:pt x="27" y="142"/>
                  </a:lnTo>
                  <a:lnTo>
                    <a:pt x="32" y="137"/>
                  </a:lnTo>
                  <a:lnTo>
                    <a:pt x="34" y="130"/>
                  </a:lnTo>
                  <a:lnTo>
                    <a:pt x="35" y="123"/>
                  </a:lnTo>
                  <a:lnTo>
                    <a:pt x="34" y="115"/>
                  </a:lnTo>
                  <a:lnTo>
                    <a:pt x="30" y="106"/>
                  </a:lnTo>
                  <a:lnTo>
                    <a:pt x="25" y="96"/>
                  </a:lnTo>
                  <a:lnTo>
                    <a:pt x="19" y="85"/>
                  </a:lnTo>
                  <a:lnTo>
                    <a:pt x="10" y="73"/>
                  </a:lnTo>
                  <a:lnTo>
                    <a:pt x="12" y="74"/>
                  </a:lnTo>
                  <a:lnTo>
                    <a:pt x="17" y="73"/>
                  </a:lnTo>
                  <a:lnTo>
                    <a:pt x="20" y="73"/>
                  </a:lnTo>
                  <a:lnTo>
                    <a:pt x="22" y="69"/>
                  </a:lnTo>
                  <a:lnTo>
                    <a:pt x="24" y="66"/>
                  </a:lnTo>
                  <a:lnTo>
                    <a:pt x="25" y="59"/>
                  </a:lnTo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28575" cap="flat" cmpd="sng">
              <a:solidFill>
                <a:schemeClr val="bg1"/>
              </a:solidFill>
              <a:prstDash val="dash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33930" name="Freeform 65"/>
            <p:cNvSpPr>
              <a:spLocks/>
            </p:cNvSpPr>
            <p:nvPr>
              <p:custDataLst>
                <p:tags r:id="rId15"/>
              </p:custDataLst>
            </p:nvPr>
          </p:nvSpPr>
          <p:spPr bwMode="auto">
            <a:xfrm>
              <a:off x="1499" y="2588"/>
              <a:ext cx="659" cy="644"/>
            </a:xfrm>
            <a:custGeom>
              <a:avLst/>
              <a:gdLst>
                <a:gd name="T0" fmla="*/ 313 w 1156"/>
                <a:gd name="T1" fmla="*/ 286 h 1098"/>
                <a:gd name="T2" fmla="*/ 276 w 1156"/>
                <a:gd name="T3" fmla="*/ 303 h 1098"/>
                <a:gd name="T4" fmla="*/ 261 w 1156"/>
                <a:gd name="T5" fmla="*/ 290 h 1098"/>
                <a:gd name="T6" fmla="*/ 245 w 1156"/>
                <a:gd name="T7" fmla="*/ 271 h 1098"/>
                <a:gd name="T8" fmla="*/ 243 w 1156"/>
                <a:gd name="T9" fmla="*/ 252 h 1098"/>
                <a:gd name="T10" fmla="*/ 246 w 1156"/>
                <a:gd name="T11" fmla="*/ 239 h 1098"/>
                <a:gd name="T12" fmla="*/ 240 w 1156"/>
                <a:gd name="T13" fmla="*/ 210 h 1098"/>
                <a:gd name="T14" fmla="*/ 230 w 1156"/>
                <a:gd name="T15" fmla="*/ 239 h 1098"/>
                <a:gd name="T16" fmla="*/ 213 w 1156"/>
                <a:gd name="T17" fmla="*/ 228 h 1098"/>
                <a:gd name="T18" fmla="*/ 212 w 1156"/>
                <a:gd name="T19" fmla="*/ 247 h 1098"/>
                <a:gd name="T20" fmla="*/ 198 w 1156"/>
                <a:gd name="T21" fmla="*/ 250 h 1098"/>
                <a:gd name="T22" fmla="*/ 205 w 1156"/>
                <a:gd name="T23" fmla="*/ 287 h 1098"/>
                <a:gd name="T24" fmla="*/ 228 w 1156"/>
                <a:gd name="T25" fmla="*/ 307 h 1098"/>
                <a:gd name="T26" fmla="*/ 217 w 1156"/>
                <a:gd name="T27" fmla="*/ 355 h 1098"/>
                <a:gd name="T28" fmla="*/ 188 w 1156"/>
                <a:gd name="T29" fmla="*/ 368 h 1098"/>
                <a:gd name="T30" fmla="*/ 168 w 1156"/>
                <a:gd name="T31" fmla="*/ 369 h 1098"/>
                <a:gd name="T32" fmla="*/ 150 w 1156"/>
                <a:gd name="T33" fmla="*/ 355 h 1098"/>
                <a:gd name="T34" fmla="*/ 133 w 1156"/>
                <a:gd name="T35" fmla="*/ 364 h 1098"/>
                <a:gd name="T36" fmla="*/ 116 w 1156"/>
                <a:gd name="T37" fmla="*/ 335 h 1098"/>
                <a:gd name="T38" fmla="*/ 147 w 1156"/>
                <a:gd name="T39" fmla="*/ 273 h 1098"/>
                <a:gd name="T40" fmla="*/ 129 w 1156"/>
                <a:gd name="T41" fmla="*/ 244 h 1098"/>
                <a:gd name="T42" fmla="*/ 121 w 1156"/>
                <a:gd name="T43" fmla="*/ 206 h 1098"/>
                <a:gd name="T44" fmla="*/ 104 w 1156"/>
                <a:gd name="T45" fmla="*/ 218 h 1098"/>
                <a:gd name="T46" fmla="*/ 100 w 1156"/>
                <a:gd name="T47" fmla="*/ 192 h 1098"/>
                <a:gd name="T48" fmla="*/ 80 w 1156"/>
                <a:gd name="T49" fmla="*/ 195 h 1098"/>
                <a:gd name="T50" fmla="*/ 50 w 1156"/>
                <a:gd name="T51" fmla="*/ 188 h 1098"/>
                <a:gd name="T52" fmla="*/ 35 w 1156"/>
                <a:gd name="T53" fmla="*/ 179 h 1098"/>
                <a:gd name="T54" fmla="*/ 22 w 1156"/>
                <a:gd name="T55" fmla="*/ 167 h 1098"/>
                <a:gd name="T56" fmla="*/ 15 w 1156"/>
                <a:gd name="T57" fmla="*/ 138 h 1098"/>
                <a:gd name="T58" fmla="*/ 1 w 1156"/>
                <a:gd name="T59" fmla="*/ 143 h 1098"/>
                <a:gd name="T60" fmla="*/ 22 w 1156"/>
                <a:gd name="T61" fmla="*/ 126 h 1098"/>
                <a:gd name="T62" fmla="*/ 51 w 1156"/>
                <a:gd name="T63" fmla="*/ 118 h 1098"/>
                <a:gd name="T64" fmla="*/ 101 w 1156"/>
                <a:gd name="T65" fmla="*/ 107 h 1098"/>
                <a:gd name="T66" fmla="*/ 129 w 1156"/>
                <a:gd name="T67" fmla="*/ 92 h 1098"/>
                <a:gd name="T68" fmla="*/ 178 w 1156"/>
                <a:gd name="T69" fmla="*/ 76 h 1098"/>
                <a:gd name="T70" fmla="*/ 180 w 1156"/>
                <a:gd name="T71" fmla="*/ 55 h 1098"/>
                <a:gd name="T72" fmla="*/ 158 w 1156"/>
                <a:gd name="T73" fmla="*/ 22 h 1098"/>
                <a:gd name="T74" fmla="*/ 188 w 1156"/>
                <a:gd name="T75" fmla="*/ 5 h 1098"/>
                <a:gd name="T76" fmla="*/ 210 w 1156"/>
                <a:gd name="T77" fmla="*/ 30 h 1098"/>
                <a:gd name="T78" fmla="*/ 233 w 1156"/>
                <a:gd name="T79" fmla="*/ 40 h 1098"/>
                <a:gd name="T80" fmla="*/ 228 w 1156"/>
                <a:gd name="T81" fmla="*/ 7 h 1098"/>
                <a:gd name="T82" fmla="*/ 240 w 1156"/>
                <a:gd name="T83" fmla="*/ 0 h 1098"/>
                <a:gd name="T84" fmla="*/ 254 w 1156"/>
                <a:gd name="T85" fmla="*/ 6 h 1098"/>
                <a:gd name="T86" fmla="*/ 265 w 1156"/>
                <a:gd name="T87" fmla="*/ 22 h 1098"/>
                <a:gd name="T88" fmla="*/ 283 w 1156"/>
                <a:gd name="T89" fmla="*/ 29 h 1098"/>
                <a:gd name="T90" fmla="*/ 301 w 1156"/>
                <a:gd name="T91" fmla="*/ 40 h 1098"/>
                <a:gd name="T92" fmla="*/ 295 w 1156"/>
                <a:gd name="T93" fmla="*/ 49 h 1098"/>
                <a:gd name="T94" fmla="*/ 316 w 1156"/>
                <a:gd name="T95" fmla="*/ 55 h 1098"/>
                <a:gd name="T96" fmla="*/ 306 w 1156"/>
                <a:gd name="T97" fmla="*/ 40 h 1098"/>
                <a:gd name="T98" fmla="*/ 333 w 1156"/>
                <a:gd name="T99" fmla="*/ 40 h 1098"/>
                <a:gd name="T100" fmla="*/ 341 w 1156"/>
                <a:gd name="T101" fmla="*/ 78 h 1098"/>
                <a:gd name="T102" fmla="*/ 357 w 1156"/>
                <a:gd name="T103" fmla="*/ 61 h 1098"/>
                <a:gd name="T104" fmla="*/ 376 w 1156"/>
                <a:gd name="T105" fmla="*/ 111 h 1098"/>
                <a:gd name="T106" fmla="*/ 353 w 1156"/>
                <a:gd name="T107" fmla="*/ 120 h 1098"/>
                <a:gd name="T108" fmla="*/ 339 w 1156"/>
                <a:gd name="T109" fmla="*/ 136 h 1098"/>
                <a:gd name="T110" fmla="*/ 320 w 1156"/>
                <a:gd name="T111" fmla="*/ 151 h 1098"/>
                <a:gd name="T112" fmla="*/ 304 w 1156"/>
                <a:gd name="T113" fmla="*/ 208 h 1098"/>
                <a:gd name="T114" fmla="*/ 329 w 1156"/>
                <a:gd name="T115" fmla="*/ 222 h 1098"/>
                <a:gd name="T116" fmla="*/ 336 w 1156"/>
                <a:gd name="T117" fmla="*/ 252 h 109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1156" h="1098">
                  <a:moveTo>
                    <a:pt x="1027" y="803"/>
                  </a:moveTo>
                  <a:lnTo>
                    <a:pt x="1018" y="803"/>
                  </a:lnTo>
                  <a:lnTo>
                    <a:pt x="1010" y="803"/>
                  </a:lnTo>
                  <a:lnTo>
                    <a:pt x="1001" y="800"/>
                  </a:lnTo>
                  <a:lnTo>
                    <a:pt x="993" y="800"/>
                  </a:lnTo>
                  <a:lnTo>
                    <a:pt x="986" y="801"/>
                  </a:lnTo>
                  <a:lnTo>
                    <a:pt x="979" y="805"/>
                  </a:lnTo>
                  <a:lnTo>
                    <a:pt x="974" y="810"/>
                  </a:lnTo>
                  <a:lnTo>
                    <a:pt x="971" y="815"/>
                  </a:lnTo>
                  <a:lnTo>
                    <a:pt x="966" y="822"/>
                  </a:lnTo>
                  <a:lnTo>
                    <a:pt x="963" y="830"/>
                  </a:lnTo>
                  <a:lnTo>
                    <a:pt x="961" y="837"/>
                  </a:lnTo>
                  <a:lnTo>
                    <a:pt x="958" y="843"/>
                  </a:lnTo>
                  <a:lnTo>
                    <a:pt x="954" y="848"/>
                  </a:lnTo>
                  <a:lnTo>
                    <a:pt x="951" y="854"/>
                  </a:lnTo>
                  <a:lnTo>
                    <a:pt x="946" y="859"/>
                  </a:lnTo>
                  <a:lnTo>
                    <a:pt x="941" y="862"/>
                  </a:lnTo>
                  <a:lnTo>
                    <a:pt x="934" y="864"/>
                  </a:lnTo>
                  <a:lnTo>
                    <a:pt x="926" y="865"/>
                  </a:lnTo>
                  <a:lnTo>
                    <a:pt x="900" y="872"/>
                  </a:lnTo>
                  <a:lnTo>
                    <a:pt x="875" y="877"/>
                  </a:lnTo>
                  <a:lnTo>
                    <a:pt x="850" y="882"/>
                  </a:lnTo>
                  <a:lnTo>
                    <a:pt x="826" y="889"/>
                  </a:lnTo>
                  <a:lnTo>
                    <a:pt x="818" y="889"/>
                  </a:lnTo>
                  <a:lnTo>
                    <a:pt x="813" y="889"/>
                  </a:lnTo>
                  <a:lnTo>
                    <a:pt x="808" y="887"/>
                  </a:lnTo>
                  <a:lnTo>
                    <a:pt x="804" y="886"/>
                  </a:lnTo>
                  <a:lnTo>
                    <a:pt x="801" y="882"/>
                  </a:lnTo>
                  <a:lnTo>
                    <a:pt x="799" y="879"/>
                  </a:lnTo>
                  <a:lnTo>
                    <a:pt x="799" y="874"/>
                  </a:lnTo>
                  <a:lnTo>
                    <a:pt x="801" y="869"/>
                  </a:lnTo>
                  <a:lnTo>
                    <a:pt x="801" y="855"/>
                  </a:lnTo>
                  <a:lnTo>
                    <a:pt x="803" y="843"/>
                  </a:lnTo>
                  <a:lnTo>
                    <a:pt x="803" y="830"/>
                  </a:lnTo>
                  <a:lnTo>
                    <a:pt x="803" y="818"/>
                  </a:lnTo>
                  <a:lnTo>
                    <a:pt x="798" y="810"/>
                  </a:lnTo>
                  <a:lnTo>
                    <a:pt x="793" y="805"/>
                  </a:lnTo>
                  <a:lnTo>
                    <a:pt x="788" y="805"/>
                  </a:lnTo>
                  <a:lnTo>
                    <a:pt x="783" y="806"/>
                  </a:lnTo>
                  <a:lnTo>
                    <a:pt x="777" y="808"/>
                  </a:lnTo>
                  <a:lnTo>
                    <a:pt x="774" y="808"/>
                  </a:lnTo>
                  <a:lnTo>
                    <a:pt x="769" y="803"/>
                  </a:lnTo>
                  <a:lnTo>
                    <a:pt x="764" y="796"/>
                  </a:lnTo>
                  <a:lnTo>
                    <a:pt x="754" y="788"/>
                  </a:lnTo>
                  <a:lnTo>
                    <a:pt x="745" y="779"/>
                  </a:lnTo>
                  <a:lnTo>
                    <a:pt x="737" y="771"/>
                  </a:lnTo>
                  <a:lnTo>
                    <a:pt x="730" y="763"/>
                  </a:lnTo>
                  <a:lnTo>
                    <a:pt x="720" y="744"/>
                  </a:lnTo>
                  <a:lnTo>
                    <a:pt x="714" y="727"/>
                  </a:lnTo>
                  <a:lnTo>
                    <a:pt x="720" y="734"/>
                  </a:lnTo>
                  <a:lnTo>
                    <a:pt x="729" y="741"/>
                  </a:lnTo>
                  <a:lnTo>
                    <a:pt x="734" y="742"/>
                  </a:lnTo>
                  <a:lnTo>
                    <a:pt x="739" y="742"/>
                  </a:lnTo>
                  <a:lnTo>
                    <a:pt x="744" y="739"/>
                  </a:lnTo>
                  <a:lnTo>
                    <a:pt x="749" y="732"/>
                  </a:lnTo>
                  <a:lnTo>
                    <a:pt x="745" y="731"/>
                  </a:lnTo>
                  <a:lnTo>
                    <a:pt x="744" y="729"/>
                  </a:lnTo>
                  <a:lnTo>
                    <a:pt x="745" y="726"/>
                  </a:lnTo>
                  <a:lnTo>
                    <a:pt x="749" y="722"/>
                  </a:lnTo>
                  <a:lnTo>
                    <a:pt x="744" y="719"/>
                  </a:lnTo>
                  <a:lnTo>
                    <a:pt x="740" y="715"/>
                  </a:lnTo>
                  <a:lnTo>
                    <a:pt x="739" y="714"/>
                  </a:lnTo>
                  <a:lnTo>
                    <a:pt x="739" y="712"/>
                  </a:lnTo>
                  <a:lnTo>
                    <a:pt x="744" y="707"/>
                  </a:lnTo>
                  <a:lnTo>
                    <a:pt x="747" y="704"/>
                  </a:lnTo>
                  <a:lnTo>
                    <a:pt x="757" y="694"/>
                  </a:lnTo>
                  <a:lnTo>
                    <a:pt x="766" y="682"/>
                  </a:lnTo>
                  <a:lnTo>
                    <a:pt x="762" y="680"/>
                  </a:lnTo>
                  <a:lnTo>
                    <a:pt x="757" y="680"/>
                  </a:lnTo>
                  <a:lnTo>
                    <a:pt x="759" y="670"/>
                  </a:lnTo>
                  <a:lnTo>
                    <a:pt x="759" y="660"/>
                  </a:lnTo>
                  <a:lnTo>
                    <a:pt x="757" y="657"/>
                  </a:lnTo>
                  <a:lnTo>
                    <a:pt x="754" y="655"/>
                  </a:lnTo>
                  <a:lnTo>
                    <a:pt x="752" y="633"/>
                  </a:lnTo>
                  <a:lnTo>
                    <a:pt x="749" y="611"/>
                  </a:lnTo>
                  <a:lnTo>
                    <a:pt x="744" y="609"/>
                  </a:lnTo>
                  <a:lnTo>
                    <a:pt x="739" y="611"/>
                  </a:lnTo>
                  <a:lnTo>
                    <a:pt x="735" y="614"/>
                  </a:lnTo>
                  <a:lnTo>
                    <a:pt x="734" y="621"/>
                  </a:lnTo>
                  <a:lnTo>
                    <a:pt x="730" y="635"/>
                  </a:lnTo>
                  <a:lnTo>
                    <a:pt x="727" y="648"/>
                  </a:lnTo>
                  <a:lnTo>
                    <a:pt x="725" y="655"/>
                  </a:lnTo>
                  <a:lnTo>
                    <a:pt x="727" y="662"/>
                  </a:lnTo>
                  <a:lnTo>
                    <a:pt x="727" y="670"/>
                  </a:lnTo>
                  <a:lnTo>
                    <a:pt x="729" y="677"/>
                  </a:lnTo>
                  <a:lnTo>
                    <a:pt x="720" y="685"/>
                  </a:lnTo>
                  <a:lnTo>
                    <a:pt x="712" y="692"/>
                  </a:lnTo>
                  <a:lnTo>
                    <a:pt x="707" y="694"/>
                  </a:lnTo>
                  <a:lnTo>
                    <a:pt x="702" y="694"/>
                  </a:lnTo>
                  <a:lnTo>
                    <a:pt x="698" y="694"/>
                  </a:lnTo>
                  <a:lnTo>
                    <a:pt x="695" y="692"/>
                  </a:lnTo>
                  <a:lnTo>
                    <a:pt x="692" y="690"/>
                  </a:lnTo>
                  <a:lnTo>
                    <a:pt x="690" y="687"/>
                  </a:lnTo>
                  <a:lnTo>
                    <a:pt x="688" y="683"/>
                  </a:lnTo>
                  <a:lnTo>
                    <a:pt x="688" y="678"/>
                  </a:lnTo>
                  <a:lnTo>
                    <a:pt x="678" y="672"/>
                  </a:lnTo>
                  <a:lnTo>
                    <a:pt x="670" y="667"/>
                  </a:lnTo>
                  <a:lnTo>
                    <a:pt x="663" y="665"/>
                  </a:lnTo>
                  <a:lnTo>
                    <a:pt x="656" y="663"/>
                  </a:lnTo>
                  <a:lnTo>
                    <a:pt x="648" y="657"/>
                  </a:lnTo>
                  <a:lnTo>
                    <a:pt x="639" y="650"/>
                  </a:lnTo>
                  <a:lnTo>
                    <a:pt x="636" y="651"/>
                  </a:lnTo>
                  <a:lnTo>
                    <a:pt x="633" y="655"/>
                  </a:lnTo>
                  <a:lnTo>
                    <a:pt x="646" y="670"/>
                  </a:lnTo>
                  <a:lnTo>
                    <a:pt x="666" y="687"/>
                  </a:lnTo>
                  <a:lnTo>
                    <a:pt x="666" y="695"/>
                  </a:lnTo>
                  <a:lnTo>
                    <a:pt x="665" y="702"/>
                  </a:lnTo>
                  <a:lnTo>
                    <a:pt x="663" y="709"/>
                  </a:lnTo>
                  <a:lnTo>
                    <a:pt x="658" y="712"/>
                  </a:lnTo>
                  <a:lnTo>
                    <a:pt x="653" y="717"/>
                  </a:lnTo>
                  <a:lnTo>
                    <a:pt x="648" y="719"/>
                  </a:lnTo>
                  <a:lnTo>
                    <a:pt x="639" y="719"/>
                  </a:lnTo>
                  <a:lnTo>
                    <a:pt x="631" y="719"/>
                  </a:lnTo>
                  <a:lnTo>
                    <a:pt x="626" y="712"/>
                  </a:lnTo>
                  <a:lnTo>
                    <a:pt x="623" y="705"/>
                  </a:lnTo>
                  <a:lnTo>
                    <a:pt x="618" y="705"/>
                  </a:lnTo>
                  <a:lnTo>
                    <a:pt x="614" y="704"/>
                  </a:lnTo>
                  <a:lnTo>
                    <a:pt x="609" y="709"/>
                  </a:lnTo>
                  <a:lnTo>
                    <a:pt x="607" y="715"/>
                  </a:lnTo>
                  <a:lnTo>
                    <a:pt x="607" y="721"/>
                  </a:lnTo>
                  <a:lnTo>
                    <a:pt x="609" y="727"/>
                  </a:lnTo>
                  <a:lnTo>
                    <a:pt x="607" y="742"/>
                  </a:lnTo>
                  <a:lnTo>
                    <a:pt x="607" y="756"/>
                  </a:lnTo>
                  <a:lnTo>
                    <a:pt x="607" y="768"/>
                  </a:lnTo>
                  <a:lnTo>
                    <a:pt x="609" y="781"/>
                  </a:lnTo>
                  <a:lnTo>
                    <a:pt x="611" y="791"/>
                  </a:lnTo>
                  <a:lnTo>
                    <a:pt x="616" y="801"/>
                  </a:lnTo>
                  <a:lnTo>
                    <a:pt x="621" y="810"/>
                  </a:lnTo>
                  <a:lnTo>
                    <a:pt x="626" y="818"/>
                  </a:lnTo>
                  <a:lnTo>
                    <a:pt x="626" y="827"/>
                  </a:lnTo>
                  <a:lnTo>
                    <a:pt x="626" y="835"/>
                  </a:lnTo>
                  <a:lnTo>
                    <a:pt x="631" y="833"/>
                  </a:lnTo>
                  <a:lnTo>
                    <a:pt x="636" y="832"/>
                  </a:lnTo>
                  <a:lnTo>
                    <a:pt x="658" y="847"/>
                  </a:lnTo>
                  <a:lnTo>
                    <a:pt x="678" y="860"/>
                  </a:lnTo>
                  <a:lnTo>
                    <a:pt x="690" y="862"/>
                  </a:lnTo>
                  <a:lnTo>
                    <a:pt x="700" y="862"/>
                  </a:lnTo>
                  <a:lnTo>
                    <a:pt x="700" y="870"/>
                  </a:lnTo>
                  <a:lnTo>
                    <a:pt x="700" y="879"/>
                  </a:lnTo>
                  <a:lnTo>
                    <a:pt x="693" y="880"/>
                  </a:lnTo>
                  <a:lnTo>
                    <a:pt x="685" y="882"/>
                  </a:lnTo>
                  <a:lnTo>
                    <a:pt x="693" y="889"/>
                  </a:lnTo>
                  <a:lnTo>
                    <a:pt x="702" y="894"/>
                  </a:lnTo>
                  <a:lnTo>
                    <a:pt x="690" y="919"/>
                  </a:lnTo>
                  <a:lnTo>
                    <a:pt x="678" y="943"/>
                  </a:lnTo>
                  <a:lnTo>
                    <a:pt x="682" y="955"/>
                  </a:lnTo>
                  <a:lnTo>
                    <a:pt x="683" y="966"/>
                  </a:lnTo>
                  <a:lnTo>
                    <a:pt x="683" y="976"/>
                  </a:lnTo>
                  <a:lnTo>
                    <a:pt x="683" y="987"/>
                  </a:lnTo>
                  <a:lnTo>
                    <a:pt x="682" y="1007"/>
                  </a:lnTo>
                  <a:lnTo>
                    <a:pt x="676" y="1027"/>
                  </a:lnTo>
                  <a:lnTo>
                    <a:pt x="673" y="1027"/>
                  </a:lnTo>
                  <a:lnTo>
                    <a:pt x="670" y="1029"/>
                  </a:lnTo>
                  <a:lnTo>
                    <a:pt x="666" y="1032"/>
                  </a:lnTo>
                  <a:lnTo>
                    <a:pt x="661" y="1037"/>
                  </a:lnTo>
                  <a:lnTo>
                    <a:pt x="655" y="1049"/>
                  </a:lnTo>
                  <a:lnTo>
                    <a:pt x="646" y="1062"/>
                  </a:lnTo>
                  <a:lnTo>
                    <a:pt x="636" y="1069"/>
                  </a:lnTo>
                  <a:lnTo>
                    <a:pt x="629" y="1078"/>
                  </a:lnTo>
                  <a:lnTo>
                    <a:pt x="623" y="1088"/>
                  </a:lnTo>
                  <a:lnTo>
                    <a:pt x="616" y="1098"/>
                  </a:lnTo>
                  <a:lnTo>
                    <a:pt x="604" y="1089"/>
                  </a:lnTo>
                  <a:lnTo>
                    <a:pt x="592" y="1083"/>
                  </a:lnTo>
                  <a:lnTo>
                    <a:pt x="586" y="1076"/>
                  </a:lnTo>
                  <a:lnTo>
                    <a:pt x="577" y="1071"/>
                  </a:lnTo>
                  <a:lnTo>
                    <a:pt x="570" y="1067"/>
                  </a:lnTo>
                  <a:lnTo>
                    <a:pt x="564" y="1066"/>
                  </a:lnTo>
                  <a:lnTo>
                    <a:pt x="559" y="1066"/>
                  </a:lnTo>
                  <a:lnTo>
                    <a:pt x="554" y="1066"/>
                  </a:lnTo>
                  <a:lnTo>
                    <a:pt x="547" y="1066"/>
                  </a:lnTo>
                  <a:lnTo>
                    <a:pt x="542" y="1067"/>
                  </a:lnTo>
                  <a:lnTo>
                    <a:pt x="537" y="1071"/>
                  </a:lnTo>
                  <a:lnTo>
                    <a:pt x="532" y="1072"/>
                  </a:lnTo>
                  <a:lnTo>
                    <a:pt x="527" y="1074"/>
                  </a:lnTo>
                  <a:lnTo>
                    <a:pt x="522" y="1072"/>
                  </a:lnTo>
                  <a:lnTo>
                    <a:pt x="518" y="1072"/>
                  </a:lnTo>
                  <a:lnTo>
                    <a:pt x="513" y="1069"/>
                  </a:lnTo>
                  <a:lnTo>
                    <a:pt x="510" y="1066"/>
                  </a:lnTo>
                  <a:lnTo>
                    <a:pt x="505" y="1062"/>
                  </a:lnTo>
                  <a:lnTo>
                    <a:pt x="493" y="1051"/>
                  </a:lnTo>
                  <a:lnTo>
                    <a:pt x="483" y="1040"/>
                  </a:lnTo>
                  <a:lnTo>
                    <a:pt x="478" y="1037"/>
                  </a:lnTo>
                  <a:lnTo>
                    <a:pt x="474" y="1034"/>
                  </a:lnTo>
                  <a:lnTo>
                    <a:pt x="471" y="1032"/>
                  </a:lnTo>
                  <a:lnTo>
                    <a:pt x="468" y="1032"/>
                  </a:lnTo>
                  <a:lnTo>
                    <a:pt x="464" y="1032"/>
                  </a:lnTo>
                  <a:lnTo>
                    <a:pt x="461" y="1034"/>
                  </a:lnTo>
                  <a:lnTo>
                    <a:pt x="458" y="1037"/>
                  </a:lnTo>
                  <a:lnTo>
                    <a:pt x="454" y="1040"/>
                  </a:lnTo>
                  <a:lnTo>
                    <a:pt x="448" y="1052"/>
                  </a:lnTo>
                  <a:lnTo>
                    <a:pt x="441" y="1064"/>
                  </a:lnTo>
                  <a:lnTo>
                    <a:pt x="434" y="1071"/>
                  </a:lnTo>
                  <a:lnTo>
                    <a:pt x="427" y="1074"/>
                  </a:lnTo>
                  <a:lnTo>
                    <a:pt x="424" y="1072"/>
                  </a:lnTo>
                  <a:lnTo>
                    <a:pt x="421" y="1071"/>
                  </a:lnTo>
                  <a:lnTo>
                    <a:pt x="417" y="1067"/>
                  </a:lnTo>
                  <a:lnTo>
                    <a:pt x="416" y="1062"/>
                  </a:lnTo>
                  <a:lnTo>
                    <a:pt x="409" y="1059"/>
                  </a:lnTo>
                  <a:lnTo>
                    <a:pt x="400" y="1056"/>
                  </a:lnTo>
                  <a:lnTo>
                    <a:pt x="394" y="1054"/>
                  </a:lnTo>
                  <a:lnTo>
                    <a:pt x="385" y="1052"/>
                  </a:lnTo>
                  <a:lnTo>
                    <a:pt x="367" y="1052"/>
                  </a:lnTo>
                  <a:lnTo>
                    <a:pt x="348" y="1054"/>
                  </a:lnTo>
                  <a:lnTo>
                    <a:pt x="347" y="1037"/>
                  </a:lnTo>
                  <a:lnTo>
                    <a:pt x="347" y="1022"/>
                  </a:lnTo>
                  <a:lnTo>
                    <a:pt x="348" y="1008"/>
                  </a:lnTo>
                  <a:lnTo>
                    <a:pt x="350" y="997"/>
                  </a:lnTo>
                  <a:lnTo>
                    <a:pt x="353" y="985"/>
                  </a:lnTo>
                  <a:lnTo>
                    <a:pt x="357" y="976"/>
                  </a:lnTo>
                  <a:lnTo>
                    <a:pt x="362" y="968"/>
                  </a:lnTo>
                  <a:lnTo>
                    <a:pt x="367" y="961"/>
                  </a:lnTo>
                  <a:lnTo>
                    <a:pt x="377" y="936"/>
                  </a:lnTo>
                  <a:lnTo>
                    <a:pt x="385" y="916"/>
                  </a:lnTo>
                  <a:lnTo>
                    <a:pt x="395" y="899"/>
                  </a:lnTo>
                  <a:lnTo>
                    <a:pt x="404" y="887"/>
                  </a:lnTo>
                  <a:lnTo>
                    <a:pt x="417" y="867"/>
                  </a:lnTo>
                  <a:lnTo>
                    <a:pt x="429" y="847"/>
                  </a:lnTo>
                  <a:lnTo>
                    <a:pt x="439" y="825"/>
                  </a:lnTo>
                  <a:lnTo>
                    <a:pt x="448" y="800"/>
                  </a:lnTo>
                  <a:lnTo>
                    <a:pt x="453" y="795"/>
                  </a:lnTo>
                  <a:lnTo>
                    <a:pt x="454" y="788"/>
                  </a:lnTo>
                  <a:lnTo>
                    <a:pt x="453" y="783"/>
                  </a:lnTo>
                  <a:lnTo>
                    <a:pt x="451" y="776"/>
                  </a:lnTo>
                  <a:lnTo>
                    <a:pt x="446" y="769"/>
                  </a:lnTo>
                  <a:lnTo>
                    <a:pt x="439" y="763"/>
                  </a:lnTo>
                  <a:lnTo>
                    <a:pt x="432" y="756"/>
                  </a:lnTo>
                  <a:lnTo>
                    <a:pt x="422" y="749"/>
                  </a:lnTo>
                  <a:lnTo>
                    <a:pt x="412" y="739"/>
                  </a:lnTo>
                  <a:lnTo>
                    <a:pt x="405" y="729"/>
                  </a:lnTo>
                  <a:lnTo>
                    <a:pt x="400" y="719"/>
                  </a:lnTo>
                  <a:lnTo>
                    <a:pt x="399" y="709"/>
                  </a:lnTo>
                  <a:lnTo>
                    <a:pt x="394" y="700"/>
                  </a:lnTo>
                  <a:lnTo>
                    <a:pt x="390" y="694"/>
                  </a:lnTo>
                  <a:lnTo>
                    <a:pt x="387" y="687"/>
                  </a:lnTo>
                  <a:lnTo>
                    <a:pt x="385" y="678"/>
                  </a:lnTo>
                  <a:lnTo>
                    <a:pt x="385" y="665"/>
                  </a:lnTo>
                  <a:lnTo>
                    <a:pt x="387" y="650"/>
                  </a:lnTo>
                  <a:lnTo>
                    <a:pt x="385" y="631"/>
                  </a:lnTo>
                  <a:lnTo>
                    <a:pt x="382" y="613"/>
                  </a:lnTo>
                  <a:lnTo>
                    <a:pt x="379" y="606"/>
                  </a:lnTo>
                  <a:lnTo>
                    <a:pt x="377" y="601"/>
                  </a:lnTo>
                  <a:lnTo>
                    <a:pt x="373" y="598"/>
                  </a:lnTo>
                  <a:lnTo>
                    <a:pt x="370" y="596"/>
                  </a:lnTo>
                  <a:lnTo>
                    <a:pt x="367" y="596"/>
                  </a:lnTo>
                  <a:lnTo>
                    <a:pt x="363" y="598"/>
                  </a:lnTo>
                  <a:lnTo>
                    <a:pt x="358" y="601"/>
                  </a:lnTo>
                  <a:lnTo>
                    <a:pt x="355" y="606"/>
                  </a:lnTo>
                  <a:lnTo>
                    <a:pt x="347" y="616"/>
                  </a:lnTo>
                  <a:lnTo>
                    <a:pt x="340" y="628"/>
                  </a:lnTo>
                  <a:lnTo>
                    <a:pt x="333" y="633"/>
                  </a:lnTo>
                  <a:lnTo>
                    <a:pt x="328" y="636"/>
                  </a:lnTo>
                  <a:lnTo>
                    <a:pt x="323" y="636"/>
                  </a:lnTo>
                  <a:lnTo>
                    <a:pt x="320" y="635"/>
                  </a:lnTo>
                  <a:lnTo>
                    <a:pt x="320" y="630"/>
                  </a:lnTo>
                  <a:lnTo>
                    <a:pt x="320" y="623"/>
                  </a:lnTo>
                  <a:lnTo>
                    <a:pt x="321" y="614"/>
                  </a:lnTo>
                  <a:lnTo>
                    <a:pt x="323" y="603"/>
                  </a:lnTo>
                  <a:lnTo>
                    <a:pt x="326" y="596"/>
                  </a:lnTo>
                  <a:lnTo>
                    <a:pt x="326" y="589"/>
                  </a:lnTo>
                  <a:lnTo>
                    <a:pt x="325" y="582"/>
                  </a:lnTo>
                  <a:lnTo>
                    <a:pt x="323" y="576"/>
                  </a:lnTo>
                  <a:lnTo>
                    <a:pt x="320" y="571"/>
                  </a:lnTo>
                  <a:lnTo>
                    <a:pt x="315" y="564"/>
                  </a:lnTo>
                  <a:lnTo>
                    <a:pt x="308" y="559"/>
                  </a:lnTo>
                  <a:lnTo>
                    <a:pt x="301" y="554"/>
                  </a:lnTo>
                  <a:lnTo>
                    <a:pt x="294" y="547"/>
                  </a:lnTo>
                  <a:lnTo>
                    <a:pt x="288" y="544"/>
                  </a:lnTo>
                  <a:lnTo>
                    <a:pt x="281" y="542"/>
                  </a:lnTo>
                  <a:lnTo>
                    <a:pt x="276" y="542"/>
                  </a:lnTo>
                  <a:lnTo>
                    <a:pt x="271" y="544"/>
                  </a:lnTo>
                  <a:lnTo>
                    <a:pt x="267" y="547"/>
                  </a:lnTo>
                  <a:lnTo>
                    <a:pt x="262" y="550"/>
                  </a:lnTo>
                  <a:lnTo>
                    <a:pt x="259" y="555"/>
                  </a:lnTo>
                  <a:lnTo>
                    <a:pt x="254" y="562"/>
                  </a:lnTo>
                  <a:lnTo>
                    <a:pt x="246" y="567"/>
                  </a:lnTo>
                  <a:lnTo>
                    <a:pt x="237" y="571"/>
                  </a:lnTo>
                  <a:lnTo>
                    <a:pt x="225" y="574"/>
                  </a:lnTo>
                  <a:lnTo>
                    <a:pt x="215" y="576"/>
                  </a:lnTo>
                  <a:lnTo>
                    <a:pt x="207" y="576"/>
                  </a:lnTo>
                  <a:lnTo>
                    <a:pt x="198" y="576"/>
                  </a:lnTo>
                  <a:lnTo>
                    <a:pt x="190" y="572"/>
                  </a:lnTo>
                  <a:lnTo>
                    <a:pt x="182" y="569"/>
                  </a:lnTo>
                  <a:lnTo>
                    <a:pt x="173" y="564"/>
                  </a:lnTo>
                  <a:lnTo>
                    <a:pt x="165" y="557"/>
                  </a:lnTo>
                  <a:lnTo>
                    <a:pt x="156" y="550"/>
                  </a:lnTo>
                  <a:lnTo>
                    <a:pt x="153" y="545"/>
                  </a:lnTo>
                  <a:lnTo>
                    <a:pt x="148" y="542"/>
                  </a:lnTo>
                  <a:lnTo>
                    <a:pt x="143" y="540"/>
                  </a:lnTo>
                  <a:lnTo>
                    <a:pt x="134" y="540"/>
                  </a:lnTo>
                  <a:lnTo>
                    <a:pt x="128" y="540"/>
                  </a:lnTo>
                  <a:lnTo>
                    <a:pt x="123" y="540"/>
                  </a:lnTo>
                  <a:lnTo>
                    <a:pt x="119" y="540"/>
                  </a:lnTo>
                  <a:lnTo>
                    <a:pt x="116" y="539"/>
                  </a:lnTo>
                  <a:lnTo>
                    <a:pt x="113" y="535"/>
                  </a:lnTo>
                  <a:lnTo>
                    <a:pt x="111" y="532"/>
                  </a:lnTo>
                  <a:lnTo>
                    <a:pt x="109" y="527"/>
                  </a:lnTo>
                  <a:lnTo>
                    <a:pt x="109" y="522"/>
                  </a:lnTo>
                  <a:lnTo>
                    <a:pt x="109" y="517"/>
                  </a:lnTo>
                  <a:lnTo>
                    <a:pt x="109" y="512"/>
                  </a:lnTo>
                  <a:lnTo>
                    <a:pt x="108" y="508"/>
                  </a:lnTo>
                  <a:lnTo>
                    <a:pt x="106" y="505"/>
                  </a:lnTo>
                  <a:lnTo>
                    <a:pt x="101" y="502"/>
                  </a:lnTo>
                  <a:lnTo>
                    <a:pt x="92" y="498"/>
                  </a:lnTo>
                  <a:lnTo>
                    <a:pt x="87" y="498"/>
                  </a:lnTo>
                  <a:lnTo>
                    <a:pt x="81" y="497"/>
                  </a:lnTo>
                  <a:lnTo>
                    <a:pt x="76" y="495"/>
                  </a:lnTo>
                  <a:lnTo>
                    <a:pt x="71" y="490"/>
                  </a:lnTo>
                  <a:lnTo>
                    <a:pt x="67" y="485"/>
                  </a:lnTo>
                  <a:lnTo>
                    <a:pt x="64" y="478"/>
                  </a:lnTo>
                  <a:lnTo>
                    <a:pt x="62" y="470"/>
                  </a:lnTo>
                  <a:lnTo>
                    <a:pt x="60" y="459"/>
                  </a:lnTo>
                  <a:lnTo>
                    <a:pt x="60" y="449"/>
                  </a:lnTo>
                  <a:lnTo>
                    <a:pt x="60" y="439"/>
                  </a:lnTo>
                  <a:lnTo>
                    <a:pt x="57" y="431"/>
                  </a:lnTo>
                  <a:lnTo>
                    <a:pt x="54" y="419"/>
                  </a:lnTo>
                  <a:lnTo>
                    <a:pt x="47" y="414"/>
                  </a:lnTo>
                  <a:lnTo>
                    <a:pt x="44" y="411"/>
                  </a:lnTo>
                  <a:lnTo>
                    <a:pt x="44" y="406"/>
                  </a:lnTo>
                  <a:lnTo>
                    <a:pt x="45" y="402"/>
                  </a:lnTo>
                  <a:lnTo>
                    <a:pt x="40" y="399"/>
                  </a:lnTo>
                  <a:lnTo>
                    <a:pt x="37" y="397"/>
                  </a:lnTo>
                  <a:lnTo>
                    <a:pt x="32" y="397"/>
                  </a:lnTo>
                  <a:lnTo>
                    <a:pt x="28" y="399"/>
                  </a:lnTo>
                  <a:lnTo>
                    <a:pt x="23" y="406"/>
                  </a:lnTo>
                  <a:lnTo>
                    <a:pt x="18" y="412"/>
                  </a:lnTo>
                  <a:lnTo>
                    <a:pt x="15" y="416"/>
                  </a:lnTo>
                  <a:lnTo>
                    <a:pt x="10" y="417"/>
                  </a:lnTo>
                  <a:lnTo>
                    <a:pt x="7" y="419"/>
                  </a:lnTo>
                  <a:lnTo>
                    <a:pt x="3" y="417"/>
                  </a:lnTo>
                  <a:lnTo>
                    <a:pt x="1" y="414"/>
                  </a:lnTo>
                  <a:lnTo>
                    <a:pt x="0" y="411"/>
                  </a:lnTo>
                  <a:lnTo>
                    <a:pt x="0" y="406"/>
                  </a:lnTo>
                  <a:lnTo>
                    <a:pt x="3" y="399"/>
                  </a:lnTo>
                  <a:lnTo>
                    <a:pt x="3" y="394"/>
                  </a:lnTo>
                  <a:lnTo>
                    <a:pt x="3" y="387"/>
                  </a:lnTo>
                  <a:lnTo>
                    <a:pt x="12" y="387"/>
                  </a:lnTo>
                  <a:lnTo>
                    <a:pt x="22" y="385"/>
                  </a:lnTo>
                  <a:lnTo>
                    <a:pt x="30" y="380"/>
                  </a:lnTo>
                  <a:lnTo>
                    <a:pt x="39" y="375"/>
                  </a:lnTo>
                  <a:lnTo>
                    <a:pt x="54" y="370"/>
                  </a:lnTo>
                  <a:lnTo>
                    <a:pt x="67" y="365"/>
                  </a:lnTo>
                  <a:lnTo>
                    <a:pt x="74" y="365"/>
                  </a:lnTo>
                  <a:lnTo>
                    <a:pt x="81" y="365"/>
                  </a:lnTo>
                  <a:lnTo>
                    <a:pt x="86" y="365"/>
                  </a:lnTo>
                  <a:lnTo>
                    <a:pt x="91" y="369"/>
                  </a:lnTo>
                  <a:lnTo>
                    <a:pt x="99" y="372"/>
                  </a:lnTo>
                  <a:lnTo>
                    <a:pt x="108" y="372"/>
                  </a:lnTo>
                  <a:lnTo>
                    <a:pt x="114" y="370"/>
                  </a:lnTo>
                  <a:lnTo>
                    <a:pt x="123" y="365"/>
                  </a:lnTo>
                  <a:lnTo>
                    <a:pt x="133" y="355"/>
                  </a:lnTo>
                  <a:lnTo>
                    <a:pt x="145" y="345"/>
                  </a:lnTo>
                  <a:lnTo>
                    <a:pt x="158" y="343"/>
                  </a:lnTo>
                  <a:lnTo>
                    <a:pt x="172" y="340"/>
                  </a:lnTo>
                  <a:lnTo>
                    <a:pt x="183" y="335"/>
                  </a:lnTo>
                  <a:lnTo>
                    <a:pt x="195" y="326"/>
                  </a:lnTo>
                  <a:lnTo>
                    <a:pt x="207" y="320"/>
                  </a:lnTo>
                  <a:lnTo>
                    <a:pt x="217" y="316"/>
                  </a:lnTo>
                  <a:lnTo>
                    <a:pt x="230" y="313"/>
                  </a:lnTo>
                  <a:lnTo>
                    <a:pt x="247" y="311"/>
                  </a:lnTo>
                  <a:lnTo>
                    <a:pt x="261" y="315"/>
                  </a:lnTo>
                  <a:lnTo>
                    <a:pt x="276" y="316"/>
                  </a:lnTo>
                  <a:lnTo>
                    <a:pt x="293" y="315"/>
                  </a:lnTo>
                  <a:lnTo>
                    <a:pt x="310" y="311"/>
                  </a:lnTo>
                  <a:lnTo>
                    <a:pt x="318" y="315"/>
                  </a:lnTo>
                  <a:lnTo>
                    <a:pt x="325" y="316"/>
                  </a:lnTo>
                  <a:lnTo>
                    <a:pt x="333" y="316"/>
                  </a:lnTo>
                  <a:lnTo>
                    <a:pt x="340" y="316"/>
                  </a:lnTo>
                  <a:lnTo>
                    <a:pt x="347" y="315"/>
                  </a:lnTo>
                  <a:lnTo>
                    <a:pt x="353" y="311"/>
                  </a:lnTo>
                  <a:lnTo>
                    <a:pt x="360" y="306"/>
                  </a:lnTo>
                  <a:lnTo>
                    <a:pt x="367" y="298"/>
                  </a:lnTo>
                  <a:lnTo>
                    <a:pt x="377" y="286"/>
                  </a:lnTo>
                  <a:lnTo>
                    <a:pt x="390" y="274"/>
                  </a:lnTo>
                  <a:lnTo>
                    <a:pt x="397" y="267"/>
                  </a:lnTo>
                  <a:lnTo>
                    <a:pt x="405" y="262"/>
                  </a:lnTo>
                  <a:lnTo>
                    <a:pt x="414" y="257"/>
                  </a:lnTo>
                  <a:lnTo>
                    <a:pt x="424" y="254"/>
                  </a:lnTo>
                  <a:lnTo>
                    <a:pt x="451" y="244"/>
                  </a:lnTo>
                  <a:lnTo>
                    <a:pt x="476" y="234"/>
                  </a:lnTo>
                  <a:lnTo>
                    <a:pt x="503" y="225"/>
                  </a:lnTo>
                  <a:lnTo>
                    <a:pt x="530" y="220"/>
                  </a:lnTo>
                  <a:lnTo>
                    <a:pt x="535" y="222"/>
                  </a:lnTo>
                  <a:lnTo>
                    <a:pt x="540" y="224"/>
                  </a:lnTo>
                  <a:lnTo>
                    <a:pt x="545" y="222"/>
                  </a:lnTo>
                  <a:lnTo>
                    <a:pt x="549" y="220"/>
                  </a:lnTo>
                  <a:lnTo>
                    <a:pt x="550" y="217"/>
                  </a:lnTo>
                  <a:lnTo>
                    <a:pt x="550" y="214"/>
                  </a:lnTo>
                  <a:lnTo>
                    <a:pt x="549" y="209"/>
                  </a:lnTo>
                  <a:lnTo>
                    <a:pt x="544" y="202"/>
                  </a:lnTo>
                  <a:lnTo>
                    <a:pt x="549" y="190"/>
                  </a:lnTo>
                  <a:lnTo>
                    <a:pt x="554" y="177"/>
                  </a:lnTo>
                  <a:lnTo>
                    <a:pt x="557" y="173"/>
                  </a:lnTo>
                  <a:lnTo>
                    <a:pt x="559" y="170"/>
                  </a:lnTo>
                  <a:lnTo>
                    <a:pt x="559" y="166"/>
                  </a:lnTo>
                  <a:lnTo>
                    <a:pt x="557" y="165"/>
                  </a:lnTo>
                  <a:lnTo>
                    <a:pt x="552" y="160"/>
                  </a:lnTo>
                  <a:lnTo>
                    <a:pt x="542" y="156"/>
                  </a:lnTo>
                  <a:lnTo>
                    <a:pt x="532" y="155"/>
                  </a:lnTo>
                  <a:lnTo>
                    <a:pt x="522" y="153"/>
                  </a:lnTo>
                  <a:lnTo>
                    <a:pt x="515" y="150"/>
                  </a:lnTo>
                  <a:lnTo>
                    <a:pt x="508" y="145"/>
                  </a:lnTo>
                  <a:lnTo>
                    <a:pt x="496" y="134"/>
                  </a:lnTo>
                  <a:lnTo>
                    <a:pt x="486" y="124"/>
                  </a:lnTo>
                  <a:lnTo>
                    <a:pt x="486" y="109"/>
                  </a:lnTo>
                  <a:lnTo>
                    <a:pt x="486" y="94"/>
                  </a:lnTo>
                  <a:lnTo>
                    <a:pt x="486" y="79"/>
                  </a:lnTo>
                  <a:lnTo>
                    <a:pt x="488" y="65"/>
                  </a:lnTo>
                  <a:lnTo>
                    <a:pt x="488" y="55"/>
                  </a:lnTo>
                  <a:lnTo>
                    <a:pt x="490" y="45"/>
                  </a:lnTo>
                  <a:lnTo>
                    <a:pt x="493" y="37"/>
                  </a:lnTo>
                  <a:lnTo>
                    <a:pt x="496" y="28"/>
                  </a:lnTo>
                  <a:lnTo>
                    <a:pt x="501" y="23"/>
                  </a:lnTo>
                  <a:lnTo>
                    <a:pt x="506" y="18"/>
                  </a:lnTo>
                  <a:lnTo>
                    <a:pt x="515" y="17"/>
                  </a:lnTo>
                  <a:lnTo>
                    <a:pt x="525" y="17"/>
                  </a:lnTo>
                  <a:lnTo>
                    <a:pt x="544" y="15"/>
                  </a:lnTo>
                  <a:lnTo>
                    <a:pt x="560" y="15"/>
                  </a:lnTo>
                  <a:lnTo>
                    <a:pt x="577" y="15"/>
                  </a:lnTo>
                  <a:lnTo>
                    <a:pt x="596" y="13"/>
                  </a:lnTo>
                  <a:lnTo>
                    <a:pt x="602" y="12"/>
                  </a:lnTo>
                  <a:lnTo>
                    <a:pt x="609" y="12"/>
                  </a:lnTo>
                  <a:lnTo>
                    <a:pt x="616" y="15"/>
                  </a:lnTo>
                  <a:lnTo>
                    <a:pt x="619" y="22"/>
                  </a:lnTo>
                  <a:lnTo>
                    <a:pt x="621" y="35"/>
                  </a:lnTo>
                  <a:lnTo>
                    <a:pt x="623" y="47"/>
                  </a:lnTo>
                  <a:lnTo>
                    <a:pt x="628" y="59"/>
                  </a:lnTo>
                  <a:lnTo>
                    <a:pt x="633" y="69"/>
                  </a:lnTo>
                  <a:lnTo>
                    <a:pt x="638" y="79"/>
                  </a:lnTo>
                  <a:lnTo>
                    <a:pt x="645" y="89"/>
                  </a:lnTo>
                  <a:lnTo>
                    <a:pt x="653" y="97"/>
                  </a:lnTo>
                  <a:lnTo>
                    <a:pt x="660" y="106"/>
                  </a:lnTo>
                  <a:lnTo>
                    <a:pt x="668" y="113"/>
                  </a:lnTo>
                  <a:lnTo>
                    <a:pt x="675" y="118"/>
                  </a:lnTo>
                  <a:lnTo>
                    <a:pt x="683" y="123"/>
                  </a:lnTo>
                  <a:lnTo>
                    <a:pt x="690" y="126"/>
                  </a:lnTo>
                  <a:lnTo>
                    <a:pt x="697" y="128"/>
                  </a:lnTo>
                  <a:lnTo>
                    <a:pt x="703" y="128"/>
                  </a:lnTo>
                  <a:lnTo>
                    <a:pt x="708" y="128"/>
                  </a:lnTo>
                  <a:lnTo>
                    <a:pt x="712" y="124"/>
                  </a:lnTo>
                  <a:lnTo>
                    <a:pt x="715" y="118"/>
                  </a:lnTo>
                  <a:lnTo>
                    <a:pt x="719" y="111"/>
                  </a:lnTo>
                  <a:lnTo>
                    <a:pt x="722" y="104"/>
                  </a:lnTo>
                  <a:lnTo>
                    <a:pt x="727" y="97"/>
                  </a:lnTo>
                  <a:lnTo>
                    <a:pt x="732" y="96"/>
                  </a:lnTo>
                  <a:lnTo>
                    <a:pt x="735" y="96"/>
                  </a:lnTo>
                  <a:lnTo>
                    <a:pt x="735" y="86"/>
                  </a:lnTo>
                  <a:lnTo>
                    <a:pt x="734" y="76"/>
                  </a:lnTo>
                  <a:lnTo>
                    <a:pt x="727" y="67"/>
                  </a:lnTo>
                  <a:lnTo>
                    <a:pt x="720" y="59"/>
                  </a:lnTo>
                  <a:lnTo>
                    <a:pt x="710" y="38"/>
                  </a:lnTo>
                  <a:lnTo>
                    <a:pt x="702" y="20"/>
                  </a:lnTo>
                  <a:lnTo>
                    <a:pt x="705" y="17"/>
                  </a:lnTo>
                  <a:lnTo>
                    <a:pt x="707" y="12"/>
                  </a:lnTo>
                  <a:lnTo>
                    <a:pt x="707" y="17"/>
                  </a:lnTo>
                  <a:lnTo>
                    <a:pt x="708" y="22"/>
                  </a:lnTo>
                  <a:lnTo>
                    <a:pt x="717" y="20"/>
                  </a:lnTo>
                  <a:lnTo>
                    <a:pt x="727" y="18"/>
                  </a:lnTo>
                  <a:lnTo>
                    <a:pt x="727" y="12"/>
                  </a:lnTo>
                  <a:lnTo>
                    <a:pt x="729" y="6"/>
                  </a:lnTo>
                  <a:lnTo>
                    <a:pt x="732" y="3"/>
                  </a:lnTo>
                  <a:lnTo>
                    <a:pt x="735" y="1"/>
                  </a:lnTo>
                  <a:lnTo>
                    <a:pt x="739" y="0"/>
                  </a:lnTo>
                  <a:lnTo>
                    <a:pt x="744" y="1"/>
                  </a:lnTo>
                  <a:lnTo>
                    <a:pt x="751" y="5"/>
                  </a:lnTo>
                  <a:lnTo>
                    <a:pt x="759" y="10"/>
                  </a:lnTo>
                  <a:lnTo>
                    <a:pt x="764" y="23"/>
                  </a:lnTo>
                  <a:lnTo>
                    <a:pt x="769" y="33"/>
                  </a:lnTo>
                  <a:lnTo>
                    <a:pt x="772" y="37"/>
                  </a:lnTo>
                  <a:lnTo>
                    <a:pt x="774" y="37"/>
                  </a:lnTo>
                  <a:lnTo>
                    <a:pt x="777" y="33"/>
                  </a:lnTo>
                  <a:lnTo>
                    <a:pt x="779" y="27"/>
                  </a:lnTo>
                  <a:lnTo>
                    <a:pt x="779" y="20"/>
                  </a:lnTo>
                  <a:lnTo>
                    <a:pt x="781" y="17"/>
                  </a:lnTo>
                  <a:lnTo>
                    <a:pt x="784" y="17"/>
                  </a:lnTo>
                  <a:lnTo>
                    <a:pt x="791" y="20"/>
                  </a:lnTo>
                  <a:lnTo>
                    <a:pt x="806" y="30"/>
                  </a:lnTo>
                  <a:lnTo>
                    <a:pt x="823" y="44"/>
                  </a:lnTo>
                  <a:lnTo>
                    <a:pt x="821" y="49"/>
                  </a:lnTo>
                  <a:lnTo>
                    <a:pt x="820" y="54"/>
                  </a:lnTo>
                  <a:lnTo>
                    <a:pt x="820" y="55"/>
                  </a:lnTo>
                  <a:lnTo>
                    <a:pt x="820" y="57"/>
                  </a:lnTo>
                  <a:lnTo>
                    <a:pt x="821" y="59"/>
                  </a:lnTo>
                  <a:lnTo>
                    <a:pt x="825" y="60"/>
                  </a:lnTo>
                  <a:lnTo>
                    <a:pt x="815" y="65"/>
                  </a:lnTo>
                  <a:lnTo>
                    <a:pt x="804" y="69"/>
                  </a:lnTo>
                  <a:lnTo>
                    <a:pt x="816" y="69"/>
                  </a:lnTo>
                  <a:lnTo>
                    <a:pt x="828" y="69"/>
                  </a:lnTo>
                  <a:lnTo>
                    <a:pt x="831" y="74"/>
                  </a:lnTo>
                  <a:lnTo>
                    <a:pt x="836" y="76"/>
                  </a:lnTo>
                  <a:lnTo>
                    <a:pt x="845" y="76"/>
                  </a:lnTo>
                  <a:lnTo>
                    <a:pt x="855" y="76"/>
                  </a:lnTo>
                  <a:lnTo>
                    <a:pt x="857" y="79"/>
                  </a:lnTo>
                  <a:lnTo>
                    <a:pt x="860" y="82"/>
                  </a:lnTo>
                  <a:lnTo>
                    <a:pt x="863" y="84"/>
                  </a:lnTo>
                  <a:lnTo>
                    <a:pt x="870" y="86"/>
                  </a:lnTo>
                  <a:lnTo>
                    <a:pt x="884" y="76"/>
                  </a:lnTo>
                  <a:lnTo>
                    <a:pt x="899" y="67"/>
                  </a:lnTo>
                  <a:lnTo>
                    <a:pt x="916" y="74"/>
                  </a:lnTo>
                  <a:lnTo>
                    <a:pt x="932" y="79"/>
                  </a:lnTo>
                  <a:lnTo>
                    <a:pt x="926" y="84"/>
                  </a:lnTo>
                  <a:lnTo>
                    <a:pt x="922" y="89"/>
                  </a:lnTo>
                  <a:lnTo>
                    <a:pt x="919" y="92"/>
                  </a:lnTo>
                  <a:lnTo>
                    <a:pt x="917" y="97"/>
                  </a:lnTo>
                  <a:lnTo>
                    <a:pt x="919" y="104"/>
                  </a:lnTo>
                  <a:lnTo>
                    <a:pt x="921" y="109"/>
                  </a:lnTo>
                  <a:lnTo>
                    <a:pt x="926" y="116"/>
                  </a:lnTo>
                  <a:lnTo>
                    <a:pt x="934" y="123"/>
                  </a:lnTo>
                  <a:lnTo>
                    <a:pt x="919" y="124"/>
                  </a:lnTo>
                  <a:lnTo>
                    <a:pt x="904" y="128"/>
                  </a:lnTo>
                  <a:lnTo>
                    <a:pt x="899" y="133"/>
                  </a:lnTo>
                  <a:lnTo>
                    <a:pt x="894" y="136"/>
                  </a:lnTo>
                  <a:lnTo>
                    <a:pt x="892" y="143"/>
                  </a:lnTo>
                  <a:lnTo>
                    <a:pt x="892" y="150"/>
                  </a:lnTo>
                  <a:lnTo>
                    <a:pt x="895" y="146"/>
                  </a:lnTo>
                  <a:lnTo>
                    <a:pt x="900" y="143"/>
                  </a:lnTo>
                  <a:lnTo>
                    <a:pt x="904" y="143"/>
                  </a:lnTo>
                  <a:lnTo>
                    <a:pt x="907" y="143"/>
                  </a:lnTo>
                  <a:lnTo>
                    <a:pt x="910" y="143"/>
                  </a:lnTo>
                  <a:lnTo>
                    <a:pt x="914" y="146"/>
                  </a:lnTo>
                  <a:lnTo>
                    <a:pt x="917" y="148"/>
                  </a:lnTo>
                  <a:lnTo>
                    <a:pt x="921" y="153"/>
                  </a:lnTo>
                  <a:lnTo>
                    <a:pt x="929" y="153"/>
                  </a:lnTo>
                  <a:lnTo>
                    <a:pt x="939" y="153"/>
                  </a:lnTo>
                  <a:lnTo>
                    <a:pt x="947" y="150"/>
                  </a:lnTo>
                  <a:lnTo>
                    <a:pt x="958" y="145"/>
                  </a:lnTo>
                  <a:lnTo>
                    <a:pt x="959" y="155"/>
                  </a:lnTo>
                  <a:lnTo>
                    <a:pt x="963" y="163"/>
                  </a:lnTo>
                  <a:lnTo>
                    <a:pt x="973" y="161"/>
                  </a:lnTo>
                  <a:lnTo>
                    <a:pt x="983" y="160"/>
                  </a:lnTo>
                  <a:lnTo>
                    <a:pt x="985" y="155"/>
                  </a:lnTo>
                  <a:lnTo>
                    <a:pt x="985" y="150"/>
                  </a:lnTo>
                  <a:lnTo>
                    <a:pt x="985" y="146"/>
                  </a:lnTo>
                  <a:lnTo>
                    <a:pt x="983" y="143"/>
                  </a:lnTo>
                  <a:lnTo>
                    <a:pt x="979" y="140"/>
                  </a:lnTo>
                  <a:lnTo>
                    <a:pt x="976" y="138"/>
                  </a:lnTo>
                  <a:lnTo>
                    <a:pt x="971" y="136"/>
                  </a:lnTo>
                  <a:lnTo>
                    <a:pt x="964" y="136"/>
                  </a:lnTo>
                  <a:lnTo>
                    <a:pt x="953" y="128"/>
                  </a:lnTo>
                  <a:lnTo>
                    <a:pt x="941" y="118"/>
                  </a:lnTo>
                  <a:lnTo>
                    <a:pt x="942" y="109"/>
                  </a:lnTo>
                  <a:lnTo>
                    <a:pt x="946" y="101"/>
                  </a:lnTo>
                  <a:lnTo>
                    <a:pt x="951" y="97"/>
                  </a:lnTo>
                  <a:lnTo>
                    <a:pt x="959" y="94"/>
                  </a:lnTo>
                  <a:lnTo>
                    <a:pt x="971" y="99"/>
                  </a:lnTo>
                  <a:lnTo>
                    <a:pt x="985" y="104"/>
                  </a:lnTo>
                  <a:lnTo>
                    <a:pt x="996" y="108"/>
                  </a:lnTo>
                  <a:lnTo>
                    <a:pt x="1010" y="113"/>
                  </a:lnTo>
                  <a:lnTo>
                    <a:pt x="1020" y="113"/>
                  </a:lnTo>
                  <a:lnTo>
                    <a:pt x="1028" y="113"/>
                  </a:lnTo>
                  <a:lnTo>
                    <a:pt x="1027" y="118"/>
                  </a:lnTo>
                  <a:lnTo>
                    <a:pt x="1023" y="124"/>
                  </a:lnTo>
                  <a:lnTo>
                    <a:pt x="1037" y="140"/>
                  </a:lnTo>
                  <a:lnTo>
                    <a:pt x="1050" y="156"/>
                  </a:lnTo>
                  <a:lnTo>
                    <a:pt x="1055" y="161"/>
                  </a:lnTo>
                  <a:lnTo>
                    <a:pt x="1062" y="165"/>
                  </a:lnTo>
                  <a:lnTo>
                    <a:pt x="1059" y="170"/>
                  </a:lnTo>
                  <a:lnTo>
                    <a:pt x="1054" y="175"/>
                  </a:lnTo>
                  <a:lnTo>
                    <a:pt x="1055" y="190"/>
                  </a:lnTo>
                  <a:lnTo>
                    <a:pt x="1054" y="204"/>
                  </a:lnTo>
                  <a:lnTo>
                    <a:pt x="1050" y="217"/>
                  </a:lnTo>
                  <a:lnTo>
                    <a:pt x="1050" y="227"/>
                  </a:lnTo>
                  <a:lnTo>
                    <a:pt x="1055" y="219"/>
                  </a:lnTo>
                  <a:lnTo>
                    <a:pt x="1062" y="212"/>
                  </a:lnTo>
                  <a:lnTo>
                    <a:pt x="1065" y="209"/>
                  </a:lnTo>
                  <a:lnTo>
                    <a:pt x="1069" y="207"/>
                  </a:lnTo>
                  <a:lnTo>
                    <a:pt x="1072" y="205"/>
                  </a:lnTo>
                  <a:lnTo>
                    <a:pt x="1077" y="205"/>
                  </a:lnTo>
                  <a:lnTo>
                    <a:pt x="1080" y="188"/>
                  </a:lnTo>
                  <a:lnTo>
                    <a:pt x="1084" y="172"/>
                  </a:lnTo>
                  <a:lnTo>
                    <a:pt x="1089" y="173"/>
                  </a:lnTo>
                  <a:lnTo>
                    <a:pt x="1094" y="175"/>
                  </a:lnTo>
                  <a:lnTo>
                    <a:pt x="1099" y="178"/>
                  </a:lnTo>
                  <a:lnTo>
                    <a:pt x="1102" y="182"/>
                  </a:lnTo>
                  <a:lnTo>
                    <a:pt x="1109" y="192"/>
                  </a:lnTo>
                  <a:lnTo>
                    <a:pt x="1116" y="205"/>
                  </a:lnTo>
                  <a:lnTo>
                    <a:pt x="1112" y="224"/>
                  </a:lnTo>
                  <a:lnTo>
                    <a:pt x="1111" y="241"/>
                  </a:lnTo>
                  <a:lnTo>
                    <a:pt x="1112" y="256"/>
                  </a:lnTo>
                  <a:lnTo>
                    <a:pt x="1118" y="271"/>
                  </a:lnTo>
                  <a:lnTo>
                    <a:pt x="1123" y="286"/>
                  </a:lnTo>
                  <a:lnTo>
                    <a:pt x="1133" y="299"/>
                  </a:lnTo>
                  <a:lnTo>
                    <a:pt x="1143" y="311"/>
                  </a:lnTo>
                  <a:lnTo>
                    <a:pt x="1156" y="323"/>
                  </a:lnTo>
                  <a:lnTo>
                    <a:pt x="1156" y="325"/>
                  </a:lnTo>
                  <a:lnTo>
                    <a:pt x="1131" y="325"/>
                  </a:lnTo>
                  <a:lnTo>
                    <a:pt x="1107" y="325"/>
                  </a:lnTo>
                  <a:lnTo>
                    <a:pt x="1104" y="335"/>
                  </a:lnTo>
                  <a:lnTo>
                    <a:pt x="1101" y="343"/>
                  </a:lnTo>
                  <a:lnTo>
                    <a:pt x="1097" y="347"/>
                  </a:lnTo>
                  <a:lnTo>
                    <a:pt x="1096" y="348"/>
                  </a:lnTo>
                  <a:lnTo>
                    <a:pt x="1092" y="350"/>
                  </a:lnTo>
                  <a:lnTo>
                    <a:pt x="1091" y="350"/>
                  </a:lnTo>
                  <a:lnTo>
                    <a:pt x="1086" y="347"/>
                  </a:lnTo>
                  <a:lnTo>
                    <a:pt x="1080" y="342"/>
                  </a:lnTo>
                  <a:lnTo>
                    <a:pt x="1075" y="338"/>
                  </a:lnTo>
                  <a:lnTo>
                    <a:pt x="1072" y="337"/>
                  </a:lnTo>
                  <a:lnTo>
                    <a:pt x="1069" y="338"/>
                  </a:lnTo>
                  <a:lnTo>
                    <a:pt x="1067" y="340"/>
                  </a:lnTo>
                  <a:lnTo>
                    <a:pt x="1064" y="347"/>
                  </a:lnTo>
                  <a:lnTo>
                    <a:pt x="1064" y="360"/>
                  </a:lnTo>
                  <a:lnTo>
                    <a:pt x="1059" y="370"/>
                  </a:lnTo>
                  <a:lnTo>
                    <a:pt x="1054" y="380"/>
                  </a:lnTo>
                  <a:lnTo>
                    <a:pt x="1048" y="389"/>
                  </a:lnTo>
                  <a:lnTo>
                    <a:pt x="1042" y="395"/>
                  </a:lnTo>
                  <a:lnTo>
                    <a:pt x="1035" y="401"/>
                  </a:lnTo>
                  <a:lnTo>
                    <a:pt x="1027" y="406"/>
                  </a:lnTo>
                  <a:lnTo>
                    <a:pt x="1017" y="409"/>
                  </a:lnTo>
                  <a:lnTo>
                    <a:pt x="1008" y="411"/>
                  </a:lnTo>
                  <a:lnTo>
                    <a:pt x="1001" y="409"/>
                  </a:lnTo>
                  <a:lnTo>
                    <a:pt x="996" y="409"/>
                  </a:lnTo>
                  <a:lnTo>
                    <a:pt x="993" y="409"/>
                  </a:lnTo>
                  <a:lnTo>
                    <a:pt x="990" y="412"/>
                  </a:lnTo>
                  <a:lnTo>
                    <a:pt x="988" y="417"/>
                  </a:lnTo>
                  <a:lnTo>
                    <a:pt x="988" y="424"/>
                  </a:lnTo>
                  <a:lnTo>
                    <a:pt x="985" y="439"/>
                  </a:lnTo>
                  <a:lnTo>
                    <a:pt x="983" y="453"/>
                  </a:lnTo>
                  <a:lnTo>
                    <a:pt x="974" y="473"/>
                  </a:lnTo>
                  <a:lnTo>
                    <a:pt x="964" y="495"/>
                  </a:lnTo>
                  <a:lnTo>
                    <a:pt x="946" y="513"/>
                  </a:lnTo>
                  <a:lnTo>
                    <a:pt x="926" y="539"/>
                  </a:lnTo>
                  <a:lnTo>
                    <a:pt x="919" y="545"/>
                  </a:lnTo>
                  <a:lnTo>
                    <a:pt x="916" y="552"/>
                  </a:lnTo>
                  <a:lnTo>
                    <a:pt x="914" y="562"/>
                  </a:lnTo>
                  <a:lnTo>
                    <a:pt x="916" y="572"/>
                  </a:lnTo>
                  <a:lnTo>
                    <a:pt x="926" y="587"/>
                  </a:lnTo>
                  <a:lnTo>
                    <a:pt x="936" y="604"/>
                  </a:lnTo>
                  <a:lnTo>
                    <a:pt x="946" y="603"/>
                  </a:lnTo>
                  <a:lnTo>
                    <a:pt x="954" y="603"/>
                  </a:lnTo>
                  <a:lnTo>
                    <a:pt x="963" y="603"/>
                  </a:lnTo>
                  <a:lnTo>
                    <a:pt x="971" y="606"/>
                  </a:lnTo>
                  <a:lnTo>
                    <a:pt x="978" y="609"/>
                  </a:lnTo>
                  <a:lnTo>
                    <a:pt x="985" y="614"/>
                  </a:lnTo>
                  <a:lnTo>
                    <a:pt x="990" y="619"/>
                  </a:lnTo>
                  <a:lnTo>
                    <a:pt x="996" y="626"/>
                  </a:lnTo>
                  <a:lnTo>
                    <a:pt x="1005" y="633"/>
                  </a:lnTo>
                  <a:lnTo>
                    <a:pt x="1010" y="640"/>
                  </a:lnTo>
                  <a:lnTo>
                    <a:pt x="1013" y="646"/>
                  </a:lnTo>
                  <a:lnTo>
                    <a:pt x="1015" y="655"/>
                  </a:lnTo>
                  <a:lnTo>
                    <a:pt x="1017" y="668"/>
                  </a:lnTo>
                  <a:lnTo>
                    <a:pt x="1015" y="682"/>
                  </a:lnTo>
                  <a:lnTo>
                    <a:pt x="1013" y="695"/>
                  </a:lnTo>
                  <a:lnTo>
                    <a:pt x="1015" y="702"/>
                  </a:lnTo>
                  <a:lnTo>
                    <a:pt x="1018" y="702"/>
                  </a:lnTo>
                  <a:lnTo>
                    <a:pt x="1022" y="704"/>
                  </a:lnTo>
                  <a:lnTo>
                    <a:pt x="1027" y="709"/>
                  </a:lnTo>
                  <a:lnTo>
                    <a:pt x="1030" y="715"/>
                  </a:lnTo>
                  <a:lnTo>
                    <a:pt x="1033" y="724"/>
                  </a:lnTo>
                  <a:lnTo>
                    <a:pt x="1033" y="732"/>
                  </a:lnTo>
                  <a:lnTo>
                    <a:pt x="1033" y="749"/>
                  </a:lnTo>
                  <a:lnTo>
                    <a:pt x="1032" y="768"/>
                  </a:lnTo>
                  <a:lnTo>
                    <a:pt x="1030" y="786"/>
                  </a:lnTo>
                  <a:lnTo>
                    <a:pt x="1027" y="803"/>
                  </a:lnTo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33931" name="Freeform 66"/>
            <p:cNvSpPr>
              <a:spLocks/>
            </p:cNvSpPr>
            <p:nvPr>
              <p:custDataLst>
                <p:tags r:id="rId16"/>
              </p:custDataLst>
            </p:nvPr>
          </p:nvSpPr>
          <p:spPr bwMode="auto">
            <a:xfrm>
              <a:off x="753" y="2681"/>
              <a:ext cx="1098" cy="1157"/>
            </a:xfrm>
            <a:custGeom>
              <a:avLst/>
              <a:gdLst>
                <a:gd name="T0" fmla="*/ 362 w 1927"/>
                <a:gd name="T1" fmla="*/ 63 h 1972"/>
                <a:gd name="T2" fmla="*/ 356 w 1927"/>
                <a:gd name="T3" fmla="*/ 38 h 1972"/>
                <a:gd name="T4" fmla="*/ 331 w 1927"/>
                <a:gd name="T5" fmla="*/ 1 h 1972"/>
                <a:gd name="T6" fmla="*/ 311 w 1927"/>
                <a:gd name="T7" fmla="*/ 30 h 1972"/>
                <a:gd name="T8" fmla="*/ 277 w 1927"/>
                <a:gd name="T9" fmla="*/ 68 h 1972"/>
                <a:gd name="T10" fmla="*/ 246 w 1927"/>
                <a:gd name="T11" fmla="*/ 110 h 1972"/>
                <a:gd name="T12" fmla="*/ 224 w 1927"/>
                <a:gd name="T13" fmla="*/ 144 h 1972"/>
                <a:gd name="T14" fmla="*/ 220 w 1927"/>
                <a:gd name="T15" fmla="*/ 166 h 1972"/>
                <a:gd name="T16" fmla="*/ 170 w 1927"/>
                <a:gd name="T17" fmla="*/ 179 h 1972"/>
                <a:gd name="T18" fmla="*/ 124 w 1927"/>
                <a:gd name="T19" fmla="*/ 226 h 1972"/>
                <a:gd name="T20" fmla="*/ 75 w 1927"/>
                <a:gd name="T21" fmla="*/ 247 h 1972"/>
                <a:gd name="T22" fmla="*/ 42 w 1927"/>
                <a:gd name="T23" fmla="*/ 247 h 1972"/>
                <a:gd name="T24" fmla="*/ 3 w 1927"/>
                <a:gd name="T25" fmla="*/ 313 h 1972"/>
                <a:gd name="T26" fmla="*/ 7 w 1927"/>
                <a:gd name="T27" fmla="*/ 353 h 1972"/>
                <a:gd name="T28" fmla="*/ 12 w 1927"/>
                <a:gd name="T29" fmla="*/ 366 h 1972"/>
                <a:gd name="T30" fmla="*/ 9 w 1927"/>
                <a:gd name="T31" fmla="*/ 414 h 1972"/>
                <a:gd name="T32" fmla="*/ 37 w 1927"/>
                <a:gd name="T33" fmla="*/ 431 h 1972"/>
                <a:gd name="T34" fmla="*/ 81 w 1927"/>
                <a:gd name="T35" fmla="*/ 429 h 1972"/>
                <a:gd name="T36" fmla="*/ 134 w 1927"/>
                <a:gd name="T37" fmla="*/ 459 h 1972"/>
                <a:gd name="T38" fmla="*/ 162 w 1927"/>
                <a:gd name="T39" fmla="*/ 496 h 1972"/>
                <a:gd name="T40" fmla="*/ 181 w 1927"/>
                <a:gd name="T41" fmla="*/ 536 h 1972"/>
                <a:gd name="T42" fmla="*/ 140 w 1927"/>
                <a:gd name="T43" fmla="*/ 595 h 1972"/>
                <a:gd name="T44" fmla="*/ 187 w 1927"/>
                <a:gd name="T45" fmla="*/ 618 h 1972"/>
                <a:gd name="T46" fmla="*/ 216 w 1927"/>
                <a:gd name="T47" fmla="*/ 655 h 1972"/>
                <a:gd name="T48" fmla="*/ 262 w 1927"/>
                <a:gd name="T49" fmla="*/ 676 h 1972"/>
                <a:gd name="T50" fmla="*/ 315 w 1927"/>
                <a:gd name="T51" fmla="*/ 634 h 1972"/>
                <a:gd name="T52" fmla="*/ 350 w 1927"/>
                <a:gd name="T53" fmla="*/ 626 h 1972"/>
                <a:gd name="T54" fmla="*/ 352 w 1927"/>
                <a:gd name="T55" fmla="*/ 593 h 1972"/>
                <a:gd name="T56" fmla="*/ 364 w 1927"/>
                <a:gd name="T57" fmla="*/ 585 h 1972"/>
                <a:gd name="T58" fmla="*/ 383 w 1927"/>
                <a:gd name="T59" fmla="*/ 577 h 1972"/>
                <a:gd name="T60" fmla="*/ 406 w 1927"/>
                <a:gd name="T61" fmla="*/ 577 h 1972"/>
                <a:gd name="T62" fmla="*/ 450 w 1927"/>
                <a:gd name="T63" fmla="*/ 565 h 1972"/>
                <a:gd name="T64" fmla="*/ 473 w 1927"/>
                <a:gd name="T65" fmla="*/ 543 h 1972"/>
                <a:gd name="T66" fmla="*/ 487 w 1927"/>
                <a:gd name="T67" fmla="*/ 557 h 1972"/>
                <a:gd name="T68" fmla="*/ 516 w 1927"/>
                <a:gd name="T69" fmla="*/ 564 h 1972"/>
                <a:gd name="T70" fmla="*/ 548 w 1927"/>
                <a:gd name="T71" fmla="*/ 547 h 1972"/>
                <a:gd name="T72" fmla="*/ 546 w 1927"/>
                <a:gd name="T73" fmla="*/ 489 h 1972"/>
                <a:gd name="T74" fmla="*/ 517 w 1927"/>
                <a:gd name="T75" fmla="*/ 483 h 1972"/>
                <a:gd name="T76" fmla="*/ 541 w 1927"/>
                <a:gd name="T77" fmla="*/ 447 h 1972"/>
                <a:gd name="T78" fmla="*/ 531 w 1927"/>
                <a:gd name="T79" fmla="*/ 383 h 1972"/>
                <a:gd name="T80" fmla="*/ 508 w 1927"/>
                <a:gd name="T81" fmla="*/ 387 h 1972"/>
                <a:gd name="T82" fmla="*/ 481 w 1927"/>
                <a:gd name="T83" fmla="*/ 384 h 1972"/>
                <a:gd name="T84" fmla="*/ 483 w 1927"/>
                <a:gd name="T85" fmla="*/ 362 h 1972"/>
                <a:gd name="T86" fmla="*/ 512 w 1927"/>
                <a:gd name="T87" fmla="*/ 346 h 1972"/>
                <a:gd name="T88" fmla="*/ 481 w 1927"/>
                <a:gd name="T89" fmla="*/ 343 h 1972"/>
                <a:gd name="T90" fmla="*/ 505 w 1927"/>
                <a:gd name="T91" fmla="*/ 336 h 1972"/>
                <a:gd name="T92" fmla="*/ 537 w 1927"/>
                <a:gd name="T93" fmla="*/ 367 h 1972"/>
                <a:gd name="T94" fmla="*/ 562 w 1927"/>
                <a:gd name="T95" fmla="*/ 368 h 1972"/>
                <a:gd name="T96" fmla="*/ 582 w 1927"/>
                <a:gd name="T97" fmla="*/ 377 h 1972"/>
                <a:gd name="T98" fmla="*/ 624 w 1927"/>
                <a:gd name="T99" fmla="*/ 327 h 1972"/>
                <a:gd name="T100" fmla="*/ 592 w 1927"/>
                <a:gd name="T101" fmla="*/ 313 h 1972"/>
                <a:gd name="T102" fmla="*/ 564 w 1927"/>
                <a:gd name="T103" fmla="*/ 314 h 1972"/>
                <a:gd name="T104" fmla="*/ 545 w 1927"/>
                <a:gd name="T105" fmla="*/ 276 h 1972"/>
                <a:gd name="T106" fmla="*/ 560 w 1927"/>
                <a:gd name="T107" fmla="*/ 199 h 1972"/>
                <a:gd name="T108" fmla="*/ 544 w 1927"/>
                <a:gd name="T109" fmla="*/ 151 h 1972"/>
                <a:gd name="T110" fmla="*/ 529 w 1927"/>
                <a:gd name="T111" fmla="*/ 141 h 1972"/>
                <a:gd name="T112" fmla="*/ 493 w 1927"/>
                <a:gd name="T113" fmla="*/ 143 h 1972"/>
                <a:gd name="T114" fmla="*/ 461 w 1927"/>
                <a:gd name="T115" fmla="*/ 126 h 1972"/>
                <a:gd name="T116" fmla="*/ 445 w 1927"/>
                <a:gd name="T117" fmla="*/ 96 h 1972"/>
                <a:gd name="T118" fmla="*/ 426 w 1927"/>
                <a:gd name="T119" fmla="*/ 87 h 197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1927" h="1972">
                  <a:moveTo>
                    <a:pt x="1314" y="227"/>
                  </a:moveTo>
                  <a:lnTo>
                    <a:pt x="1304" y="227"/>
                  </a:lnTo>
                  <a:lnTo>
                    <a:pt x="1294" y="225"/>
                  </a:lnTo>
                  <a:lnTo>
                    <a:pt x="1284" y="222"/>
                  </a:lnTo>
                  <a:lnTo>
                    <a:pt x="1275" y="222"/>
                  </a:lnTo>
                  <a:lnTo>
                    <a:pt x="1265" y="224"/>
                  </a:lnTo>
                  <a:lnTo>
                    <a:pt x="1257" y="225"/>
                  </a:lnTo>
                  <a:lnTo>
                    <a:pt x="1243" y="229"/>
                  </a:lnTo>
                  <a:lnTo>
                    <a:pt x="1230" y="229"/>
                  </a:lnTo>
                  <a:lnTo>
                    <a:pt x="1217" y="225"/>
                  </a:lnTo>
                  <a:lnTo>
                    <a:pt x="1205" y="219"/>
                  </a:lnTo>
                  <a:lnTo>
                    <a:pt x="1186" y="212"/>
                  </a:lnTo>
                  <a:lnTo>
                    <a:pt x="1169" y="205"/>
                  </a:lnTo>
                  <a:lnTo>
                    <a:pt x="1151" y="198"/>
                  </a:lnTo>
                  <a:lnTo>
                    <a:pt x="1134" y="192"/>
                  </a:lnTo>
                  <a:lnTo>
                    <a:pt x="1122" y="188"/>
                  </a:lnTo>
                  <a:lnTo>
                    <a:pt x="1114" y="183"/>
                  </a:lnTo>
                  <a:lnTo>
                    <a:pt x="1109" y="180"/>
                  </a:lnTo>
                  <a:lnTo>
                    <a:pt x="1107" y="175"/>
                  </a:lnTo>
                  <a:lnTo>
                    <a:pt x="1107" y="170"/>
                  </a:lnTo>
                  <a:lnTo>
                    <a:pt x="1110" y="163"/>
                  </a:lnTo>
                  <a:lnTo>
                    <a:pt x="1116" y="158"/>
                  </a:lnTo>
                  <a:lnTo>
                    <a:pt x="1122" y="151"/>
                  </a:lnTo>
                  <a:lnTo>
                    <a:pt x="1137" y="139"/>
                  </a:lnTo>
                  <a:lnTo>
                    <a:pt x="1144" y="129"/>
                  </a:lnTo>
                  <a:lnTo>
                    <a:pt x="1144" y="126"/>
                  </a:lnTo>
                  <a:lnTo>
                    <a:pt x="1141" y="124"/>
                  </a:lnTo>
                  <a:lnTo>
                    <a:pt x="1134" y="123"/>
                  </a:lnTo>
                  <a:lnTo>
                    <a:pt x="1122" y="123"/>
                  </a:lnTo>
                  <a:lnTo>
                    <a:pt x="1114" y="123"/>
                  </a:lnTo>
                  <a:lnTo>
                    <a:pt x="1107" y="121"/>
                  </a:lnTo>
                  <a:lnTo>
                    <a:pt x="1102" y="119"/>
                  </a:lnTo>
                  <a:lnTo>
                    <a:pt x="1097" y="114"/>
                  </a:lnTo>
                  <a:lnTo>
                    <a:pt x="1095" y="109"/>
                  </a:lnTo>
                  <a:lnTo>
                    <a:pt x="1094" y="102"/>
                  </a:lnTo>
                  <a:lnTo>
                    <a:pt x="1095" y="92"/>
                  </a:lnTo>
                  <a:lnTo>
                    <a:pt x="1099" y="82"/>
                  </a:lnTo>
                  <a:lnTo>
                    <a:pt x="1102" y="69"/>
                  </a:lnTo>
                  <a:lnTo>
                    <a:pt x="1104" y="55"/>
                  </a:lnTo>
                  <a:lnTo>
                    <a:pt x="1102" y="45"/>
                  </a:lnTo>
                  <a:lnTo>
                    <a:pt x="1100" y="38"/>
                  </a:lnTo>
                  <a:lnTo>
                    <a:pt x="1095" y="32"/>
                  </a:lnTo>
                  <a:lnTo>
                    <a:pt x="1090" y="27"/>
                  </a:lnTo>
                  <a:lnTo>
                    <a:pt x="1082" y="23"/>
                  </a:lnTo>
                  <a:lnTo>
                    <a:pt x="1072" y="23"/>
                  </a:lnTo>
                  <a:lnTo>
                    <a:pt x="1058" y="20"/>
                  </a:lnTo>
                  <a:lnTo>
                    <a:pt x="1045" y="15"/>
                  </a:lnTo>
                  <a:lnTo>
                    <a:pt x="1031" y="8"/>
                  </a:lnTo>
                  <a:lnTo>
                    <a:pt x="1020" y="0"/>
                  </a:lnTo>
                  <a:lnTo>
                    <a:pt x="1020" y="1"/>
                  </a:lnTo>
                  <a:lnTo>
                    <a:pt x="1015" y="3"/>
                  </a:lnTo>
                  <a:lnTo>
                    <a:pt x="1011" y="5"/>
                  </a:lnTo>
                  <a:lnTo>
                    <a:pt x="1010" y="15"/>
                  </a:lnTo>
                  <a:lnTo>
                    <a:pt x="1008" y="25"/>
                  </a:lnTo>
                  <a:lnTo>
                    <a:pt x="1004" y="35"/>
                  </a:lnTo>
                  <a:lnTo>
                    <a:pt x="1003" y="45"/>
                  </a:lnTo>
                  <a:lnTo>
                    <a:pt x="999" y="54"/>
                  </a:lnTo>
                  <a:lnTo>
                    <a:pt x="996" y="59"/>
                  </a:lnTo>
                  <a:lnTo>
                    <a:pt x="991" y="64"/>
                  </a:lnTo>
                  <a:lnTo>
                    <a:pt x="986" y="67"/>
                  </a:lnTo>
                  <a:lnTo>
                    <a:pt x="981" y="69"/>
                  </a:lnTo>
                  <a:lnTo>
                    <a:pt x="976" y="69"/>
                  </a:lnTo>
                  <a:lnTo>
                    <a:pt x="969" y="67"/>
                  </a:lnTo>
                  <a:lnTo>
                    <a:pt x="964" y="69"/>
                  </a:lnTo>
                  <a:lnTo>
                    <a:pt x="961" y="74"/>
                  </a:lnTo>
                  <a:lnTo>
                    <a:pt x="957" y="79"/>
                  </a:lnTo>
                  <a:lnTo>
                    <a:pt x="956" y="87"/>
                  </a:lnTo>
                  <a:lnTo>
                    <a:pt x="956" y="97"/>
                  </a:lnTo>
                  <a:lnTo>
                    <a:pt x="956" y="111"/>
                  </a:lnTo>
                  <a:lnTo>
                    <a:pt x="959" y="126"/>
                  </a:lnTo>
                  <a:lnTo>
                    <a:pt x="962" y="133"/>
                  </a:lnTo>
                  <a:lnTo>
                    <a:pt x="964" y="139"/>
                  </a:lnTo>
                  <a:lnTo>
                    <a:pt x="964" y="145"/>
                  </a:lnTo>
                  <a:lnTo>
                    <a:pt x="962" y="150"/>
                  </a:lnTo>
                  <a:lnTo>
                    <a:pt x="959" y="155"/>
                  </a:lnTo>
                  <a:lnTo>
                    <a:pt x="954" y="160"/>
                  </a:lnTo>
                  <a:lnTo>
                    <a:pt x="947" y="165"/>
                  </a:lnTo>
                  <a:lnTo>
                    <a:pt x="939" y="168"/>
                  </a:lnTo>
                  <a:lnTo>
                    <a:pt x="919" y="171"/>
                  </a:lnTo>
                  <a:lnTo>
                    <a:pt x="900" y="178"/>
                  </a:lnTo>
                  <a:lnTo>
                    <a:pt x="883" y="185"/>
                  </a:lnTo>
                  <a:lnTo>
                    <a:pt x="870" y="195"/>
                  </a:lnTo>
                  <a:lnTo>
                    <a:pt x="861" y="198"/>
                  </a:lnTo>
                  <a:lnTo>
                    <a:pt x="855" y="198"/>
                  </a:lnTo>
                  <a:lnTo>
                    <a:pt x="848" y="195"/>
                  </a:lnTo>
                  <a:lnTo>
                    <a:pt x="843" y="188"/>
                  </a:lnTo>
                  <a:lnTo>
                    <a:pt x="839" y="183"/>
                  </a:lnTo>
                  <a:lnTo>
                    <a:pt x="838" y="180"/>
                  </a:lnTo>
                  <a:lnTo>
                    <a:pt x="834" y="180"/>
                  </a:lnTo>
                  <a:lnTo>
                    <a:pt x="829" y="182"/>
                  </a:lnTo>
                  <a:lnTo>
                    <a:pt x="826" y="185"/>
                  </a:lnTo>
                  <a:lnTo>
                    <a:pt x="821" y="190"/>
                  </a:lnTo>
                  <a:lnTo>
                    <a:pt x="814" y="198"/>
                  </a:lnTo>
                  <a:lnTo>
                    <a:pt x="808" y="207"/>
                  </a:lnTo>
                  <a:lnTo>
                    <a:pt x="809" y="227"/>
                  </a:lnTo>
                  <a:lnTo>
                    <a:pt x="811" y="249"/>
                  </a:lnTo>
                  <a:lnTo>
                    <a:pt x="796" y="271"/>
                  </a:lnTo>
                  <a:lnTo>
                    <a:pt x="781" y="294"/>
                  </a:lnTo>
                  <a:lnTo>
                    <a:pt x="774" y="305"/>
                  </a:lnTo>
                  <a:lnTo>
                    <a:pt x="765" y="313"/>
                  </a:lnTo>
                  <a:lnTo>
                    <a:pt x="757" y="320"/>
                  </a:lnTo>
                  <a:lnTo>
                    <a:pt x="747" y="325"/>
                  </a:lnTo>
                  <a:lnTo>
                    <a:pt x="727" y="338"/>
                  </a:lnTo>
                  <a:lnTo>
                    <a:pt x="713" y="348"/>
                  </a:lnTo>
                  <a:lnTo>
                    <a:pt x="727" y="362"/>
                  </a:lnTo>
                  <a:lnTo>
                    <a:pt x="733" y="374"/>
                  </a:lnTo>
                  <a:lnTo>
                    <a:pt x="735" y="379"/>
                  </a:lnTo>
                  <a:lnTo>
                    <a:pt x="737" y="384"/>
                  </a:lnTo>
                  <a:lnTo>
                    <a:pt x="735" y="389"/>
                  </a:lnTo>
                  <a:lnTo>
                    <a:pt x="733" y="392"/>
                  </a:lnTo>
                  <a:lnTo>
                    <a:pt x="727" y="399"/>
                  </a:lnTo>
                  <a:lnTo>
                    <a:pt x="718" y="406"/>
                  </a:lnTo>
                  <a:lnTo>
                    <a:pt x="705" y="409"/>
                  </a:lnTo>
                  <a:lnTo>
                    <a:pt x="691" y="414"/>
                  </a:lnTo>
                  <a:lnTo>
                    <a:pt x="691" y="412"/>
                  </a:lnTo>
                  <a:lnTo>
                    <a:pt x="690" y="412"/>
                  </a:lnTo>
                  <a:lnTo>
                    <a:pt x="690" y="414"/>
                  </a:lnTo>
                  <a:lnTo>
                    <a:pt x="690" y="417"/>
                  </a:lnTo>
                  <a:lnTo>
                    <a:pt x="675" y="427"/>
                  </a:lnTo>
                  <a:lnTo>
                    <a:pt x="661" y="434"/>
                  </a:lnTo>
                  <a:lnTo>
                    <a:pt x="648" y="438"/>
                  </a:lnTo>
                  <a:lnTo>
                    <a:pt x="634" y="439"/>
                  </a:lnTo>
                  <a:lnTo>
                    <a:pt x="629" y="444"/>
                  </a:lnTo>
                  <a:lnTo>
                    <a:pt x="626" y="449"/>
                  </a:lnTo>
                  <a:lnTo>
                    <a:pt x="624" y="454"/>
                  </a:lnTo>
                  <a:lnTo>
                    <a:pt x="624" y="458"/>
                  </a:lnTo>
                  <a:lnTo>
                    <a:pt x="626" y="461"/>
                  </a:lnTo>
                  <a:lnTo>
                    <a:pt x="629" y="465"/>
                  </a:lnTo>
                  <a:lnTo>
                    <a:pt x="636" y="468"/>
                  </a:lnTo>
                  <a:lnTo>
                    <a:pt x="643" y="470"/>
                  </a:lnTo>
                  <a:lnTo>
                    <a:pt x="653" y="473"/>
                  </a:lnTo>
                  <a:lnTo>
                    <a:pt x="663" y="476"/>
                  </a:lnTo>
                  <a:lnTo>
                    <a:pt x="671" y="478"/>
                  </a:lnTo>
                  <a:lnTo>
                    <a:pt x="676" y="480"/>
                  </a:lnTo>
                  <a:lnTo>
                    <a:pt x="678" y="483"/>
                  </a:lnTo>
                  <a:lnTo>
                    <a:pt x="678" y="485"/>
                  </a:lnTo>
                  <a:lnTo>
                    <a:pt x="676" y="486"/>
                  </a:lnTo>
                  <a:lnTo>
                    <a:pt x="671" y="490"/>
                  </a:lnTo>
                  <a:lnTo>
                    <a:pt x="663" y="493"/>
                  </a:lnTo>
                  <a:lnTo>
                    <a:pt x="653" y="495"/>
                  </a:lnTo>
                  <a:lnTo>
                    <a:pt x="643" y="495"/>
                  </a:lnTo>
                  <a:lnTo>
                    <a:pt x="631" y="495"/>
                  </a:lnTo>
                  <a:lnTo>
                    <a:pt x="621" y="497"/>
                  </a:lnTo>
                  <a:lnTo>
                    <a:pt x="609" y="502"/>
                  </a:lnTo>
                  <a:lnTo>
                    <a:pt x="599" y="505"/>
                  </a:lnTo>
                  <a:lnTo>
                    <a:pt x="589" y="508"/>
                  </a:lnTo>
                  <a:lnTo>
                    <a:pt x="568" y="510"/>
                  </a:lnTo>
                  <a:lnTo>
                    <a:pt x="548" y="512"/>
                  </a:lnTo>
                  <a:lnTo>
                    <a:pt x="542" y="512"/>
                  </a:lnTo>
                  <a:lnTo>
                    <a:pt x="536" y="513"/>
                  </a:lnTo>
                  <a:lnTo>
                    <a:pt x="530" y="515"/>
                  </a:lnTo>
                  <a:lnTo>
                    <a:pt x="523" y="520"/>
                  </a:lnTo>
                  <a:lnTo>
                    <a:pt x="506" y="532"/>
                  </a:lnTo>
                  <a:lnTo>
                    <a:pt x="488" y="544"/>
                  </a:lnTo>
                  <a:lnTo>
                    <a:pt x="469" y="555"/>
                  </a:lnTo>
                  <a:lnTo>
                    <a:pt x="452" y="566"/>
                  </a:lnTo>
                  <a:lnTo>
                    <a:pt x="456" y="577"/>
                  </a:lnTo>
                  <a:lnTo>
                    <a:pt x="457" y="587"/>
                  </a:lnTo>
                  <a:lnTo>
                    <a:pt x="457" y="596"/>
                  </a:lnTo>
                  <a:lnTo>
                    <a:pt x="456" y="604"/>
                  </a:lnTo>
                  <a:lnTo>
                    <a:pt x="454" y="611"/>
                  </a:lnTo>
                  <a:lnTo>
                    <a:pt x="451" y="618"/>
                  </a:lnTo>
                  <a:lnTo>
                    <a:pt x="447" y="623"/>
                  </a:lnTo>
                  <a:lnTo>
                    <a:pt x="442" y="628"/>
                  </a:lnTo>
                  <a:lnTo>
                    <a:pt x="432" y="636"/>
                  </a:lnTo>
                  <a:lnTo>
                    <a:pt x="419" y="645"/>
                  </a:lnTo>
                  <a:lnTo>
                    <a:pt x="405" y="650"/>
                  </a:lnTo>
                  <a:lnTo>
                    <a:pt x="390" y="656"/>
                  </a:lnTo>
                  <a:lnTo>
                    <a:pt x="382" y="658"/>
                  </a:lnTo>
                  <a:lnTo>
                    <a:pt x="373" y="662"/>
                  </a:lnTo>
                  <a:lnTo>
                    <a:pt x="366" y="667"/>
                  </a:lnTo>
                  <a:lnTo>
                    <a:pt x="358" y="672"/>
                  </a:lnTo>
                  <a:lnTo>
                    <a:pt x="346" y="682"/>
                  </a:lnTo>
                  <a:lnTo>
                    <a:pt x="335" y="695"/>
                  </a:lnTo>
                  <a:lnTo>
                    <a:pt x="328" y="700"/>
                  </a:lnTo>
                  <a:lnTo>
                    <a:pt x="321" y="705"/>
                  </a:lnTo>
                  <a:lnTo>
                    <a:pt x="313" y="709"/>
                  </a:lnTo>
                  <a:lnTo>
                    <a:pt x="306" y="710"/>
                  </a:lnTo>
                  <a:lnTo>
                    <a:pt x="289" y="710"/>
                  </a:lnTo>
                  <a:lnTo>
                    <a:pt x="274" y="709"/>
                  </a:lnTo>
                  <a:lnTo>
                    <a:pt x="262" y="707"/>
                  </a:lnTo>
                  <a:lnTo>
                    <a:pt x="254" y="705"/>
                  </a:lnTo>
                  <a:lnTo>
                    <a:pt x="245" y="707"/>
                  </a:lnTo>
                  <a:lnTo>
                    <a:pt x="240" y="709"/>
                  </a:lnTo>
                  <a:lnTo>
                    <a:pt x="234" y="712"/>
                  </a:lnTo>
                  <a:lnTo>
                    <a:pt x="230" y="717"/>
                  </a:lnTo>
                  <a:lnTo>
                    <a:pt x="225" y="722"/>
                  </a:lnTo>
                  <a:lnTo>
                    <a:pt x="222" y="729"/>
                  </a:lnTo>
                  <a:lnTo>
                    <a:pt x="217" y="739"/>
                  </a:lnTo>
                  <a:lnTo>
                    <a:pt x="212" y="744"/>
                  </a:lnTo>
                  <a:lnTo>
                    <a:pt x="205" y="747"/>
                  </a:lnTo>
                  <a:lnTo>
                    <a:pt x="200" y="747"/>
                  </a:lnTo>
                  <a:lnTo>
                    <a:pt x="195" y="746"/>
                  </a:lnTo>
                  <a:lnTo>
                    <a:pt x="188" y="741"/>
                  </a:lnTo>
                  <a:lnTo>
                    <a:pt x="183" y="736"/>
                  </a:lnTo>
                  <a:lnTo>
                    <a:pt x="178" y="729"/>
                  </a:lnTo>
                  <a:lnTo>
                    <a:pt x="164" y="719"/>
                  </a:lnTo>
                  <a:lnTo>
                    <a:pt x="154" y="712"/>
                  </a:lnTo>
                  <a:lnTo>
                    <a:pt x="149" y="710"/>
                  </a:lnTo>
                  <a:lnTo>
                    <a:pt x="144" y="710"/>
                  </a:lnTo>
                  <a:lnTo>
                    <a:pt x="141" y="710"/>
                  </a:lnTo>
                  <a:lnTo>
                    <a:pt x="138" y="712"/>
                  </a:lnTo>
                  <a:lnTo>
                    <a:pt x="129" y="717"/>
                  </a:lnTo>
                  <a:lnTo>
                    <a:pt x="124" y="726"/>
                  </a:lnTo>
                  <a:lnTo>
                    <a:pt x="119" y="736"/>
                  </a:lnTo>
                  <a:lnTo>
                    <a:pt x="114" y="749"/>
                  </a:lnTo>
                  <a:lnTo>
                    <a:pt x="106" y="776"/>
                  </a:lnTo>
                  <a:lnTo>
                    <a:pt x="95" y="803"/>
                  </a:lnTo>
                  <a:lnTo>
                    <a:pt x="87" y="830"/>
                  </a:lnTo>
                  <a:lnTo>
                    <a:pt x="77" y="857"/>
                  </a:lnTo>
                  <a:lnTo>
                    <a:pt x="72" y="870"/>
                  </a:lnTo>
                  <a:lnTo>
                    <a:pt x="65" y="882"/>
                  </a:lnTo>
                  <a:lnTo>
                    <a:pt x="60" y="886"/>
                  </a:lnTo>
                  <a:lnTo>
                    <a:pt x="55" y="889"/>
                  </a:lnTo>
                  <a:lnTo>
                    <a:pt x="48" y="891"/>
                  </a:lnTo>
                  <a:lnTo>
                    <a:pt x="42" y="892"/>
                  </a:lnTo>
                  <a:lnTo>
                    <a:pt x="26" y="897"/>
                  </a:lnTo>
                  <a:lnTo>
                    <a:pt x="16" y="902"/>
                  </a:lnTo>
                  <a:lnTo>
                    <a:pt x="11" y="907"/>
                  </a:lnTo>
                  <a:lnTo>
                    <a:pt x="8" y="911"/>
                  </a:lnTo>
                  <a:lnTo>
                    <a:pt x="8" y="914"/>
                  </a:lnTo>
                  <a:lnTo>
                    <a:pt x="11" y="918"/>
                  </a:lnTo>
                  <a:lnTo>
                    <a:pt x="18" y="919"/>
                  </a:lnTo>
                  <a:lnTo>
                    <a:pt x="30" y="921"/>
                  </a:lnTo>
                  <a:lnTo>
                    <a:pt x="38" y="924"/>
                  </a:lnTo>
                  <a:lnTo>
                    <a:pt x="47" y="929"/>
                  </a:lnTo>
                  <a:lnTo>
                    <a:pt x="53" y="934"/>
                  </a:lnTo>
                  <a:lnTo>
                    <a:pt x="57" y="939"/>
                  </a:lnTo>
                  <a:lnTo>
                    <a:pt x="58" y="948"/>
                  </a:lnTo>
                  <a:lnTo>
                    <a:pt x="58" y="956"/>
                  </a:lnTo>
                  <a:lnTo>
                    <a:pt x="55" y="968"/>
                  </a:lnTo>
                  <a:lnTo>
                    <a:pt x="50" y="980"/>
                  </a:lnTo>
                  <a:lnTo>
                    <a:pt x="43" y="997"/>
                  </a:lnTo>
                  <a:lnTo>
                    <a:pt x="35" y="1010"/>
                  </a:lnTo>
                  <a:lnTo>
                    <a:pt x="32" y="1015"/>
                  </a:lnTo>
                  <a:lnTo>
                    <a:pt x="26" y="1020"/>
                  </a:lnTo>
                  <a:lnTo>
                    <a:pt x="21" y="1025"/>
                  </a:lnTo>
                  <a:lnTo>
                    <a:pt x="16" y="1027"/>
                  </a:lnTo>
                  <a:lnTo>
                    <a:pt x="11" y="1029"/>
                  </a:lnTo>
                  <a:lnTo>
                    <a:pt x="6" y="1034"/>
                  </a:lnTo>
                  <a:lnTo>
                    <a:pt x="5" y="1040"/>
                  </a:lnTo>
                  <a:lnTo>
                    <a:pt x="3" y="1051"/>
                  </a:lnTo>
                  <a:lnTo>
                    <a:pt x="0" y="1056"/>
                  </a:lnTo>
                  <a:lnTo>
                    <a:pt x="0" y="1061"/>
                  </a:lnTo>
                  <a:lnTo>
                    <a:pt x="0" y="1064"/>
                  </a:lnTo>
                  <a:lnTo>
                    <a:pt x="0" y="1067"/>
                  </a:lnTo>
                  <a:lnTo>
                    <a:pt x="3" y="1067"/>
                  </a:lnTo>
                  <a:lnTo>
                    <a:pt x="6" y="1067"/>
                  </a:lnTo>
                  <a:lnTo>
                    <a:pt x="10" y="1066"/>
                  </a:lnTo>
                  <a:lnTo>
                    <a:pt x="16" y="1064"/>
                  </a:lnTo>
                  <a:lnTo>
                    <a:pt x="23" y="1061"/>
                  </a:lnTo>
                  <a:lnTo>
                    <a:pt x="28" y="1059"/>
                  </a:lnTo>
                  <a:lnTo>
                    <a:pt x="33" y="1059"/>
                  </a:lnTo>
                  <a:lnTo>
                    <a:pt x="37" y="1062"/>
                  </a:lnTo>
                  <a:lnTo>
                    <a:pt x="40" y="1067"/>
                  </a:lnTo>
                  <a:lnTo>
                    <a:pt x="40" y="1072"/>
                  </a:lnTo>
                  <a:lnTo>
                    <a:pt x="38" y="1079"/>
                  </a:lnTo>
                  <a:lnTo>
                    <a:pt x="37" y="1086"/>
                  </a:lnTo>
                  <a:lnTo>
                    <a:pt x="26" y="1103"/>
                  </a:lnTo>
                  <a:lnTo>
                    <a:pt x="18" y="1120"/>
                  </a:lnTo>
                  <a:lnTo>
                    <a:pt x="10" y="1135"/>
                  </a:lnTo>
                  <a:lnTo>
                    <a:pt x="0" y="1148"/>
                  </a:lnTo>
                  <a:lnTo>
                    <a:pt x="5" y="1165"/>
                  </a:lnTo>
                  <a:lnTo>
                    <a:pt x="6" y="1173"/>
                  </a:lnTo>
                  <a:lnTo>
                    <a:pt x="6" y="1184"/>
                  </a:lnTo>
                  <a:lnTo>
                    <a:pt x="5" y="1199"/>
                  </a:lnTo>
                  <a:lnTo>
                    <a:pt x="6" y="1202"/>
                  </a:lnTo>
                  <a:lnTo>
                    <a:pt x="11" y="1204"/>
                  </a:lnTo>
                  <a:lnTo>
                    <a:pt x="16" y="1205"/>
                  </a:lnTo>
                  <a:lnTo>
                    <a:pt x="23" y="1204"/>
                  </a:lnTo>
                  <a:lnTo>
                    <a:pt x="28" y="1204"/>
                  </a:lnTo>
                  <a:lnTo>
                    <a:pt x="33" y="1204"/>
                  </a:lnTo>
                  <a:lnTo>
                    <a:pt x="37" y="1205"/>
                  </a:lnTo>
                  <a:lnTo>
                    <a:pt x="42" y="1209"/>
                  </a:lnTo>
                  <a:lnTo>
                    <a:pt x="45" y="1214"/>
                  </a:lnTo>
                  <a:lnTo>
                    <a:pt x="48" y="1221"/>
                  </a:lnTo>
                  <a:lnTo>
                    <a:pt x="52" y="1231"/>
                  </a:lnTo>
                  <a:lnTo>
                    <a:pt x="55" y="1246"/>
                  </a:lnTo>
                  <a:lnTo>
                    <a:pt x="55" y="1253"/>
                  </a:lnTo>
                  <a:lnTo>
                    <a:pt x="58" y="1259"/>
                  </a:lnTo>
                  <a:lnTo>
                    <a:pt x="62" y="1263"/>
                  </a:lnTo>
                  <a:lnTo>
                    <a:pt x="67" y="1266"/>
                  </a:lnTo>
                  <a:lnTo>
                    <a:pt x="74" y="1266"/>
                  </a:lnTo>
                  <a:lnTo>
                    <a:pt x="82" y="1266"/>
                  </a:lnTo>
                  <a:lnTo>
                    <a:pt x="90" y="1263"/>
                  </a:lnTo>
                  <a:lnTo>
                    <a:pt x="101" y="1258"/>
                  </a:lnTo>
                  <a:lnTo>
                    <a:pt x="107" y="1254"/>
                  </a:lnTo>
                  <a:lnTo>
                    <a:pt x="114" y="1251"/>
                  </a:lnTo>
                  <a:lnTo>
                    <a:pt x="121" y="1251"/>
                  </a:lnTo>
                  <a:lnTo>
                    <a:pt x="127" y="1251"/>
                  </a:lnTo>
                  <a:lnTo>
                    <a:pt x="136" y="1251"/>
                  </a:lnTo>
                  <a:lnTo>
                    <a:pt x="144" y="1254"/>
                  </a:lnTo>
                  <a:lnTo>
                    <a:pt x="153" y="1259"/>
                  </a:lnTo>
                  <a:lnTo>
                    <a:pt x="163" y="1266"/>
                  </a:lnTo>
                  <a:lnTo>
                    <a:pt x="173" y="1269"/>
                  </a:lnTo>
                  <a:lnTo>
                    <a:pt x="183" y="1273"/>
                  </a:lnTo>
                  <a:lnTo>
                    <a:pt x="191" y="1273"/>
                  </a:lnTo>
                  <a:lnTo>
                    <a:pt x="200" y="1273"/>
                  </a:lnTo>
                  <a:lnTo>
                    <a:pt x="208" y="1271"/>
                  </a:lnTo>
                  <a:lnTo>
                    <a:pt x="215" y="1269"/>
                  </a:lnTo>
                  <a:lnTo>
                    <a:pt x="222" y="1266"/>
                  </a:lnTo>
                  <a:lnTo>
                    <a:pt x="228" y="1263"/>
                  </a:lnTo>
                  <a:lnTo>
                    <a:pt x="239" y="1251"/>
                  </a:lnTo>
                  <a:lnTo>
                    <a:pt x="247" y="1246"/>
                  </a:lnTo>
                  <a:lnTo>
                    <a:pt x="250" y="1246"/>
                  </a:lnTo>
                  <a:lnTo>
                    <a:pt x="254" y="1249"/>
                  </a:lnTo>
                  <a:lnTo>
                    <a:pt x="257" y="1254"/>
                  </a:lnTo>
                  <a:lnTo>
                    <a:pt x="260" y="1263"/>
                  </a:lnTo>
                  <a:lnTo>
                    <a:pt x="271" y="1273"/>
                  </a:lnTo>
                  <a:lnTo>
                    <a:pt x="279" y="1283"/>
                  </a:lnTo>
                  <a:lnTo>
                    <a:pt x="291" y="1298"/>
                  </a:lnTo>
                  <a:lnTo>
                    <a:pt x="303" y="1313"/>
                  </a:lnTo>
                  <a:lnTo>
                    <a:pt x="311" y="1322"/>
                  </a:lnTo>
                  <a:lnTo>
                    <a:pt x="321" y="1332"/>
                  </a:lnTo>
                  <a:lnTo>
                    <a:pt x="331" y="1339"/>
                  </a:lnTo>
                  <a:lnTo>
                    <a:pt x="341" y="1344"/>
                  </a:lnTo>
                  <a:lnTo>
                    <a:pt x="355" y="1347"/>
                  </a:lnTo>
                  <a:lnTo>
                    <a:pt x="368" y="1349"/>
                  </a:lnTo>
                  <a:lnTo>
                    <a:pt x="383" y="1347"/>
                  </a:lnTo>
                  <a:lnTo>
                    <a:pt x="400" y="1342"/>
                  </a:lnTo>
                  <a:lnTo>
                    <a:pt x="407" y="1339"/>
                  </a:lnTo>
                  <a:lnTo>
                    <a:pt x="412" y="1335"/>
                  </a:lnTo>
                  <a:lnTo>
                    <a:pt x="417" y="1335"/>
                  </a:lnTo>
                  <a:lnTo>
                    <a:pt x="422" y="1337"/>
                  </a:lnTo>
                  <a:lnTo>
                    <a:pt x="427" y="1340"/>
                  </a:lnTo>
                  <a:lnTo>
                    <a:pt x="432" y="1345"/>
                  </a:lnTo>
                  <a:lnTo>
                    <a:pt x="437" y="1350"/>
                  </a:lnTo>
                  <a:lnTo>
                    <a:pt x="442" y="1359"/>
                  </a:lnTo>
                  <a:lnTo>
                    <a:pt x="454" y="1365"/>
                  </a:lnTo>
                  <a:lnTo>
                    <a:pt x="464" y="1372"/>
                  </a:lnTo>
                  <a:lnTo>
                    <a:pt x="467" y="1377"/>
                  </a:lnTo>
                  <a:lnTo>
                    <a:pt x="471" y="1382"/>
                  </a:lnTo>
                  <a:lnTo>
                    <a:pt x="471" y="1387"/>
                  </a:lnTo>
                  <a:lnTo>
                    <a:pt x="471" y="1396"/>
                  </a:lnTo>
                  <a:lnTo>
                    <a:pt x="473" y="1408"/>
                  </a:lnTo>
                  <a:lnTo>
                    <a:pt x="476" y="1421"/>
                  </a:lnTo>
                  <a:lnTo>
                    <a:pt x="479" y="1426"/>
                  </a:lnTo>
                  <a:lnTo>
                    <a:pt x="488" y="1433"/>
                  </a:lnTo>
                  <a:lnTo>
                    <a:pt x="499" y="1440"/>
                  </a:lnTo>
                  <a:lnTo>
                    <a:pt x="518" y="1446"/>
                  </a:lnTo>
                  <a:lnTo>
                    <a:pt x="530" y="1448"/>
                  </a:lnTo>
                  <a:lnTo>
                    <a:pt x="540" y="1451"/>
                  </a:lnTo>
                  <a:lnTo>
                    <a:pt x="545" y="1453"/>
                  </a:lnTo>
                  <a:lnTo>
                    <a:pt x="547" y="1455"/>
                  </a:lnTo>
                  <a:lnTo>
                    <a:pt x="550" y="1458"/>
                  </a:lnTo>
                  <a:lnTo>
                    <a:pt x="552" y="1463"/>
                  </a:lnTo>
                  <a:lnTo>
                    <a:pt x="563" y="1475"/>
                  </a:lnTo>
                  <a:lnTo>
                    <a:pt x="570" y="1483"/>
                  </a:lnTo>
                  <a:lnTo>
                    <a:pt x="574" y="1490"/>
                  </a:lnTo>
                  <a:lnTo>
                    <a:pt x="575" y="1495"/>
                  </a:lnTo>
                  <a:lnTo>
                    <a:pt x="577" y="1514"/>
                  </a:lnTo>
                  <a:lnTo>
                    <a:pt x="579" y="1532"/>
                  </a:lnTo>
                  <a:lnTo>
                    <a:pt x="575" y="1541"/>
                  </a:lnTo>
                  <a:lnTo>
                    <a:pt x="572" y="1547"/>
                  </a:lnTo>
                  <a:lnTo>
                    <a:pt x="565" y="1552"/>
                  </a:lnTo>
                  <a:lnTo>
                    <a:pt x="557" y="1556"/>
                  </a:lnTo>
                  <a:lnTo>
                    <a:pt x="548" y="1559"/>
                  </a:lnTo>
                  <a:lnTo>
                    <a:pt x="540" y="1564"/>
                  </a:lnTo>
                  <a:lnTo>
                    <a:pt x="533" y="1571"/>
                  </a:lnTo>
                  <a:lnTo>
                    <a:pt x="525" y="1578"/>
                  </a:lnTo>
                  <a:lnTo>
                    <a:pt x="511" y="1596"/>
                  </a:lnTo>
                  <a:lnTo>
                    <a:pt x="499" y="1615"/>
                  </a:lnTo>
                  <a:lnTo>
                    <a:pt x="484" y="1635"/>
                  </a:lnTo>
                  <a:lnTo>
                    <a:pt x="469" y="1653"/>
                  </a:lnTo>
                  <a:lnTo>
                    <a:pt x="454" y="1674"/>
                  </a:lnTo>
                  <a:lnTo>
                    <a:pt x="441" y="1692"/>
                  </a:lnTo>
                  <a:lnTo>
                    <a:pt x="434" y="1697"/>
                  </a:lnTo>
                  <a:lnTo>
                    <a:pt x="429" y="1702"/>
                  </a:lnTo>
                  <a:lnTo>
                    <a:pt x="425" y="1707"/>
                  </a:lnTo>
                  <a:lnTo>
                    <a:pt x="424" y="1712"/>
                  </a:lnTo>
                  <a:lnTo>
                    <a:pt x="425" y="1717"/>
                  </a:lnTo>
                  <a:lnTo>
                    <a:pt x="427" y="1724"/>
                  </a:lnTo>
                  <a:lnTo>
                    <a:pt x="432" y="1729"/>
                  </a:lnTo>
                  <a:lnTo>
                    <a:pt x="442" y="1734"/>
                  </a:lnTo>
                  <a:lnTo>
                    <a:pt x="451" y="1744"/>
                  </a:lnTo>
                  <a:lnTo>
                    <a:pt x="462" y="1753"/>
                  </a:lnTo>
                  <a:lnTo>
                    <a:pt x="469" y="1756"/>
                  </a:lnTo>
                  <a:lnTo>
                    <a:pt x="478" y="1760"/>
                  </a:lnTo>
                  <a:lnTo>
                    <a:pt x="488" y="1763"/>
                  </a:lnTo>
                  <a:lnTo>
                    <a:pt x="498" y="1765"/>
                  </a:lnTo>
                  <a:lnTo>
                    <a:pt x="510" y="1761"/>
                  </a:lnTo>
                  <a:lnTo>
                    <a:pt x="518" y="1761"/>
                  </a:lnTo>
                  <a:lnTo>
                    <a:pt x="526" y="1761"/>
                  </a:lnTo>
                  <a:lnTo>
                    <a:pt x="535" y="1763"/>
                  </a:lnTo>
                  <a:lnTo>
                    <a:pt x="542" y="1766"/>
                  </a:lnTo>
                  <a:lnTo>
                    <a:pt x="547" y="1770"/>
                  </a:lnTo>
                  <a:lnTo>
                    <a:pt x="552" y="1775"/>
                  </a:lnTo>
                  <a:lnTo>
                    <a:pt x="555" y="1781"/>
                  </a:lnTo>
                  <a:lnTo>
                    <a:pt x="563" y="1786"/>
                  </a:lnTo>
                  <a:lnTo>
                    <a:pt x="575" y="1795"/>
                  </a:lnTo>
                  <a:lnTo>
                    <a:pt x="587" y="1807"/>
                  </a:lnTo>
                  <a:lnTo>
                    <a:pt x="599" y="1818"/>
                  </a:lnTo>
                  <a:lnTo>
                    <a:pt x="609" y="1830"/>
                  </a:lnTo>
                  <a:lnTo>
                    <a:pt x="619" y="1839"/>
                  </a:lnTo>
                  <a:lnTo>
                    <a:pt x="624" y="1842"/>
                  </a:lnTo>
                  <a:lnTo>
                    <a:pt x="627" y="1845"/>
                  </a:lnTo>
                  <a:lnTo>
                    <a:pt x="631" y="1845"/>
                  </a:lnTo>
                  <a:lnTo>
                    <a:pt x="634" y="1845"/>
                  </a:lnTo>
                  <a:lnTo>
                    <a:pt x="643" y="1845"/>
                  </a:lnTo>
                  <a:lnTo>
                    <a:pt x="649" y="1847"/>
                  </a:lnTo>
                  <a:lnTo>
                    <a:pt x="656" y="1850"/>
                  </a:lnTo>
                  <a:lnTo>
                    <a:pt x="659" y="1856"/>
                  </a:lnTo>
                  <a:lnTo>
                    <a:pt x="663" y="1861"/>
                  </a:lnTo>
                  <a:lnTo>
                    <a:pt x="664" y="1869"/>
                  </a:lnTo>
                  <a:lnTo>
                    <a:pt x="666" y="1877"/>
                  </a:lnTo>
                  <a:lnTo>
                    <a:pt x="664" y="1888"/>
                  </a:lnTo>
                  <a:lnTo>
                    <a:pt x="666" y="1903"/>
                  </a:lnTo>
                  <a:lnTo>
                    <a:pt x="669" y="1918"/>
                  </a:lnTo>
                  <a:lnTo>
                    <a:pt x="671" y="1925"/>
                  </a:lnTo>
                  <a:lnTo>
                    <a:pt x="675" y="1930"/>
                  </a:lnTo>
                  <a:lnTo>
                    <a:pt x="678" y="1936"/>
                  </a:lnTo>
                  <a:lnTo>
                    <a:pt x="683" y="1941"/>
                  </a:lnTo>
                  <a:lnTo>
                    <a:pt x="685" y="1950"/>
                  </a:lnTo>
                  <a:lnTo>
                    <a:pt x="688" y="1957"/>
                  </a:lnTo>
                  <a:lnTo>
                    <a:pt x="693" y="1962"/>
                  </a:lnTo>
                  <a:lnTo>
                    <a:pt x="701" y="1967"/>
                  </a:lnTo>
                  <a:lnTo>
                    <a:pt x="712" y="1970"/>
                  </a:lnTo>
                  <a:lnTo>
                    <a:pt x="727" y="1972"/>
                  </a:lnTo>
                  <a:lnTo>
                    <a:pt x="745" y="1970"/>
                  </a:lnTo>
                  <a:lnTo>
                    <a:pt x="767" y="1967"/>
                  </a:lnTo>
                  <a:lnTo>
                    <a:pt x="781" y="1968"/>
                  </a:lnTo>
                  <a:lnTo>
                    <a:pt x="794" y="1968"/>
                  </a:lnTo>
                  <a:lnTo>
                    <a:pt x="801" y="1967"/>
                  </a:lnTo>
                  <a:lnTo>
                    <a:pt x="808" y="1965"/>
                  </a:lnTo>
                  <a:lnTo>
                    <a:pt x="814" y="1963"/>
                  </a:lnTo>
                  <a:lnTo>
                    <a:pt x="823" y="1958"/>
                  </a:lnTo>
                  <a:lnTo>
                    <a:pt x="831" y="1953"/>
                  </a:lnTo>
                  <a:lnTo>
                    <a:pt x="839" y="1950"/>
                  </a:lnTo>
                  <a:lnTo>
                    <a:pt x="850" y="1948"/>
                  </a:lnTo>
                  <a:lnTo>
                    <a:pt x="858" y="1946"/>
                  </a:lnTo>
                  <a:lnTo>
                    <a:pt x="878" y="1920"/>
                  </a:lnTo>
                  <a:lnTo>
                    <a:pt x="898" y="1894"/>
                  </a:lnTo>
                  <a:lnTo>
                    <a:pt x="910" y="1882"/>
                  </a:lnTo>
                  <a:lnTo>
                    <a:pt x="920" y="1872"/>
                  </a:lnTo>
                  <a:lnTo>
                    <a:pt x="932" y="1864"/>
                  </a:lnTo>
                  <a:lnTo>
                    <a:pt x="942" y="1856"/>
                  </a:lnTo>
                  <a:lnTo>
                    <a:pt x="951" y="1847"/>
                  </a:lnTo>
                  <a:lnTo>
                    <a:pt x="959" y="1842"/>
                  </a:lnTo>
                  <a:lnTo>
                    <a:pt x="962" y="1840"/>
                  </a:lnTo>
                  <a:lnTo>
                    <a:pt x="966" y="1839"/>
                  </a:lnTo>
                  <a:lnTo>
                    <a:pt x="971" y="1840"/>
                  </a:lnTo>
                  <a:lnTo>
                    <a:pt x="974" y="1840"/>
                  </a:lnTo>
                  <a:lnTo>
                    <a:pt x="981" y="1840"/>
                  </a:lnTo>
                  <a:lnTo>
                    <a:pt x="986" y="1837"/>
                  </a:lnTo>
                  <a:lnTo>
                    <a:pt x="989" y="1834"/>
                  </a:lnTo>
                  <a:lnTo>
                    <a:pt x="993" y="1829"/>
                  </a:lnTo>
                  <a:lnTo>
                    <a:pt x="994" y="1820"/>
                  </a:lnTo>
                  <a:lnTo>
                    <a:pt x="998" y="1815"/>
                  </a:lnTo>
                  <a:lnTo>
                    <a:pt x="999" y="1812"/>
                  </a:lnTo>
                  <a:lnTo>
                    <a:pt x="1003" y="1812"/>
                  </a:lnTo>
                  <a:lnTo>
                    <a:pt x="1008" y="1813"/>
                  </a:lnTo>
                  <a:lnTo>
                    <a:pt x="1015" y="1820"/>
                  </a:lnTo>
                  <a:lnTo>
                    <a:pt x="1028" y="1820"/>
                  </a:lnTo>
                  <a:lnTo>
                    <a:pt x="1040" y="1820"/>
                  </a:lnTo>
                  <a:lnTo>
                    <a:pt x="1053" y="1820"/>
                  </a:lnTo>
                  <a:lnTo>
                    <a:pt x="1065" y="1820"/>
                  </a:lnTo>
                  <a:lnTo>
                    <a:pt x="1072" y="1820"/>
                  </a:lnTo>
                  <a:lnTo>
                    <a:pt x="1077" y="1818"/>
                  </a:lnTo>
                  <a:lnTo>
                    <a:pt x="1080" y="1815"/>
                  </a:lnTo>
                  <a:lnTo>
                    <a:pt x="1082" y="1813"/>
                  </a:lnTo>
                  <a:lnTo>
                    <a:pt x="1084" y="1810"/>
                  </a:lnTo>
                  <a:lnTo>
                    <a:pt x="1084" y="1805"/>
                  </a:lnTo>
                  <a:lnTo>
                    <a:pt x="1082" y="1800"/>
                  </a:lnTo>
                  <a:lnTo>
                    <a:pt x="1080" y="1795"/>
                  </a:lnTo>
                  <a:lnTo>
                    <a:pt x="1075" y="1788"/>
                  </a:lnTo>
                  <a:lnTo>
                    <a:pt x="1073" y="1783"/>
                  </a:lnTo>
                  <a:lnTo>
                    <a:pt x="1075" y="1778"/>
                  </a:lnTo>
                  <a:lnTo>
                    <a:pt x="1079" y="1775"/>
                  </a:lnTo>
                  <a:lnTo>
                    <a:pt x="1084" y="1766"/>
                  </a:lnTo>
                  <a:lnTo>
                    <a:pt x="1085" y="1756"/>
                  </a:lnTo>
                  <a:lnTo>
                    <a:pt x="1085" y="1746"/>
                  </a:lnTo>
                  <a:lnTo>
                    <a:pt x="1085" y="1734"/>
                  </a:lnTo>
                  <a:lnTo>
                    <a:pt x="1084" y="1731"/>
                  </a:lnTo>
                  <a:lnTo>
                    <a:pt x="1084" y="1728"/>
                  </a:lnTo>
                  <a:lnTo>
                    <a:pt x="1084" y="1724"/>
                  </a:lnTo>
                  <a:lnTo>
                    <a:pt x="1085" y="1722"/>
                  </a:lnTo>
                  <a:lnTo>
                    <a:pt x="1089" y="1721"/>
                  </a:lnTo>
                  <a:lnTo>
                    <a:pt x="1092" y="1721"/>
                  </a:lnTo>
                  <a:lnTo>
                    <a:pt x="1095" y="1722"/>
                  </a:lnTo>
                  <a:lnTo>
                    <a:pt x="1099" y="1726"/>
                  </a:lnTo>
                  <a:lnTo>
                    <a:pt x="1107" y="1726"/>
                  </a:lnTo>
                  <a:lnTo>
                    <a:pt x="1112" y="1726"/>
                  </a:lnTo>
                  <a:lnTo>
                    <a:pt x="1116" y="1724"/>
                  </a:lnTo>
                  <a:lnTo>
                    <a:pt x="1116" y="1722"/>
                  </a:lnTo>
                  <a:lnTo>
                    <a:pt x="1116" y="1719"/>
                  </a:lnTo>
                  <a:lnTo>
                    <a:pt x="1112" y="1714"/>
                  </a:lnTo>
                  <a:lnTo>
                    <a:pt x="1109" y="1711"/>
                  </a:lnTo>
                  <a:lnTo>
                    <a:pt x="1107" y="1707"/>
                  </a:lnTo>
                  <a:lnTo>
                    <a:pt x="1107" y="1704"/>
                  </a:lnTo>
                  <a:lnTo>
                    <a:pt x="1107" y="1702"/>
                  </a:lnTo>
                  <a:lnTo>
                    <a:pt x="1112" y="1699"/>
                  </a:lnTo>
                  <a:lnTo>
                    <a:pt x="1122" y="1699"/>
                  </a:lnTo>
                  <a:lnTo>
                    <a:pt x="1129" y="1696"/>
                  </a:lnTo>
                  <a:lnTo>
                    <a:pt x="1136" y="1692"/>
                  </a:lnTo>
                  <a:lnTo>
                    <a:pt x="1139" y="1682"/>
                  </a:lnTo>
                  <a:lnTo>
                    <a:pt x="1141" y="1680"/>
                  </a:lnTo>
                  <a:lnTo>
                    <a:pt x="1144" y="1682"/>
                  </a:lnTo>
                  <a:lnTo>
                    <a:pt x="1148" y="1690"/>
                  </a:lnTo>
                  <a:lnTo>
                    <a:pt x="1153" y="1701"/>
                  </a:lnTo>
                  <a:lnTo>
                    <a:pt x="1156" y="1706"/>
                  </a:lnTo>
                  <a:lnTo>
                    <a:pt x="1159" y="1704"/>
                  </a:lnTo>
                  <a:lnTo>
                    <a:pt x="1161" y="1696"/>
                  </a:lnTo>
                  <a:lnTo>
                    <a:pt x="1161" y="1687"/>
                  </a:lnTo>
                  <a:lnTo>
                    <a:pt x="1163" y="1680"/>
                  </a:lnTo>
                  <a:lnTo>
                    <a:pt x="1164" y="1675"/>
                  </a:lnTo>
                  <a:lnTo>
                    <a:pt x="1166" y="1674"/>
                  </a:lnTo>
                  <a:lnTo>
                    <a:pt x="1171" y="1672"/>
                  </a:lnTo>
                  <a:lnTo>
                    <a:pt x="1174" y="1672"/>
                  </a:lnTo>
                  <a:lnTo>
                    <a:pt x="1180" y="1675"/>
                  </a:lnTo>
                  <a:lnTo>
                    <a:pt x="1186" y="1679"/>
                  </a:lnTo>
                  <a:lnTo>
                    <a:pt x="1191" y="1692"/>
                  </a:lnTo>
                  <a:lnTo>
                    <a:pt x="1198" y="1704"/>
                  </a:lnTo>
                  <a:lnTo>
                    <a:pt x="1200" y="1709"/>
                  </a:lnTo>
                  <a:lnTo>
                    <a:pt x="1201" y="1711"/>
                  </a:lnTo>
                  <a:lnTo>
                    <a:pt x="1205" y="1712"/>
                  </a:lnTo>
                  <a:lnTo>
                    <a:pt x="1206" y="1714"/>
                  </a:lnTo>
                  <a:lnTo>
                    <a:pt x="1211" y="1711"/>
                  </a:lnTo>
                  <a:lnTo>
                    <a:pt x="1218" y="1704"/>
                  </a:lnTo>
                  <a:lnTo>
                    <a:pt x="1220" y="1694"/>
                  </a:lnTo>
                  <a:lnTo>
                    <a:pt x="1223" y="1687"/>
                  </a:lnTo>
                  <a:lnTo>
                    <a:pt x="1227" y="1682"/>
                  </a:lnTo>
                  <a:lnTo>
                    <a:pt x="1230" y="1679"/>
                  </a:lnTo>
                  <a:lnTo>
                    <a:pt x="1233" y="1675"/>
                  </a:lnTo>
                  <a:lnTo>
                    <a:pt x="1238" y="1675"/>
                  </a:lnTo>
                  <a:lnTo>
                    <a:pt x="1245" y="1675"/>
                  </a:lnTo>
                  <a:lnTo>
                    <a:pt x="1250" y="1677"/>
                  </a:lnTo>
                  <a:lnTo>
                    <a:pt x="1259" y="1679"/>
                  </a:lnTo>
                  <a:lnTo>
                    <a:pt x="1265" y="1677"/>
                  </a:lnTo>
                  <a:lnTo>
                    <a:pt x="1274" y="1675"/>
                  </a:lnTo>
                  <a:lnTo>
                    <a:pt x="1282" y="1670"/>
                  </a:lnTo>
                  <a:lnTo>
                    <a:pt x="1289" y="1665"/>
                  </a:lnTo>
                  <a:lnTo>
                    <a:pt x="1296" y="1662"/>
                  </a:lnTo>
                  <a:lnTo>
                    <a:pt x="1302" y="1664"/>
                  </a:lnTo>
                  <a:lnTo>
                    <a:pt x="1311" y="1667"/>
                  </a:lnTo>
                  <a:lnTo>
                    <a:pt x="1324" y="1669"/>
                  </a:lnTo>
                  <a:lnTo>
                    <a:pt x="1338" y="1669"/>
                  </a:lnTo>
                  <a:lnTo>
                    <a:pt x="1350" y="1669"/>
                  </a:lnTo>
                  <a:lnTo>
                    <a:pt x="1361" y="1667"/>
                  </a:lnTo>
                  <a:lnTo>
                    <a:pt x="1370" y="1664"/>
                  </a:lnTo>
                  <a:lnTo>
                    <a:pt x="1376" y="1662"/>
                  </a:lnTo>
                  <a:lnTo>
                    <a:pt x="1382" y="1657"/>
                  </a:lnTo>
                  <a:lnTo>
                    <a:pt x="1383" y="1653"/>
                  </a:lnTo>
                  <a:lnTo>
                    <a:pt x="1385" y="1642"/>
                  </a:lnTo>
                  <a:lnTo>
                    <a:pt x="1387" y="1635"/>
                  </a:lnTo>
                  <a:lnTo>
                    <a:pt x="1390" y="1628"/>
                  </a:lnTo>
                  <a:lnTo>
                    <a:pt x="1395" y="1625"/>
                  </a:lnTo>
                  <a:lnTo>
                    <a:pt x="1400" y="1623"/>
                  </a:lnTo>
                  <a:lnTo>
                    <a:pt x="1405" y="1623"/>
                  </a:lnTo>
                  <a:lnTo>
                    <a:pt x="1410" y="1626"/>
                  </a:lnTo>
                  <a:lnTo>
                    <a:pt x="1417" y="1630"/>
                  </a:lnTo>
                  <a:lnTo>
                    <a:pt x="1425" y="1632"/>
                  </a:lnTo>
                  <a:lnTo>
                    <a:pt x="1432" y="1630"/>
                  </a:lnTo>
                  <a:lnTo>
                    <a:pt x="1439" y="1628"/>
                  </a:lnTo>
                  <a:lnTo>
                    <a:pt x="1444" y="1625"/>
                  </a:lnTo>
                  <a:lnTo>
                    <a:pt x="1447" y="1621"/>
                  </a:lnTo>
                  <a:lnTo>
                    <a:pt x="1451" y="1615"/>
                  </a:lnTo>
                  <a:lnTo>
                    <a:pt x="1452" y="1608"/>
                  </a:lnTo>
                  <a:lnTo>
                    <a:pt x="1456" y="1600"/>
                  </a:lnTo>
                  <a:lnTo>
                    <a:pt x="1456" y="1588"/>
                  </a:lnTo>
                  <a:lnTo>
                    <a:pt x="1456" y="1578"/>
                  </a:lnTo>
                  <a:lnTo>
                    <a:pt x="1459" y="1568"/>
                  </a:lnTo>
                  <a:lnTo>
                    <a:pt x="1462" y="1561"/>
                  </a:lnTo>
                  <a:lnTo>
                    <a:pt x="1466" y="1556"/>
                  </a:lnTo>
                  <a:lnTo>
                    <a:pt x="1472" y="1552"/>
                  </a:lnTo>
                  <a:lnTo>
                    <a:pt x="1479" y="1551"/>
                  </a:lnTo>
                  <a:lnTo>
                    <a:pt x="1488" y="1551"/>
                  </a:lnTo>
                  <a:lnTo>
                    <a:pt x="1499" y="1549"/>
                  </a:lnTo>
                  <a:lnTo>
                    <a:pt x="1509" y="1549"/>
                  </a:lnTo>
                  <a:lnTo>
                    <a:pt x="1518" y="1551"/>
                  </a:lnTo>
                  <a:lnTo>
                    <a:pt x="1523" y="1556"/>
                  </a:lnTo>
                  <a:lnTo>
                    <a:pt x="1526" y="1561"/>
                  </a:lnTo>
                  <a:lnTo>
                    <a:pt x="1528" y="1568"/>
                  </a:lnTo>
                  <a:lnTo>
                    <a:pt x="1530" y="1576"/>
                  </a:lnTo>
                  <a:lnTo>
                    <a:pt x="1528" y="1586"/>
                  </a:lnTo>
                  <a:lnTo>
                    <a:pt x="1514" y="1601"/>
                  </a:lnTo>
                  <a:lnTo>
                    <a:pt x="1501" y="1615"/>
                  </a:lnTo>
                  <a:lnTo>
                    <a:pt x="1499" y="1620"/>
                  </a:lnTo>
                  <a:lnTo>
                    <a:pt x="1498" y="1625"/>
                  </a:lnTo>
                  <a:lnTo>
                    <a:pt x="1498" y="1628"/>
                  </a:lnTo>
                  <a:lnTo>
                    <a:pt x="1499" y="1630"/>
                  </a:lnTo>
                  <a:lnTo>
                    <a:pt x="1501" y="1632"/>
                  </a:lnTo>
                  <a:lnTo>
                    <a:pt x="1504" y="1633"/>
                  </a:lnTo>
                  <a:lnTo>
                    <a:pt x="1508" y="1633"/>
                  </a:lnTo>
                  <a:lnTo>
                    <a:pt x="1514" y="1633"/>
                  </a:lnTo>
                  <a:lnTo>
                    <a:pt x="1533" y="1628"/>
                  </a:lnTo>
                  <a:lnTo>
                    <a:pt x="1552" y="1625"/>
                  </a:lnTo>
                  <a:lnTo>
                    <a:pt x="1555" y="1621"/>
                  </a:lnTo>
                  <a:lnTo>
                    <a:pt x="1560" y="1620"/>
                  </a:lnTo>
                  <a:lnTo>
                    <a:pt x="1563" y="1620"/>
                  </a:lnTo>
                  <a:lnTo>
                    <a:pt x="1568" y="1621"/>
                  </a:lnTo>
                  <a:lnTo>
                    <a:pt x="1575" y="1625"/>
                  </a:lnTo>
                  <a:lnTo>
                    <a:pt x="1583" y="1632"/>
                  </a:lnTo>
                  <a:lnTo>
                    <a:pt x="1587" y="1637"/>
                  </a:lnTo>
                  <a:lnTo>
                    <a:pt x="1590" y="1640"/>
                  </a:lnTo>
                  <a:lnTo>
                    <a:pt x="1592" y="1643"/>
                  </a:lnTo>
                  <a:lnTo>
                    <a:pt x="1595" y="1645"/>
                  </a:lnTo>
                  <a:lnTo>
                    <a:pt x="1599" y="1645"/>
                  </a:lnTo>
                  <a:lnTo>
                    <a:pt x="1602" y="1643"/>
                  </a:lnTo>
                  <a:lnTo>
                    <a:pt x="1605" y="1640"/>
                  </a:lnTo>
                  <a:lnTo>
                    <a:pt x="1609" y="1638"/>
                  </a:lnTo>
                  <a:lnTo>
                    <a:pt x="1621" y="1625"/>
                  </a:lnTo>
                  <a:lnTo>
                    <a:pt x="1634" y="1611"/>
                  </a:lnTo>
                  <a:lnTo>
                    <a:pt x="1634" y="1598"/>
                  </a:lnTo>
                  <a:lnTo>
                    <a:pt x="1636" y="1588"/>
                  </a:lnTo>
                  <a:lnTo>
                    <a:pt x="1637" y="1583"/>
                  </a:lnTo>
                  <a:lnTo>
                    <a:pt x="1639" y="1581"/>
                  </a:lnTo>
                  <a:lnTo>
                    <a:pt x="1642" y="1579"/>
                  </a:lnTo>
                  <a:lnTo>
                    <a:pt x="1646" y="1581"/>
                  </a:lnTo>
                  <a:lnTo>
                    <a:pt x="1661" y="1584"/>
                  </a:lnTo>
                  <a:lnTo>
                    <a:pt x="1678" y="1589"/>
                  </a:lnTo>
                  <a:lnTo>
                    <a:pt x="1686" y="1591"/>
                  </a:lnTo>
                  <a:lnTo>
                    <a:pt x="1696" y="1591"/>
                  </a:lnTo>
                  <a:lnTo>
                    <a:pt x="1700" y="1591"/>
                  </a:lnTo>
                  <a:lnTo>
                    <a:pt x="1703" y="1588"/>
                  </a:lnTo>
                  <a:lnTo>
                    <a:pt x="1706" y="1584"/>
                  </a:lnTo>
                  <a:lnTo>
                    <a:pt x="1710" y="1581"/>
                  </a:lnTo>
                  <a:lnTo>
                    <a:pt x="1715" y="1573"/>
                  </a:lnTo>
                  <a:lnTo>
                    <a:pt x="1720" y="1563"/>
                  </a:lnTo>
                  <a:lnTo>
                    <a:pt x="1722" y="1554"/>
                  </a:lnTo>
                  <a:lnTo>
                    <a:pt x="1722" y="1544"/>
                  </a:lnTo>
                  <a:lnTo>
                    <a:pt x="1720" y="1534"/>
                  </a:lnTo>
                  <a:lnTo>
                    <a:pt x="1716" y="1525"/>
                  </a:lnTo>
                  <a:lnTo>
                    <a:pt x="1713" y="1514"/>
                  </a:lnTo>
                  <a:lnTo>
                    <a:pt x="1708" y="1504"/>
                  </a:lnTo>
                  <a:lnTo>
                    <a:pt x="1695" y="1475"/>
                  </a:lnTo>
                  <a:lnTo>
                    <a:pt x="1686" y="1446"/>
                  </a:lnTo>
                  <a:lnTo>
                    <a:pt x="1683" y="1433"/>
                  </a:lnTo>
                  <a:lnTo>
                    <a:pt x="1681" y="1419"/>
                  </a:lnTo>
                  <a:lnTo>
                    <a:pt x="1681" y="1406"/>
                  </a:lnTo>
                  <a:lnTo>
                    <a:pt x="1684" y="1394"/>
                  </a:lnTo>
                  <a:lnTo>
                    <a:pt x="1684" y="1379"/>
                  </a:lnTo>
                  <a:lnTo>
                    <a:pt x="1684" y="1362"/>
                  </a:lnTo>
                  <a:lnTo>
                    <a:pt x="1674" y="1367"/>
                  </a:lnTo>
                  <a:lnTo>
                    <a:pt x="1666" y="1369"/>
                  </a:lnTo>
                  <a:lnTo>
                    <a:pt x="1654" y="1371"/>
                  </a:lnTo>
                  <a:lnTo>
                    <a:pt x="1642" y="1369"/>
                  </a:lnTo>
                  <a:lnTo>
                    <a:pt x="1634" y="1369"/>
                  </a:lnTo>
                  <a:lnTo>
                    <a:pt x="1629" y="1371"/>
                  </a:lnTo>
                  <a:lnTo>
                    <a:pt x="1624" y="1374"/>
                  </a:lnTo>
                  <a:lnTo>
                    <a:pt x="1619" y="1379"/>
                  </a:lnTo>
                  <a:lnTo>
                    <a:pt x="1614" y="1389"/>
                  </a:lnTo>
                  <a:lnTo>
                    <a:pt x="1609" y="1396"/>
                  </a:lnTo>
                  <a:lnTo>
                    <a:pt x="1602" y="1401"/>
                  </a:lnTo>
                  <a:lnTo>
                    <a:pt x="1595" y="1403"/>
                  </a:lnTo>
                  <a:lnTo>
                    <a:pt x="1592" y="1403"/>
                  </a:lnTo>
                  <a:lnTo>
                    <a:pt x="1589" y="1401"/>
                  </a:lnTo>
                  <a:lnTo>
                    <a:pt x="1585" y="1399"/>
                  </a:lnTo>
                  <a:lnTo>
                    <a:pt x="1583" y="1396"/>
                  </a:lnTo>
                  <a:lnTo>
                    <a:pt x="1580" y="1387"/>
                  </a:lnTo>
                  <a:lnTo>
                    <a:pt x="1578" y="1376"/>
                  </a:lnTo>
                  <a:lnTo>
                    <a:pt x="1582" y="1360"/>
                  </a:lnTo>
                  <a:lnTo>
                    <a:pt x="1585" y="1345"/>
                  </a:lnTo>
                  <a:lnTo>
                    <a:pt x="1594" y="1333"/>
                  </a:lnTo>
                  <a:lnTo>
                    <a:pt x="1604" y="1323"/>
                  </a:lnTo>
                  <a:lnTo>
                    <a:pt x="1609" y="1318"/>
                  </a:lnTo>
                  <a:lnTo>
                    <a:pt x="1615" y="1315"/>
                  </a:lnTo>
                  <a:lnTo>
                    <a:pt x="1621" y="1312"/>
                  </a:lnTo>
                  <a:lnTo>
                    <a:pt x="1627" y="1308"/>
                  </a:lnTo>
                  <a:lnTo>
                    <a:pt x="1642" y="1305"/>
                  </a:lnTo>
                  <a:lnTo>
                    <a:pt x="1659" y="1303"/>
                  </a:lnTo>
                  <a:lnTo>
                    <a:pt x="1664" y="1301"/>
                  </a:lnTo>
                  <a:lnTo>
                    <a:pt x="1668" y="1298"/>
                  </a:lnTo>
                  <a:lnTo>
                    <a:pt x="1669" y="1293"/>
                  </a:lnTo>
                  <a:lnTo>
                    <a:pt x="1671" y="1290"/>
                  </a:lnTo>
                  <a:lnTo>
                    <a:pt x="1674" y="1278"/>
                  </a:lnTo>
                  <a:lnTo>
                    <a:pt x="1674" y="1264"/>
                  </a:lnTo>
                  <a:lnTo>
                    <a:pt x="1674" y="1253"/>
                  </a:lnTo>
                  <a:lnTo>
                    <a:pt x="1676" y="1241"/>
                  </a:lnTo>
                  <a:lnTo>
                    <a:pt x="1674" y="1217"/>
                  </a:lnTo>
                  <a:lnTo>
                    <a:pt x="1674" y="1192"/>
                  </a:lnTo>
                  <a:lnTo>
                    <a:pt x="1661" y="1180"/>
                  </a:lnTo>
                  <a:lnTo>
                    <a:pt x="1647" y="1165"/>
                  </a:lnTo>
                  <a:lnTo>
                    <a:pt x="1642" y="1158"/>
                  </a:lnTo>
                  <a:lnTo>
                    <a:pt x="1639" y="1152"/>
                  </a:lnTo>
                  <a:lnTo>
                    <a:pt x="1636" y="1145"/>
                  </a:lnTo>
                  <a:lnTo>
                    <a:pt x="1634" y="1136"/>
                  </a:lnTo>
                  <a:lnTo>
                    <a:pt x="1632" y="1128"/>
                  </a:lnTo>
                  <a:lnTo>
                    <a:pt x="1634" y="1121"/>
                  </a:lnTo>
                  <a:lnTo>
                    <a:pt x="1636" y="1113"/>
                  </a:lnTo>
                  <a:lnTo>
                    <a:pt x="1637" y="1103"/>
                  </a:lnTo>
                  <a:lnTo>
                    <a:pt x="1639" y="1091"/>
                  </a:lnTo>
                  <a:lnTo>
                    <a:pt x="1639" y="1079"/>
                  </a:lnTo>
                  <a:lnTo>
                    <a:pt x="1637" y="1067"/>
                  </a:lnTo>
                  <a:lnTo>
                    <a:pt x="1636" y="1056"/>
                  </a:lnTo>
                  <a:lnTo>
                    <a:pt x="1629" y="1054"/>
                  </a:lnTo>
                  <a:lnTo>
                    <a:pt x="1622" y="1052"/>
                  </a:lnTo>
                  <a:lnTo>
                    <a:pt x="1612" y="1067"/>
                  </a:lnTo>
                  <a:lnTo>
                    <a:pt x="1602" y="1081"/>
                  </a:lnTo>
                  <a:lnTo>
                    <a:pt x="1594" y="1081"/>
                  </a:lnTo>
                  <a:lnTo>
                    <a:pt x="1585" y="1083"/>
                  </a:lnTo>
                  <a:lnTo>
                    <a:pt x="1580" y="1084"/>
                  </a:lnTo>
                  <a:lnTo>
                    <a:pt x="1575" y="1086"/>
                  </a:lnTo>
                  <a:lnTo>
                    <a:pt x="1572" y="1091"/>
                  </a:lnTo>
                  <a:lnTo>
                    <a:pt x="1568" y="1094"/>
                  </a:lnTo>
                  <a:lnTo>
                    <a:pt x="1565" y="1108"/>
                  </a:lnTo>
                  <a:lnTo>
                    <a:pt x="1563" y="1123"/>
                  </a:lnTo>
                  <a:lnTo>
                    <a:pt x="1552" y="1135"/>
                  </a:lnTo>
                  <a:lnTo>
                    <a:pt x="1541" y="1148"/>
                  </a:lnTo>
                  <a:lnTo>
                    <a:pt x="1538" y="1136"/>
                  </a:lnTo>
                  <a:lnTo>
                    <a:pt x="1535" y="1125"/>
                  </a:lnTo>
                  <a:lnTo>
                    <a:pt x="1526" y="1115"/>
                  </a:lnTo>
                  <a:lnTo>
                    <a:pt x="1520" y="1108"/>
                  </a:lnTo>
                  <a:lnTo>
                    <a:pt x="1514" y="1106"/>
                  </a:lnTo>
                  <a:lnTo>
                    <a:pt x="1511" y="1104"/>
                  </a:lnTo>
                  <a:lnTo>
                    <a:pt x="1506" y="1106"/>
                  </a:lnTo>
                  <a:lnTo>
                    <a:pt x="1503" y="1108"/>
                  </a:lnTo>
                  <a:lnTo>
                    <a:pt x="1498" y="1120"/>
                  </a:lnTo>
                  <a:lnTo>
                    <a:pt x="1493" y="1131"/>
                  </a:lnTo>
                  <a:lnTo>
                    <a:pt x="1483" y="1133"/>
                  </a:lnTo>
                  <a:lnTo>
                    <a:pt x="1474" y="1135"/>
                  </a:lnTo>
                  <a:lnTo>
                    <a:pt x="1471" y="1133"/>
                  </a:lnTo>
                  <a:lnTo>
                    <a:pt x="1467" y="1130"/>
                  </a:lnTo>
                  <a:lnTo>
                    <a:pt x="1481" y="1116"/>
                  </a:lnTo>
                  <a:lnTo>
                    <a:pt x="1496" y="1103"/>
                  </a:lnTo>
                  <a:lnTo>
                    <a:pt x="1491" y="1101"/>
                  </a:lnTo>
                  <a:lnTo>
                    <a:pt x="1486" y="1098"/>
                  </a:lnTo>
                  <a:lnTo>
                    <a:pt x="1481" y="1093"/>
                  </a:lnTo>
                  <a:lnTo>
                    <a:pt x="1476" y="1086"/>
                  </a:lnTo>
                  <a:lnTo>
                    <a:pt x="1467" y="1071"/>
                  </a:lnTo>
                  <a:lnTo>
                    <a:pt x="1459" y="1049"/>
                  </a:lnTo>
                  <a:lnTo>
                    <a:pt x="1442" y="1047"/>
                  </a:lnTo>
                  <a:lnTo>
                    <a:pt x="1424" y="1047"/>
                  </a:lnTo>
                  <a:lnTo>
                    <a:pt x="1425" y="1040"/>
                  </a:lnTo>
                  <a:lnTo>
                    <a:pt x="1427" y="1034"/>
                  </a:lnTo>
                  <a:lnTo>
                    <a:pt x="1429" y="1030"/>
                  </a:lnTo>
                  <a:lnTo>
                    <a:pt x="1432" y="1030"/>
                  </a:lnTo>
                  <a:lnTo>
                    <a:pt x="1435" y="1030"/>
                  </a:lnTo>
                  <a:lnTo>
                    <a:pt x="1442" y="1034"/>
                  </a:lnTo>
                  <a:lnTo>
                    <a:pt x="1466" y="1042"/>
                  </a:lnTo>
                  <a:lnTo>
                    <a:pt x="1489" y="1051"/>
                  </a:lnTo>
                  <a:lnTo>
                    <a:pt x="1498" y="1056"/>
                  </a:lnTo>
                  <a:lnTo>
                    <a:pt x="1508" y="1061"/>
                  </a:lnTo>
                  <a:lnTo>
                    <a:pt x="1511" y="1052"/>
                  </a:lnTo>
                  <a:lnTo>
                    <a:pt x="1516" y="1046"/>
                  </a:lnTo>
                  <a:lnTo>
                    <a:pt x="1538" y="1047"/>
                  </a:lnTo>
                  <a:lnTo>
                    <a:pt x="1558" y="1049"/>
                  </a:lnTo>
                  <a:lnTo>
                    <a:pt x="1565" y="1054"/>
                  </a:lnTo>
                  <a:lnTo>
                    <a:pt x="1572" y="1059"/>
                  </a:lnTo>
                  <a:lnTo>
                    <a:pt x="1578" y="1061"/>
                  </a:lnTo>
                  <a:lnTo>
                    <a:pt x="1585" y="1062"/>
                  </a:lnTo>
                  <a:lnTo>
                    <a:pt x="1590" y="1040"/>
                  </a:lnTo>
                  <a:lnTo>
                    <a:pt x="1597" y="1019"/>
                  </a:lnTo>
                  <a:lnTo>
                    <a:pt x="1592" y="1015"/>
                  </a:lnTo>
                  <a:lnTo>
                    <a:pt x="1589" y="1012"/>
                  </a:lnTo>
                  <a:lnTo>
                    <a:pt x="1585" y="1008"/>
                  </a:lnTo>
                  <a:lnTo>
                    <a:pt x="1582" y="1007"/>
                  </a:lnTo>
                  <a:lnTo>
                    <a:pt x="1577" y="1005"/>
                  </a:lnTo>
                  <a:lnTo>
                    <a:pt x="1572" y="1003"/>
                  </a:lnTo>
                  <a:lnTo>
                    <a:pt x="1565" y="1000"/>
                  </a:lnTo>
                  <a:lnTo>
                    <a:pt x="1560" y="997"/>
                  </a:lnTo>
                  <a:lnTo>
                    <a:pt x="1557" y="992"/>
                  </a:lnTo>
                  <a:lnTo>
                    <a:pt x="1553" y="985"/>
                  </a:lnTo>
                  <a:lnTo>
                    <a:pt x="1545" y="985"/>
                  </a:lnTo>
                  <a:lnTo>
                    <a:pt x="1538" y="985"/>
                  </a:lnTo>
                  <a:lnTo>
                    <a:pt x="1528" y="992"/>
                  </a:lnTo>
                  <a:lnTo>
                    <a:pt x="1520" y="1000"/>
                  </a:lnTo>
                  <a:lnTo>
                    <a:pt x="1514" y="1003"/>
                  </a:lnTo>
                  <a:lnTo>
                    <a:pt x="1509" y="1007"/>
                  </a:lnTo>
                  <a:lnTo>
                    <a:pt x="1504" y="1007"/>
                  </a:lnTo>
                  <a:lnTo>
                    <a:pt x="1499" y="1007"/>
                  </a:lnTo>
                  <a:lnTo>
                    <a:pt x="1494" y="1003"/>
                  </a:lnTo>
                  <a:lnTo>
                    <a:pt x="1491" y="1002"/>
                  </a:lnTo>
                  <a:lnTo>
                    <a:pt x="1486" y="998"/>
                  </a:lnTo>
                  <a:lnTo>
                    <a:pt x="1483" y="995"/>
                  </a:lnTo>
                  <a:lnTo>
                    <a:pt x="1479" y="993"/>
                  </a:lnTo>
                  <a:lnTo>
                    <a:pt x="1476" y="990"/>
                  </a:lnTo>
                  <a:lnTo>
                    <a:pt x="1476" y="985"/>
                  </a:lnTo>
                  <a:lnTo>
                    <a:pt x="1476" y="982"/>
                  </a:lnTo>
                  <a:lnTo>
                    <a:pt x="1481" y="983"/>
                  </a:lnTo>
                  <a:lnTo>
                    <a:pt x="1486" y="987"/>
                  </a:lnTo>
                  <a:lnTo>
                    <a:pt x="1491" y="990"/>
                  </a:lnTo>
                  <a:lnTo>
                    <a:pt x="1496" y="993"/>
                  </a:lnTo>
                  <a:lnTo>
                    <a:pt x="1499" y="995"/>
                  </a:lnTo>
                  <a:lnTo>
                    <a:pt x="1504" y="997"/>
                  </a:lnTo>
                  <a:lnTo>
                    <a:pt x="1508" y="997"/>
                  </a:lnTo>
                  <a:lnTo>
                    <a:pt x="1511" y="995"/>
                  </a:lnTo>
                  <a:lnTo>
                    <a:pt x="1523" y="985"/>
                  </a:lnTo>
                  <a:lnTo>
                    <a:pt x="1535" y="975"/>
                  </a:lnTo>
                  <a:lnTo>
                    <a:pt x="1541" y="975"/>
                  </a:lnTo>
                  <a:lnTo>
                    <a:pt x="1548" y="975"/>
                  </a:lnTo>
                  <a:lnTo>
                    <a:pt x="1557" y="976"/>
                  </a:lnTo>
                  <a:lnTo>
                    <a:pt x="1565" y="978"/>
                  </a:lnTo>
                  <a:lnTo>
                    <a:pt x="1573" y="978"/>
                  </a:lnTo>
                  <a:lnTo>
                    <a:pt x="1582" y="980"/>
                  </a:lnTo>
                  <a:lnTo>
                    <a:pt x="1585" y="985"/>
                  </a:lnTo>
                  <a:lnTo>
                    <a:pt x="1590" y="990"/>
                  </a:lnTo>
                  <a:lnTo>
                    <a:pt x="1590" y="998"/>
                  </a:lnTo>
                  <a:lnTo>
                    <a:pt x="1590" y="1007"/>
                  </a:lnTo>
                  <a:lnTo>
                    <a:pt x="1595" y="1010"/>
                  </a:lnTo>
                  <a:lnTo>
                    <a:pt x="1599" y="1014"/>
                  </a:lnTo>
                  <a:lnTo>
                    <a:pt x="1612" y="1010"/>
                  </a:lnTo>
                  <a:lnTo>
                    <a:pt x="1626" y="1007"/>
                  </a:lnTo>
                  <a:lnTo>
                    <a:pt x="1629" y="1022"/>
                  </a:lnTo>
                  <a:lnTo>
                    <a:pt x="1632" y="1039"/>
                  </a:lnTo>
                  <a:lnTo>
                    <a:pt x="1641" y="1049"/>
                  </a:lnTo>
                  <a:lnTo>
                    <a:pt x="1647" y="1059"/>
                  </a:lnTo>
                  <a:lnTo>
                    <a:pt x="1651" y="1062"/>
                  </a:lnTo>
                  <a:lnTo>
                    <a:pt x="1654" y="1066"/>
                  </a:lnTo>
                  <a:lnTo>
                    <a:pt x="1658" y="1066"/>
                  </a:lnTo>
                  <a:lnTo>
                    <a:pt x="1661" y="1066"/>
                  </a:lnTo>
                  <a:lnTo>
                    <a:pt x="1661" y="1069"/>
                  </a:lnTo>
                  <a:lnTo>
                    <a:pt x="1661" y="1072"/>
                  </a:lnTo>
                  <a:lnTo>
                    <a:pt x="1661" y="1074"/>
                  </a:lnTo>
                  <a:lnTo>
                    <a:pt x="1663" y="1078"/>
                  </a:lnTo>
                  <a:lnTo>
                    <a:pt x="1669" y="1081"/>
                  </a:lnTo>
                  <a:lnTo>
                    <a:pt x="1678" y="1083"/>
                  </a:lnTo>
                  <a:lnTo>
                    <a:pt x="1681" y="1078"/>
                  </a:lnTo>
                  <a:lnTo>
                    <a:pt x="1684" y="1072"/>
                  </a:lnTo>
                  <a:lnTo>
                    <a:pt x="1695" y="1072"/>
                  </a:lnTo>
                  <a:lnTo>
                    <a:pt x="1703" y="1072"/>
                  </a:lnTo>
                  <a:lnTo>
                    <a:pt x="1706" y="1078"/>
                  </a:lnTo>
                  <a:lnTo>
                    <a:pt x="1710" y="1083"/>
                  </a:lnTo>
                  <a:lnTo>
                    <a:pt x="1716" y="1076"/>
                  </a:lnTo>
                  <a:lnTo>
                    <a:pt x="1722" y="1071"/>
                  </a:lnTo>
                  <a:lnTo>
                    <a:pt x="1733" y="1071"/>
                  </a:lnTo>
                  <a:lnTo>
                    <a:pt x="1745" y="1071"/>
                  </a:lnTo>
                  <a:lnTo>
                    <a:pt x="1750" y="1072"/>
                  </a:lnTo>
                  <a:lnTo>
                    <a:pt x="1754" y="1076"/>
                  </a:lnTo>
                  <a:lnTo>
                    <a:pt x="1777" y="1066"/>
                  </a:lnTo>
                  <a:lnTo>
                    <a:pt x="1801" y="1057"/>
                  </a:lnTo>
                  <a:lnTo>
                    <a:pt x="1806" y="1054"/>
                  </a:lnTo>
                  <a:lnTo>
                    <a:pt x="1809" y="1054"/>
                  </a:lnTo>
                  <a:lnTo>
                    <a:pt x="1812" y="1057"/>
                  </a:lnTo>
                  <a:lnTo>
                    <a:pt x="1812" y="1062"/>
                  </a:lnTo>
                  <a:lnTo>
                    <a:pt x="1804" y="1072"/>
                  </a:lnTo>
                  <a:lnTo>
                    <a:pt x="1796" y="1083"/>
                  </a:lnTo>
                  <a:lnTo>
                    <a:pt x="1787" y="1084"/>
                  </a:lnTo>
                  <a:lnTo>
                    <a:pt x="1779" y="1086"/>
                  </a:lnTo>
                  <a:lnTo>
                    <a:pt x="1780" y="1091"/>
                  </a:lnTo>
                  <a:lnTo>
                    <a:pt x="1780" y="1094"/>
                  </a:lnTo>
                  <a:lnTo>
                    <a:pt x="1785" y="1094"/>
                  </a:lnTo>
                  <a:lnTo>
                    <a:pt x="1791" y="1094"/>
                  </a:lnTo>
                  <a:lnTo>
                    <a:pt x="1796" y="1089"/>
                  </a:lnTo>
                  <a:lnTo>
                    <a:pt x="1801" y="1084"/>
                  </a:lnTo>
                  <a:lnTo>
                    <a:pt x="1816" y="1066"/>
                  </a:lnTo>
                  <a:lnTo>
                    <a:pt x="1833" y="1046"/>
                  </a:lnTo>
                  <a:lnTo>
                    <a:pt x="1844" y="1029"/>
                  </a:lnTo>
                  <a:lnTo>
                    <a:pt x="1856" y="1014"/>
                  </a:lnTo>
                  <a:lnTo>
                    <a:pt x="1863" y="1008"/>
                  </a:lnTo>
                  <a:lnTo>
                    <a:pt x="1871" y="1003"/>
                  </a:lnTo>
                  <a:lnTo>
                    <a:pt x="1878" y="1000"/>
                  </a:lnTo>
                  <a:lnTo>
                    <a:pt x="1886" y="1000"/>
                  </a:lnTo>
                  <a:lnTo>
                    <a:pt x="1892" y="998"/>
                  </a:lnTo>
                  <a:lnTo>
                    <a:pt x="1895" y="998"/>
                  </a:lnTo>
                  <a:lnTo>
                    <a:pt x="1898" y="995"/>
                  </a:lnTo>
                  <a:lnTo>
                    <a:pt x="1902" y="990"/>
                  </a:lnTo>
                  <a:lnTo>
                    <a:pt x="1908" y="980"/>
                  </a:lnTo>
                  <a:lnTo>
                    <a:pt x="1915" y="966"/>
                  </a:lnTo>
                  <a:lnTo>
                    <a:pt x="1922" y="950"/>
                  </a:lnTo>
                  <a:lnTo>
                    <a:pt x="1927" y="938"/>
                  </a:lnTo>
                  <a:lnTo>
                    <a:pt x="1918" y="933"/>
                  </a:lnTo>
                  <a:lnTo>
                    <a:pt x="1903" y="923"/>
                  </a:lnTo>
                  <a:lnTo>
                    <a:pt x="1897" y="916"/>
                  </a:lnTo>
                  <a:lnTo>
                    <a:pt x="1888" y="911"/>
                  </a:lnTo>
                  <a:lnTo>
                    <a:pt x="1881" y="907"/>
                  </a:lnTo>
                  <a:lnTo>
                    <a:pt x="1875" y="906"/>
                  </a:lnTo>
                  <a:lnTo>
                    <a:pt x="1870" y="906"/>
                  </a:lnTo>
                  <a:lnTo>
                    <a:pt x="1865" y="906"/>
                  </a:lnTo>
                  <a:lnTo>
                    <a:pt x="1858" y="906"/>
                  </a:lnTo>
                  <a:lnTo>
                    <a:pt x="1853" y="907"/>
                  </a:lnTo>
                  <a:lnTo>
                    <a:pt x="1848" y="911"/>
                  </a:lnTo>
                  <a:lnTo>
                    <a:pt x="1843" y="912"/>
                  </a:lnTo>
                  <a:lnTo>
                    <a:pt x="1838" y="914"/>
                  </a:lnTo>
                  <a:lnTo>
                    <a:pt x="1833" y="912"/>
                  </a:lnTo>
                  <a:lnTo>
                    <a:pt x="1829" y="912"/>
                  </a:lnTo>
                  <a:lnTo>
                    <a:pt x="1824" y="909"/>
                  </a:lnTo>
                  <a:lnTo>
                    <a:pt x="1821" y="906"/>
                  </a:lnTo>
                  <a:lnTo>
                    <a:pt x="1816" y="902"/>
                  </a:lnTo>
                  <a:lnTo>
                    <a:pt x="1804" y="891"/>
                  </a:lnTo>
                  <a:lnTo>
                    <a:pt x="1794" y="880"/>
                  </a:lnTo>
                  <a:lnTo>
                    <a:pt x="1789" y="877"/>
                  </a:lnTo>
                  <a:lnTo>
                    <a:pt x="1785" y="874"/>
                  </a:lnTo>
                  <a:lnTo>
                    <a:pt x="1782" y="872"/>
                  </a:lnTo>
                  <a:lnTo>
                    <a:pt x="1779" y="872"/>
                  </a:lnTo>
                  <a:lnTo>
                    <a:pt x="1775" y="872"/>
                  </a:lnTo>
                  <a:lnTo>
                    <a:pt x="1772" y="874"/>
                  </a:lnTo>
                  <a:lnTo>
                    <a:pt x="1769" y="877"/>
                  </a:lnTo>
                  <a:lnTo>
                    <a:pt x="1765" y="880"/>
                  </a:lnTo>
                  <a:lnTo>
                    <a:pt x="1759" y="892"/>
                  </a:lnTo>
                  <a:lnTo>
                    <a:pt x="1752" y="904"/>
                  </a:lnTo>
                  <a:lnTo>
                    <a:pt x="1745" y="911"/>
                  </a:lnTo>
                  <a:lnTo>
                    <a:pt x="1738" y="914"/>
                  </a:lnTo>
                  <a:lnTo>
                    <a:pt x="1735" y="912"/>
                  </a:lnTo>
                  <a:lnTo>
                    <a:pt x="1732" y="911"/>
                  </a:lnTo>
                  <a:lnTo>
                    <a:pt x="1728" y="907"/>
                  </a:lnTo>
                  <a:lnTo>
                    <a:pt x="1727" y="902"/>
                  </a:lnTo>
                  <a:lnTo>
                    <a:pt x="1720" y="899"/>
                  </a:lnTo>
                  <a:lnTo>
                    <a:pt x="1711" y="896"/>
                  </a:lnTo>
                  <a:lnTo>
                    <a:pt x="1705" y="894"/>
                  </a:lnTo>
                  <a:lnTo>
                    <a:pt x="1696" y="892"/>
                  </a:lnTo>
                  <a:lnTo>
                    <a:pt x="1678" y="892"/>
                  </a:lnTo>
                  <a:lnTo>
                    <a:pt x="1659" y="894"/>
                  </a:lnTo>
                  <a:lnTo>
                    <a:pt x="1658" y="877"/>
                  </a:lnTo>
                  <a:lnTo>
                    <a:pt x="1658" y="862"/>
                  </a:lnTo>
                  <a:lnTo>
                    <a:pt x="1659" y="848"/>
                  </a:lnTo>
                  <a:lnTo>
                    <a:pt x="1661" y="837"/>
                  </a:lnTo>
                  <a:lnTo>
                    <a:pt x="1664" y="825"/>
                  </a:lnTo>
                  <a:lnTo>
                    <a:pt x="1668" y="816"/>
                  </a:lnTo>
                  <a:lnTo>
                    <a:pt x="1673" y="808"/>
                  </a:lnTo>
                  <a:lnTo>
                    <a:pt x="1678" y="801"/>
                  </a:lnTo>
                  <a:lnTo>
                    <a:pt x="1688" y="776"/>
                  </a:lnTo>
                  <a:lnTo>
                    <a:pt x="1696" y="756"/>
                  </a:lnTo>
                  <a:lnTo>
                    <a:pt x="1706" y="739"/>
                  </a:lnTo>
                  <a:lnTo>
                    <a:pt x="1715" y="727"/>
                  </a:lnTo>
                  <a:lnTo>
                    <a:pt x="1728" y="707"/>
                  </a:lnTo>
                  <a:lnTo>
                    <a:pt x="1740" y="687"/>
                  </a:lnTo>
                  <a:lnTo>
                    <a:pt x="1750" y="665"/>
                  </a:lnTo>
                  <a:lnTo>
                    <a:pt x="1759" y="640"/>
                  </a:lnTo>
                  <a:lnTo>
                    <a:pt x="1764" y="635"/>
                  </a:lnTo>
                  <a:lnTo>
                    <a:pt x="1765" y="628"/>
                  </a:lnTo>
                  <a:lnTo>
                    <a:pt x="1764" y="623"/>
                  </a:lnTo>
                  <a:lnTo>
                    <a:pt x="1762" y="616"/>
                  </a:lnTo>
                  <a:lnTo>
                    <a:pt x="1757" y="609"/>
                  </a:lnTo>
                  <a:lnTo>
                    <a:pt x="1750" y="603"/>
                  </a:lnTo>
                  <a:lnTo>
                    <a:pt x="1743" y="596"/>
                  </a:lnTo>
                  <a:lnTo>
                    <a:pt x="1733" y="589"/>
                  </a:lnTo>
                  <a:lnTo>
                    <a:pt x="1723" y="579"/>
                  </a:lnTo>
                  <a:lnTo>
                    <a:pt x="1716" y="569"/>
                  </a:lnTo>
                  <a:lnTo>
                    <a:pt x="1711" y="559"/>
                  </a:lnTo>
                  <a:lnTo>
                    <a:pt x="1710" y="549"/>
                  </a:lnTo>
                  <a:lnTo>
                    <a:pt x="1705" y="540"/>
                  </a:lnTo>
                  <a:lnTo>
                    <a:pt x="1701" y="534"/>
                  </a:lnTo>
                  <a:lnTo>
                    <a:pt x="1698" y="527"/>
                  </a:lnTo>
                  <a:lnTo>
                    <a:pt x="1696" y="518"/>
                  </a:lnTo>
                  <a:lnTo>
                    <a:pt x="1696" y="505"/>
                  </a:lnTo>
                  <a:lnTo>
                    <a:pt x="1698" y="490"/>
                  </a:lnTo>
                  <a:lnTo>
                    <a:pt x="1696" y="471"/>
                  </a:lnTo>
                  <a:lnTo>
                    <a:pt x="1693" y="453"/>
                  </a:lnTo>
                  <a:lnTo>
                    <a:pt x="1690" y="446"/>
                  </a:lnTo>
                  <a:lnTo>
                    <a:pt x="1688" y="441"/>
                  </a:lnTo>
                  <a:lnTo>
                    <a:pt x="1684" y="438"/>
                  </a:lnTo>
                  <a:lnTo>
                    <a:pt x="1681" y="436"/>
                  </a:lnTo>
                  <a:lnTo>
                    <a:pt x="1678" y="436"/>
                  </a:lnTo>
                  <a:lnTo>
                    <a:pt x="1674" y="438"/>
                  </a:lnTo>
                  <a:lnTo>
                    <a:pt x="1669" y="441"/>
                  </a:lnTo>
                  <a:lnTo>
                    <a:pt x="1666" y="446"/>
                  </a:lnTo>
                  <a:lnTo>
                    <a:pt x="1658" y="456"/>
                  </a:lnTo>
                  <a:lnTo>
                    <a:pt x="1651" y="468"/>
                  </a:lnTo>
                  <a:lnTo>
                    <a:pt x="1644" y="473"/>
                  </a:lnTo>
                  <a:lnTo>
                    <a:pt x="1639" y="476"/>
                  </a:lnTo>
                  <a:lnTo>
                    <a:pt x="1634" y="476"/>
                  </a:lnTo>
                  <a:lnTo>
                    <a:pt x="1631" y="475"/>
                  </a:lnTo>
                  <a:lnTo>
                    <a:pt x="1631" y="470"/>
                  </a:lnTo>
                  <a:lnTo>
                    <a:pt x="1631" y="463"/>
                  </a:lnTo>
                  <a:lnTo>
                    <a:pt x="1632" y="454"/>
                  </a:lnTo>
                  <a:lnTo>
                    <a:pt x="1634" y="443"/>
                  </a:lnTo>
                  <a:lnTo>
                    <a:pt x="1637" y="436"/>
                  </a:lnTo>
                  <a:lnTo>
                    <a:pt x="1637" y="429"/>
                  </a:lnTo>
                  <a:lnTo>
                    <a:pt x="1636" y="422"/>
                  </a:lnTo>
                  <a:lnTo>
                    <a:pt x="1634" y="416"/>
                  </a:lnTo>
                  <a:lnTo>
                    <a:pt x="1631" y="411"/>
                  </a:lnTo>
                  <a:lnTo>
                    <a:pt x="1626" y="404"/>
                  </a:lnTo>
                  <a:lnTo>
                    <a:pt x="1619" y="399"/>
                  </a:lnTo>
                  <a:lnTo>
                    <a:pt x="1612" y="394"/>
                  </a:lnTo>
                  <a:lnTo>
                    <a:pt x="1605" y="387"/>
                  </a:lnTo>
                  <a:lnTo>
                    <a:pt x="1599" y="384"/>
                  </a:lnTo>
                  <a:lnTo>
                    <a:pt x="1592" y="382"/>
                  </a:lnTo>
                  <a:lnTo>
                    <a:pt x="1587" y="382"/>
                  </a:lnTo>
                  <a:lnTo>
                    <a:pt x="1582" y="384"/>
                  </a:lnTo>
                  <a:lnTo>
                    <a:pt x="1578" y="387"/>
                  </a:lnTo>
                  <a:lnTo>
                    <a:pt x="1573" y="390"/>
                  </a:lnTo>
                  <a:lnTo>
                    <a:pt x="1570" y="395"/>
                  </a:lnTo>
                  <a:lnTo>
                    <a:pt x="1565" y="402"/>
                  </a:lnTo>
                  <a:lnTo>
                    <a:pt x="1557" y="407"/>
                  </a:lnTo>
                  <a:lnTo>
                    <a:pt x="1548" y="411"/>
                  </a:lnTo>
                  <a:lnTo>
                    <a:pt x="1536" y="414"/>
                  </a:lnTo>
                  <a:lnTo>
                    <a:pt x="1526" y="416"/>
                  </a:lnTo>
                  <a:lnTo>
                    <a:pt x="1518" y="416"/>
                  </a:lnTo>
                  <a:lnTo>
                    <a:pt x="1509" y="416"/>
                  </a:lnTo>
                  <a:lnTo>
                    <a:pt x="1501" y="412"/>
                  </a:lnTo>
                  <a:lnTo>
                    <a:pt x="1493" y="409"/>
                  </a:lnTo>
                  <a:lnTo>
                    <a:pt x="1484" y="404"/>
                  </a:lnTo>
                  <a:lnTo>
                    <a:pt x="1476" y="397"/>
                  </a:lnTo>
                  <a:lnTo>
                    <a:pt x="1467" y="390"/>
                  </a:lnTo>
                  <a:lnTo>
                    <a:pt x="1464" y="385"/>
                  </a:lnTo>
                  <a:lnTo>
                    <a:pt x="1459" y="382"/>
                  </a:lnTo>
                  <a:lnTo>
                    <a:pt x="1454" y="380"/>
                  </a:lnTo>
                  <a:lnTo>
                    <a:pt x="1445" y="380"/>
                  </a:lnTo>
                  <a:lnTo>
                    <a:pt x="1439" y="380"/>
                  </a:lnTo>
                  <a:lnTo>
                    <a:pt x="1434" y="380"/>
                  </a:lnTo>
                  <a:lnTo>
                    <a:pt x="1430" y="380"/>
                  </a:lnTo>
                  <a:lnTo>
                    <a:pt x="1427" y="379"/>
                  </a:lnTo>
                  <a:lnTo>
                    <a:pt x="1424" y="375"/>
                  </a:lnTo>
                  <a:lnTo>
                    <a:pt x="1422" y="372"/>
                  </a:lnTo>
                  <a:lnTo>
                    <a:pt x="1420" y="367"/>
                  </a:lnTo>
                  <a:lnTo>
                    <a:pt x="1420" y="362"/>
                  </a:lnTo>
                  <a:lnTo>
                    <a:pt x="1420" y="357"/>
                  </a:lnTo>
                  <a:lnTo>
                    <a:pt x="1420" y="352"/>
                  </a:lnTo>
                  <a:lnTo>
                    <a:pt x="1419" y="348"/>
                  </a:lnTo>
                  <a:lnTo>
                    <a:pt x="1417" y="345"/>
                  </a:lnTo>
                  <a:lnTo>
                    <a:pt x="1412" y="342"/>
                  </a:lnTo>
                  <a:lnTo>
                    <a:pt x="1403" y="338"/>
                  </a:lnTo>
                  <a:lnTo>
                    <a:pt x="1398" y="338"/>
                  </a:lnTo>
                  <a:lnTo>
                    <a:pt x="1392" y="337"/>
                  </a:lnTo>
                  <a:lnTo>
                    <a:pt x="1387" y="335"/>
                  </a:lnTo>
                  <a:lnTo>
                    <a:pt x="1382" y="330"/>
                  </a:lnTo>
                  <a:lnTo>
                    <a:pt x="1378" y="325"/>
                  </a:lnTo>
                  <a:lnTo>
                    <a:pt x="1375" y="318"/>
                  </a:lnTo>
                  <a:lnTo>
                    <a:pt x="1373" y="310"/>
                  </a:lnTo>
                  <a:lnTo>
                    <a:pt x="1371" y="299"/>
                  </a:lnTo>
                  <a:lnTo>
                    <a:pt x="1371" y="289"/>
                  </a:lnTo>
                  <a:lnTo>
                    <a:pt x="1371" y="279"/>
                  </a:lnTo>
                  <a:lnTo>
                    <a:pt x="1368" y="271"/>
                  </a:lnTo>
                  <a:lnTo>
                    <a:pt x="1365" y="259"/>
                  </a:lnTo>
                  <a:lnTo>
                    <a:pt x="1358" y="254"/>
                  </a:lnTo>
                  <a:lnTo>
                    <a:pt x="1355" y="251"/>
                  </a:lnTo>
                  <a:lnTo>
                    <a:pt x="1355" y="246"/>
                  </a:lnTo>
                  <a:lnTo>
                    <a:pt x="1356" y="242"/>
                  </a:lnTo>
                  <a:lnTo>
                    <a:pt x="1351" y="239"/>
                  </a:lnTo>
                  <a:lnTo>
                    <a:pt x="1348" y="237"/>
                  </a:lnTo>
                  <a:lnTo>
                    <a:pt x="1343" y="237"/>
                  </a:lnTo>
                  <a:lnTo>
                    <a:pt x="1339" y="239"/>
                  </a:lnTo>
                  <a:lnTo>
                    <a:pt x="1334" y="246"/>
                  </a:lnTo>
                  <a:lnTo>
                    <a:pt x="1329" y="252"/>
                  </a:lnTo>
                  <a:lnTo>
                    <a:pt x="1326" y="256"/>
                  </a:lnTo>
                  <a:lnTo>
                    <a:pt x="1321" y="257"/>
                  </a:lnTo>
                  <a:lnTo>
                    <a:pt x="1318" y="259"/>
                  </a:lnTo>
                  <a:lnTo>
                    <a:pt x="1314" y="257"/>
                  </a:lnTo>
                  <a:lnTo>
                    <a:pt x="1312" y="254"/>
                  </a:lnTo>
                  <a:lnTo>
                    <a:pt x="1311" y="251"/>
                  </a:lnTo>
                  <a:lnTo>
                    <a:pt x="1311" y="246"/>
                  </a:lnTo>
                  <a:lnTo>
                    <a:pt x="1314" y="239"/>
                  </a:lnTo>
                  <a:lnTo>
                    <a:pt x="1314" y="234"/>
                  </a:lnTo>
                  <a:lnTo>
                    <a:pt x="1314" y="227"/>
                  </a:lnTo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83619" name="Text Box 67"/>
            <p:cNvSpPr txBox="1">
              <a:spLocks noChangeArrowheads="1"/>
            </p:cNvSpPr>
            <p:nvPr/>
          </p:nvSpPr>
          <p:spPr bwMode="auto">
            <a:xfrm>
              <a:off x="921" y="3000"/>
              <a:ext cx="155" cy="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ctr"/>
              <a:r>
                <a:rPr lang="ru-RU" sz="700"/>
                <a:t>Купол</a:t>
              </a:r>
            </a:p>
          </p:txBody>
        </p:sp>
        <p:sp>
          <p:nvSpPr>
            <p:cNvPr id="33933" name="Freeform 68"/>
            <p:cNvSpPr>
              <a:spLocks/>
            </p:cNvSpPr>
            <p:nvPr>
              <p:custDataLst>
                <p:tags r:id="rId17"/>
              </p:custDataLst>
            </p:nvPr>
          </p:nvSpPr>
          <p:spPr bwMode="auto">
            <a:xfrm>
              <a:off x="1242" y="3355"/>
              <a:ext cx="679" cy="529"/>
            </a:xfrm>
            <a:custGeom>
              <a:avLst/>
              <a:gdLst>
                <a:gd name="T0" fmla="*/ 293 w 1192"/>
                <a:gd name="T1" fmla="*/ 25 h 902"/>
                <a:gd name="T2" fmla="*/ 292 w 1192"/>
                <a:gd name="T3" fmla="*/ 4 h 902"/>
                <a:gd name="T4" fmla="*/ 313 w 1192"/>
                <a:gd name="T5" fmla="*/ 40 h 902"/>
                <a:gd name="T6" fmla="*/ 302 w 1192"/>
                <a:gd name="T7" fmla="*/ 46 h 902"/>
                <a:gd name="T8" fmla="*/ 311 w 1192"/>
                <a:gd name="T9" fmla="*/ 45 h 902"/>
                <a:gd name="T10" fmla="*/ 320 w 1192"/>
                <a:gd name="T11" fmla="*/ 46 h 902"/>
                <a:gd name="T12" fmla="*/ 348 w 1192"/>
                <a:gd name="T13" fmla="*/ 113 h 902"/>
                <a:gd name="T14" fmla="*/ 369 w 1192"/>
                <a:gd name="T15" fmla="*/ 128 h 902"/>
                <a:gd name="T16" fmla="*/ 369 w 1192"/>
                <a:gd name="T17" fmla="*/ 156 h 902"/>
                <a:gd name="T18" fmla="*/ 381 w 1192"/>
                <a:gd name="T19" fmla="*/ 182 h 902"/>
                <a:gd name="T20" fmla="*/ 381 w 1192"/>
                <a:gd name="T21" fmla="*/ 185 h 902"/>
                <a:gd name="T22" fmla="*/ 362 w 1192"/>
                <a:gd name="T23" fmla="*/ 196 h 902"/>
                <a:gd name="T24" fmla="*/ 372 w 1192"/>
                <a:gd name="T25" fmla="*/ 209 h 902"/>
                <a:gd name="T26" fmla="*/ 336 w 1192"/>
                <a:gd name="T27" fmla="*/ 212 h 902"/>
                <a:gd name="T28" fmla="*/ 297 w 1192"/>
                <a:gd name="T29" fmla="*/ 202 h 902"/>
                <a:gd name="T30" fmla="*/ 292 w 1192"/>
                <a:gd name="T31" fmla="*/ 196 h 902"/>
                <a:gd name="T32" fmla="*/ 282 w 1192"/>
                <a:gd name="T33" fmla="*/ 208 h 902"/>
                <a:gd name="T34" fmla="*/ 283 w 1192"/>
                <a:gd name="T35" fmla="*/ 188 h 902"/>
                <a:gd name="T36" fmla="*/ 278 w 1192"/>
                <a:gd name="T37" fmla="*/ 185 h 902"/>
                <a:gd name="T38" fmla="*/ 272 w 1192"/>
                <a:gd name="T39" fmla="*/ 188 h 902"/>
                <a:gd name="T40" fmla="*/ 267 w 1192"/>
                <a:gd name="T41" fmla="*/ 191 h 902"/>
                <a:gd name="T42" fmla="*/ 267 w 1192"/>
                <a:gd name="T43" fmla="*/ 204 h 902"/>
                <a:gd name="T44" fmla="*/ 256 w 1192"/>
                <a:gd name="T45" fmla="*/ 225 h 902"/>
                <a:gd name="T46" fmla="*/ 234 w 1192"/>
                <a:gd name="T47" fmla="*/ 248 h 902"/>
                <a:gd name="T48" fmla="*/ 200 w 1192"/>
                <a:gd name="T49" fmla="*/ 273 h 902"/>
                <a:gd name="T50" fmla="*/ 171 w 1192"/>
                <a:gd name="T51" fmla="*/ 295 h 902"/>
                <a:gd name="T52" fmla="*/ 170 w 1192"/>
                <a:gd name="T53" fmla="*/ 303 h 902"/>
                <a:gd name="T54" fmla="*/ 154 w 1192"/>
                <a:gd name="T55" fmla="*/ 299 h 902"/>
                <a:gd name="T56" fmla="*/ 139 w 1192"/>
                <a:gd name="T57" fmla="*/ 284 h 902"/>
                <a:gd name="T58" fmla="*/ 124 w 1192"/>
                <a:gd name="T59" fmla="*/ 267 h 902"/>
                <a:gd name="T60" fmla="*/ 133 w 1192"/>
                <a:gd name="T61" fmla="*/ 251 h 902"/>
                <a:gd name="T62" fmla="*/ 109 w 1192"/>
                <a:gd name="T63" fmla="*/ 242 h 902"/>
                <a:gd name="T64" fmla="*/ 73 w 1192"/>
                <a:gd name="T65" fmla="*/ 265 h 902"/>
                <a:gd name="T66" fmla="*/ 55 w 1192"/>
                <a:gd name="T67" fmla="*/ 262 h 902"/>
                <a:gd name="T68" fmla="*/ 41 w 1192"/>
                <a:gd name="T69" fmla="*/ 258 h 902"/>
                <a:gd name="T70" fmla="*/ 19 w 1192"/>
                <a:gd name="T71" fmla="*/ 272 h 902"/>
                <a:gd name="T72" fmla="*/ 20 w 1192"/>
                <a:gd name="T73" fmla="*/ 249 h 902"/>
                <a:gd name="T74" fmla="*/ 40 w 1192"/>
                <a:gd name="T75" fmla="*/ 238 h 902"/>
                <a:gd name="T76" fmla="*/ 51 w 1192"/>
                <a:gd name="T77" fmla="*/ 232 h 902"/>
                <a:gd name="T78" fmla="*/ 73 w 1192"/>
                <a:gd name="T79" fmla="*/ 228 h 902"/>
                <a:gd name="T80" fmla="*/ 73 w 1192"/>
                <a:gd name="T81" fmla="*/ 209 h 902"/>
                <a:gd name="T82" fmla="*/ 77 w 1192"/>
                <a:gd name="T83" fmla="*/ 198 h 902"/>
                <a:gd name="T84" fmla="*/ 81 w 1192"/>
                <a:gd name="T85" fmla="*/ 192 h 902"/>
                <a:gd name="T86" fmla="*/ 93 w 1192"/>
                <a:gd name="T87" fmla="*/ 184 h 902"/>
                <a:gd name="T88" fmla="*/ 100 w 1192"/>
                <a:gd name="T89" fmla="*/ 181 h 902"/>
                <a:gd name="T90" fmla="*/ 113 w 1192"/>
                <a:gd name="T91" fmla="*/ 194 h 902"/>
                <a:gd name="T92" fmla="*/ 123 w 1192"/>
                <a:gd name="T93" fmla="*/ 182 h 902"/>
                <a:gd name="T94" fmla="*/ 144 w 1192"/>
                <a:gd name="T95" fmla="*/ 178 h 902"/>
                <a:gd name="T96" fmla="*/ 170 w 1192"/>
                <a:gd name="T97" fmla="*/ 174 h 902"/>
                <a:gd name="T98" fmla="*/ 184 w 1192"/>
                <a:gd name="T99" fmla="*/ 167 h 902"/>
                <a:gd name="T100" fmla="*/ 194 w 1192"/>
                <a:gd name="T101" fmla="*/ 148 h 902"/>
                <a:gd name="T102" fmla="*/ 214 w 1192"/>
                <a:gd name="T103" fmla="*/ 139 h 902"/>
                <a:gd name="T104" fmla="*/ 208 w 1192"/>
                <a:gd name="T105" fmla="*/ 164 h 902"/>
                <a:gd name="T106" fmla="*/ 226 w 1192"/>
                <a:gd name="T107" fmla="*/ 163 h 902"/>
                <a:gd name="T108" fmla="*/ 239 w 1192"/>
                <a:gd name="T109" fmla="*/ 171 h 902"/>
                <a:gd name="T110" fmla="*/ 253 w 1192"/>
                <a:gd name="T111" fmla="*/ 150 h 902"/>
                <a:gd name="T112" fmla="*/ 274 w 1192"/>
                <a:gd name="T113" fmla="*/ 152 h 902"/>
                <a:gd name="T114" fmla="*/ 277 w 1192"/>
                <a:gd name="T115" fmla="*/ 126 h 902"/>
                <a:gd name="T116" fmla="*/ 268 w 1192"/>
                <a:gd name="T117" fmla="*/ 74 h 902"/>
                <a:gd name="T118" fmla="*/ 246 w 1192"/>
                <a:gd name="T119" fmla="*/ 83 h 902"/>
                <a:gd name="T120" fmla="*/ 234 w 1192"/>
                <a:gd name="T121" fmla="*/ 79 h 902"/>
                <a:gd name="T122" fmla="*/ 255 w 1192"/>
                <a:gd name="T123" fmla="*/ 55 h 902"/>
                <a:gd name="T124" fmla="*/ 265 w 1192"/>
                <a:gd name="T125" fmla="*/ 32 h 90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1192" h="902">
                  <a:moveTo>
                    <a:pt x="816" y="45"/>
                  </a:moveTo>
                  <a:lnTo>
                    <a:pt x="826" y="53"/>
                  </a:lnTo>
                  <a:lnTo>
                    <a:pt x="837" y="60"/>
                  </a:lnTo>
                  <a:lnTo>
                    <a:pt x="847" y="65"/>
                  </a:lnTo>
                  <a:lnTo>
                    <a:pt x="857" y="69"/>
                  </a:lnTo>
                  <a:lnTo>
                    <a:pt x="867" y="72"/>
                  </a:lnTo>
                  <a:lnTo>
                    <a:pt x="879" y="74"/>
                  </a:lnTo>
                  <a:lnTo>
                    <a:pt x="890" y="75"/>
                  </a:lnTo>
                  <a:lnTo>
                    <a:pt x="902" y="74"/>
                  </a:lnTo>
                  <a:lnTo>
                    <a:pt x="896" y="67"/>
                  </a:lnTo>
                  <a:lnTo>
                    <a:pt x="889" y="60"/>
                  </a:lnTo>
                  <a:lnTo>
                    <a:pt x="896" y="55"/>
                  </a:lnTo>
                  <a:lnTo>
                    <a:pt x="899" y="48"/>
                  </a:lnTo>
                  <a:lnTo>
                    <a:pt x="902" y="42"/>
                  </a:lnTo>
                  <a:lnTo>
                    <a:pt x="904" y="35"/>
                  </a:lnTo>
                  <a:lnTo>
                    <a:pt x="904" y="26"/>
                  </a:lnTo>
                  <a:lnTo>
                    <a:pt x="902" y="18"/>
                  </a:lnTo>
                  <a:lnTo>
                    <a:pt x="899" y="10"/>
                  </a:lnTo>
                  <a:lnTo>
                    <a:pt x="894" y="0"/>
                  </a:lnTo>
                  <a:lnTo>
                    <a:pt x="912" y="25"/>
                  </a:lnTo>
                  <a:lnTo>
                    <a:pt x="931" y="48"/>
                  </a:lnTo>
                  <a:lnTo>
                    <a:pt x="941" y="64"/>
                  </a:lnTo>
                  <a:lnTo>
                    <a:pt x="949" y="79"/>
                  </a:lnTo>
                  <a:lnTo>
                    <a:pt x="959" y="94"/>
                  </a:lnTo>
                  <a:lnTo>
                    <a:pt x="970" y="109"/>
                  </a:lnTo>
                  <a:lnTo>
                    <a:pt x="968" y="112"/>
                  </a:lnTo>
                  <a:lnTo>
                    <a:pt x="965" y="116"/>
                  </a:lnTo>
                  <a:lnTo>
                    <a:pt x="959" y="112"/>
                  </a:lnTo>
                  <a:lnTo>
                    <a:pt x="954" y="107"/>
                  </a:lnTo>
                  <a:lnTo>
                    <a:pt x="951" y="111"/>
                  </a:lnTo>
                  <a:lnTo>
                    <a:pt x="946" y="112"/>
                  </a:lnTo>
                  <a:lnTo>
                    <a:pt x="939" y="112"/>
                  </a:lnTo>
                  <a:lnTo>
                    <a:pt x="933" y="112"/>
                  </a:lnTo>
                  <a:lnTo>
                    <a:pt x="927" y="124"/>
                  </a:lnTo>
                  <a:lnTo>
                    <a:pt x="924" y="134"/>
                  </a:lnTo>
                  <a:lnTo>
                    <a:pt x="931" y="134"/>
                  </a:lnTo>
                  <a:lnTo>
                    <a:pt x="938" y="133"/>
                  </a:lnTo>
                  <a:lnTo>
                    <a:pt x="939" y="128"/>
                  </a:lnTo>
                  <a:lnTo>
                    <a:pt x="941" y="122"/>
                  </a:lnTo>
                  <a:lnTo>
                    <a:pt x="943" y="121"/>
                  </a:lnTo>
                  <a:lnTo>
                    <a:pt x="946" y="121"/>
                  </a:lnTo>
                  <a:lnTo>
                    <a:pt x="946" y="126"/>
                  </a:lnTo>
                  <a:lnTo>
                    <a:pt x="946" y="131"/>
                  </a:lnTo>
                  <a:lnTo>
                    <a:pt x="953" y="131"/>
                  </a:lnTo>
                  <a:lnTo>
                    <a:pt x="958" y="131"/>
                  </a:lnTo>
                  <a:lnTo>
                    <a:pt x="965" y="134"/>
                  </a:lnTo>
                  <a:lnTo>
                    <a:pt x="971" y="138"/>
                  </a:lnTo>
                  <a:lnTo>
                    <a:pt x="975" y="138"/>
                  </a:lnTo>
                  <a:lnTo>
                    <a:pt x="980" y="138"/>
                  </a:lnTo>
                  <a:lnTo>
                    <a:pt x="976" y="131"/>
                  </a:lnTo>
                  <a:lnTo>
                    <a:pt x="975" y="122"/>
                  </a:lnTo>
                  <a:lnTo>
                    <a:pt x="976" y="119"/>
                  </a:lnTo>
                  <a:lnTo>
                    <a:pt x="976" y="117"/>
                  </a:lnTo>
                  <a:lnTo>
                    <a:pt x="986" y="134"/>
                  </a:lnTo>
                  <a:lnTo>
                    <a:pt x="995" y="153"/>
                  </a:lnTo>
                  <a:lnTo>
                    <a:pt x="1005" y="180"/>
                  </a:lnTo>
                  <a:lnTo>
                    <a:pt x="1012" y="205"/>
                  </a:lnTo>
                  <a:lnTo>
                    <a:pt x="1018" y="227"/>
                  </a:lnTo>
                  <a:lnTo>
                    <a:pt x="1020" y="244"/>
                  </a:lnTo>
                  <a:lnTo>
                    <a:pt x="1037" y="276"/>
                  </a:lnTo>
                  <a:lnTo>
                    <a:pt x="1054" y="303"/>
                  </a:lnTo>
                  <a:lnTo>
                    <a:pt x="1062" y="316"/>
                  </a:lnTo>
                  <a:lnTo>
                    <a:pt x="1072" y="328"/>
                  </a:lnTo>
                  <a:lnTo>
                    <a:pt x="1081" y="338"/>
                  </a:lnTo>
                  <a:lnTo>
                    <a:pt x="1092" y="348"/>
                  </a:lnTo>
                  <a:lnTo>
                    <a:pt x="1101" y="350"/>
                  </a:lnTo>
                  <a:lnTo>
                    <a:pt x="1108" y="350"/>
                  </a:lnTo>
                  <a:lnTo>
                    <a:pt x="1113" y="353"/>
                  </a:lnTo>
                  <a:lnTo>
                    <a:pt x="1118" y="355"/>
                  </a:lnTo>
                  <a:lnTo>
                    <a:pt x="1126" y="360"/>
                  </a:lnTo>
                  <a:lnTo>
                    <a:pt x="1133" y="365"/>
                  </a:lnTo>
                  <a:lnTo>
                    <a:pt x="1138" y="372"/>
                  </a:lnTo>
                  <a:lnTo>
                    <a:pt x="1141" y="377"/>
                  </a:lnTo>
                  <a:lnTo>
                    <a:pt x="1145" y="384"/>
                  </a:lnTo>
                  <a:lnTo>
                    <a:pt x="1146" y="389"/>
                  </a:lnTo>
                  <a:lnTo>
                    <a:pt x="1146" y="395"/>
                  </a:lnTo>
                  <a:lnTo>
                    <a:pt x="1146" y="402"/>
                  </a:lnTo>
                  <a:lnTo>
                    <a:pt x="1136" y="407"/>
                  </a:lnTo>
                  <a:lnTo>
                    <a:pt x="1126" y="412"/>
                  </a:lnTo>
                  <a:lnTo>
                    <a:pt x="1129" y="432"/>
                  </a:lnTo>
                  <a:lnTo>
                    <a:pt x="1135" y="453"/>
                  </a:lnTo>
                  <a:lnTo>
                    <a:pt x="1151" y="453"/>
                  </a:lnTo>
                  <a:lnTo>
                    <a:pt x="1168" y="453"/>
                  </a:lnTo>
                  <a:lnTo>
                    <a:pt x="1178" y="473"/>
                  </a:lnTo>
                  <a:lnTo>
                    <a:pt x="1188" y="493"/>
                  </a:lnTo>
                  <a:lnTo>
                    <a:pt x="1190" y="513"/>
                  </a:lnTo>
                  <a:lnTo>
                    <a:pt x="1192" y="535"/>
                  </a:lnTo>
                  <a:lnTo>
                    <a:pt x="1185" y="535"/>
                  </a:lnTo>
                  <a:lnTo>
                    <a:pt x="1177" y="535"/>
                  </a:lnTo>
                  <a:lnTo>
                    <a:pt x="1175" y="528"/>
                  </a:lnTo>
                  <a:lnTo>
                    <a:pt x="1170" y="523"/>
                  </a:lnTo>
                  <a:lnTo>
                    <a:pt x="1161" y="518"/>
                  </a:lnTo>
                  <a:lnTo>
                    <a:pt x="1146" y="517"/>
                  </a:lnTo>
                  <a:lnTo>
                    <a:pt x="1145" y="518"/>
                  </a:lnTo>
                  <a:lnTo>
                    <a:pt x="1145" y="520"/>
                  </a:lnTo>
                  <a:lnTo>
                    <a:pt x="1145" y="522"/>
                  </a:lnTo>
                  <a:lnTo>
                    <a:pt x="1146" y="525"/>
                  </a:lnTo>
                  <a:lnTo>
                    <a:pt x="1155" y="530"/>
                  </a:lnTo>
                  <a:lnTo>
                    <a:pt x="1173" y="538"/>
                  </a:lnTo>
                  <a:lnTo>
                    <a:pt x="1172" y="559"/>
                  </a:lnTo>
                  <a:lnTo>
                    <a:pt x="1170" y="579"/>
                  </a:lnTo>
                  <a:lnTo>
                    <a:pt x="1156" y="579"/>
                  </a:lnTo>
                  <a:lnTo>
                    <a:pt x="1141" y="581"/>
                  </a:lnTo>
                  <a:lnTo>
                    <a:pt x="1138" y="577"/>
                  </a:lnTo>
                  <a:lnTo>
                    <a:pt x="1135" y="574"/>
                  </a:lnTo>
                  <a:lnTo>
                    <a:pt x="1131" y="570"/>
                  </a:lnTo>
                  <a:lnTo>
                    <a:pt x="1126" y="569"/>
                  </a:lnTo>
                  <a:lnTo>
                    <a:pt x="1116" y="569"/>
                  </a:lnTo>
                  <a:lnTo>
                    <a:pt x="1104" y="569"/>
                  </a:lnTo>
                  <a:lnTo>
                    <a:pt x="1109" y="581"/>
                  </a:lnTo>
                  <a:lnTo>
                    <a:pt x="1116" y="591"/>
                  </a:lnTo>
                  <a:lnTo>
                    <a:pt x="1119" y="594"/>
                  </a:lnTo>
                  <a:lnTo>
                    <a:pt x="1123" y="597"/>
                  </a:lnTo>
                  <a:lnTo>
                    <a:pt x="1128" y="599"/>
                  </a:lnTo>
                  <a:lnTo>
                    <a:pt x="1133" y="597"/>
                  </a:lnTo>
                  <a:lnTo>
                    <a:pt x="1140" y="602"/>
                  </a:lnTo>
                  <a:lnTo>
                    <a:pt x="1146" y="609"/>
                  </a:lnTo>
                  <a:lnTo>
                    <a:pt x="1146" y="629"/>
                  </a:lnTo>
                  <a:lnTo>
                    <a:pt x="1146" y="650"/>
                  </a:lnTo>
                  <a:lnTo>
                    <a:pt x="1135" y="639"/>
                  </a:lnTo>
                  <a:lnTo>
                    <a:pt x="1123" y="628"/>
                  </a:lnTo>
                  <a:lnTo>
                    <a:pt x="1104" y="628"/>
                  </a:lnTo>
                  <a:lnTo>
                    <a:pt x="1087" y="628"/>
                  </a:lnTo>
                  <a:lnTo>
                    <a:pt x="1069" y="626"/>
                  </a:lnTo>
                  <a:lnTo>
                    <a:pt x="1050" y="621"/>
                  </a:lnTo>
                  <a:lnTo>
                    <a:pt x="1034" y="618"/>
                  </a:lnTo>
                  <a:lnTo>
                    <a:pt x="1015" y="611"/>
                  </a:lnTo>
                  <a:lnTo>
                    <a:pt x="998" y="606"/>
                  </a:lnTo>
                  <a:lnTo>
                    <a:pt x="981" y="597"/>
                  </a:lnTo>
                  <a:lnTo>
                    <a:pt x="965" y="597"/>
                  </a:lnTo>
                  <a:lnTo>
                    <a:pt x="949" y="597"/>
                  </a:lnTo>
                  <a:lnTo>
                    <a:pt x="934" y="597"/>
                  </a:lnTo>
                  <a:lnTo>
                    <a:pt x="917" y="597"/>
                  </a:lnTo>
                  <a:lnTo>
                    <a:pt x="917" y="592"/>
                  </a:lnTo>
                  <a:lnTo>
                    <a:pt x="917" y="587"/>
                  </a:lnTo>
                  <a:lnTo>
                    <a:pt x="921" y="584"/>
                  </a:lnTo>
                  <a:lnTo>
                    <a:pt x="924" y="581"/>
                  </a:lnTo>
                  <a:lnTo>
                    <a:pt x="922" y="575"/>
                  </a:lnTo>
                  <a:lnTo>
                    <a:pt x="922" y="572"/>
                  </a:lnTo>
                  <a:lnTo>
                    <a:pt x="917" y="569"/>
                  </a:lnTo>
                  <a:lnTo>
                    <a:pt x="914" y="567"/>
                  </a:lnTo>
                  <a:lnTo>
                    <a:pt x="909" y="567"/>
                  </a:lnTo>
                  <a:lnTo>
                    <a:pt x="902" y="569"/>
                  </a:lnTo>
                  <a:lnTo>
                    <a:pt x="901" y="572"/>
                  </a:lnTo>
                  <a:lnTo>
                    <a:pt x="897" y="577"/>
                  </a:lnTo>
                  <a:lnTo>
                    <a:pt x="899" y="581"/>
                  </a:lnTo>
                  <a:lnTo>
                    <a:pt x="899" y="586"/>
                  </a:lnTo>
                  <a:lnTo>
                    <a:pt x="902" y="587"/>
                  </a:lnTo>
                  <a:lnTo>
                    <a:pt x="907" y="589"/>
                  </a:lnTo>
                  <a:lnTo>
                    <a:pt x="907" y="594"/>
                  </a:lnTo>
                  <a:lnTo>
                    <a:pt x="909" y="601"/>
                  </a:lnTo>
                  <a:lnTo>
                    <a:pt x="889" y="602"/>
                  </a:lnTo>
                  <a:lnTo>
                    <a:pt x="869" y="606"/>
                  </a:lnTo>
                  <a:lnTo>
                    <a:pt x="870" y="597"/>
                  </a:lnTo>
                  <a:lnTo>
                    <a:pt x="870" y="591"/>
                  </a:lnTo>
                  <a:lnTo>
                    <a:pt x="870" y="579"/>
                  </a:lnTo>
                  <a:lnTo>
                    <a:pt x="870" y="567"/>
                  </a:lnTo>
                  <a:lnTo>
                    <a:pt x="869" y="562"/>
                  </a:lnTo>
                  <a:lnTo>
                    <a:pt x="867" y="557"/>
                  </a:lnTo>
                  <a:lnTo>
                    <a:pt x="867" y="552"/>
                  </a:lnTo>
                  <a:lnTo>
                    <a:pt x="867" y="547"/>
                  </a:lnTo>
                  <a:lnTo>
                    <a:pt x="872" y="547"/>
                  </a:lnTo>
                  <a:lnTo>
                    <a:pt x="877" y="547"/>
                  </a:lnTo>
                  <a:lnTo>
                    <a:pt x="880" y="550"/>
                  </a:lnTo>
                  <a:lnTo>
                    <a:pt x="882" y="555"/>
                  </a:lnTo>
                  <a:lnTo>
                    <a:pt x="882" y="537"/>
                  </a:lnTo>
                  <a:lnTo>
                    <a:pt x="880" y="520"/>
                  </a:lnTo>
                  <a:lnTo>
                    <a:pt x="874" y="523"/>
                  </a:lnTo>
                  <a:lnTo>
                    <a:pt x="867" y="525"/>
                  </a:lnTo>
                  <a:lnTo>
                    <a:pt x="862" y="532"/>
                  </a:lnTo>
                  <a:lnTo>
                    <a:pt x="857" y="537"/>
                  </a:lnTo>
                  <a:lnTo>
                    <a:pt x="857" y="542"/>
                  </a:lnTo>
                  <a:lnTo>
                    <a:pt x="857" y="545"/>
                  </a:lnTo>
                  <a:lnTo>
                    <a:pt x="857" y="557"/>
                  </a:lnTo>
                  <a:lnTo>
                    <a:pt x="857" y="567"/>
                  </a:lnTo>
                  <a:lnTo>
                    <a:pt x="848" y="567"/>
                  </a:lnTo>
                  <a:lnTo>
                    <a:pt x="840" y="567"/>
                  </a:lnTo>
                  <a:lnTo>
                    <a:pt x="837" y="560"/>
                  </a:lnTo>
                  <a:lnTo>
                    <a:pt x="837" y="554"/>
                  </a:lnTo>
                  <a:lnTo>
                    <a:pt x="837" y="547"/>
                  </a:lnTo>
                  <a:lnTo>
                    <a:pt x="840" y="540"/>
                  </a:lnTo>
                  <a:lnTo>
                    <a:pt x="825" y="528"/>
                  </a:lnTo>
                  <a:lnTo>
                    <a:pt x="808" y="517"/>
                  </a:lnTo>
                  <a:lnTo>
                    <a:pt x="808" y="527"/>
                  </a:lnTo>
                  <a:lnTo>
                    <a:pt x="808" y="537"/>
                  </a:lnTo>
                  <a:lnTo>
                    <a:pt x="813" y="542"/>
                  </a:lnTo>
                  <a:lnTo>
                    <a:pt x="816" y="545"/>
                  </a:lnTo>
                  <a:lnTo>
                    <a:pt x="820" y="549"/>
                  </a:lnTo>
                  <a:lnTo>
                    <a:pt x="821" y="554"/>
                  </a:lnTo>
                  <a:lnTo>
                    <a:pt x="821" y="559"/>
                  </a:lnTo>
                  <a:lnTo>
                    <a:pt x="820" y="562"/>
                  </a:lnTo>
                  <a:lnTo>
                    <a:pt x="816" y="567"/>
                  </a:lnTo>
                  <a:lnTo>
                    <a:pt x="813" y="572"/>
                  </a:lnTo>
                  <a:lnTo>
                    <a:pt x="808" y="575"/>
                  </a:lnTo>
                  <a:lnTo>
                    <a:pt x="808" y="581"/>
                  </a:lnTo>
                  <a:lnTo>
                    <a:pt x="810" y="586"/>
                  </a:lnTo>
                  <a:lnTo>
                    <a:pt x="815" y="592"/>
                  </a:lnTo>
                  <a:lnTo>
                    <a:pt x="823" y="592"/>
                  </a:lnTo>
                  <a:lnTo>
                    <a:pt x="826" y="594"/>
                  </a:lnTo>
                  <a:lnTo>
                    <a:pt x="828" y="599"/>
                  </a:lnTo>
                  <a:lnTo>
                    <a:pt x="825" y="606"/>
                  </a:lnTo>
                  <a:lnTo>
                    <a:pt x="843" y="607"/>
                  </a:lnTo>
                  <a:lnTo>
                    <a:pt x="862" y="609"/>
                  </a:lnTo>
                  <a:lnTo>
                    <a:pt x="840" y="618"/>
                  </a:lnTo>
                  <a:lnTo>
                    <a:pt x="820" y="628"/>
                  </a:lnTo>
                  <a:lnTo>
                    <a:pt x="803" y="639"/>
                  </a:lnTo>
                  <a:lnTo>
                    <a:pt x="788" y="653"/>
                  </a:lnTo>
                  <a:lnTo>
                    <a:pt x="774" y="660"/>
                  </a:lnTo>
                  <a:lnTo>
                    <a:pt x="763" y="668"/>
                  </a:lnTo>
                  <a:lnTo>
                    <a:pt x="757" y="673"/>
                  </a:lnTo>
                  <a:lnTo>
                    <a:pt x="754" y="678"/>
                  </a:lnTo>
                  <a:lnTo>
                    <a:pt x="751" y="683"/>
                  </a:lnTo>
                  <a:lnTo>
                    <a:pt x="749" y="690"/>
                  </a:lnTo>
                  <a:lnTo>
                    <a:pt x="737" y="707"/>
                  </a:lnTo>
                  <a:lnTo>
                    <a:pt x="725" y="719"/>
                  </a:lnTo>
                  <a:lnTo>
                    <a:pt x="719" y="722"/>
                  </a:lnTo>
                  <a:lnTo>
                    <a:pt x="714" y="725"/>
                  </a:lnTo>
                  <a:lnTo>
                    <a:pt x="707" y="727"/>
                  </a:lnTo>
                  <a:lnTo>
                    <a:pt x="700" y="727"/>
                  </a:lnTo>
                  <a:lnTo>
                    <a:pt x="683" y="737"/>
                  </a:lnTo>
                  <a:lnTo>
                    <a:pt x="667" y="746"/>
                  </a:lnTo>
                  <a:lnTo>
                    <a:pt x="653" y="757"/>
                  </a:lnTo>
                  <a:lnTo>
                    <a:pt x="640" y="767"/>
                  </a:lnTo>
                  <a:lnTo>
                    <a:pt x="626" y="779"/>
                  </a:lnTo>
                  <a:lnTo>
                    <a:pt x="616" y="793"/>
                  </a:lnTo>
                  <a:lnTo>
                    <a:pt x="606" y="805"/>
                  </a:lnTo>
                  <a:lnTo>
                    <a:pt x="596" y="818"/>
                  </a:lnTo>
                  <a:lnTo>
                    <a:pt x="581" y="830"/>
                  </a:lnTo>
                  <a:lnTo>
                    <a:pt x="564" y="842"/>
                  </a:lnTo>
                  <a:lnTo>
                    <a:pt x="549" y="853"/>
                  </a:lnTo>
                  <a:lnTo>
                    <a:pt x="534" y="867"/>
                  </a:lnTo>
                  <a:lnTo>
                    <a:pt x="535" y="862"/>
                  </a:lnTo>
                  <a:lnTo>
                    <a:pt x="537" y="857"/>
                  </a:lnTo>
                  <a:lnTo>
                    <a:pt x="529" y="857"/>
                  </a:lnTo>
                  <a:lnTo>
                    <a:pt x="522" y="855"/>
                  </a:lnTo>
                  <a:lnTo>
                    <a:pt x="515" y="850"/>
                  </a:lnTo>
                  <a:lnTo>
                    <a:pt x="510" y="845"/>
                  </a:lnTo>
                  <a:lnTo>
                    <a:pt x="507" y="847"/>
                  </a:lnTo>
                  <a:lnTo>
                    <a:pt x="503" y="848"/>
                  </a:lnTo>
                  <a:lnTo>
                    <a:pt x="515" y="858"/>
                  </a:lnTo>
                  <a:lnTo>
                    <a:pt x="527" y="869"/>
                  </a:lnTo>
                  <a:lnTo>
                    <a:pt x="525" y="875"/>
                  </a:lnTo>
                  <a:lnTo>
                    <a:pt x="524" y="880"/>
                  </a:lnTo>
                  <a:lnTo>
                    <a:pt x="520" y="885"/>
                  </a:lnTo>
                  <a:lnTo>
                    <a:pt x="515" y="889"/>
                  </a:lnTo>
                  <a:lnTo>
                    <a:pt x="507" y="895"/>
                  </a:lnTo>
                  <a:lnTo>
                    <a:pt x="495" y="902"/>
                  </a:lnTo>
                  <a:lnTo>
                    <a:pt x="486" y="901"/>
                  </a:lnTo>
                  <a:lnTo>
                    <a:pt x="478" y="899"/>
                  </a:lnTo>
                  <a:lnTo>
                    <a:pt x="478" y="889"/>
                  </a:lnTo>
                  <a:lnTo>
                    <a:pt x="476" y="879"/>
                  </a:lnTo>
                  <a:lnTo>
                    <a:pt x="475" y="870"/>
                  </a:lnTo>
                  <a:lnTo>
                    <a:pt x="473" y="862"/>
                  </a:lnTo>
                  <a:lnTo>
                    <a:pt x="471" y="853"/>
                  </a:lnTo>
                  <a:lnTo>
                    <a:pt x="466" y="847"/>
                  </a:lnTo>
                  <a:lnTo>
                    <a:pt x="460" y="842"/>
                  </a:lnTo>
                  <a:lnTo>
                    <a:pt x="451" y="837"/>
                  </a:lnTo>
                  <a:lnTo>
                    <a:pt x="444" y="835"/>
                  </a:lnTo>
                  <a:lnTo>
                    <a:pt x="438" y="833"/>
                  </a:lnTo>
                  <a:lnTo>
                    <a:pt x="433" y="830"/>
                  </a:lnTo>
                  <a:lnTo>
                    <a:pt x="428" y="826"/>
                  </a:lnTo>
                  <a:lnTo>
                    <a:pt x="423" y="823"/>
                  </a:lnTo>
                  <a:lnTo>
                    <a:pt x="419" y="820"/>
                  </a:lnTo>
                  <a:lnTo>
                    <a:pt x="416" y="816"/>
                  </a:lnTo>
                  <a:lnTo>
                    <a:pt x="414" y="811"/>
                  </a:lnTo>
                  <a:lnTo>
                    <a:pt x="412" y="803"/>
                  </a:lnTo>
                  <a:lnTo>
                    <a:pt x="412" y="794"/>
                  </a:lnTo>
                  <a:lnTo>
                    <a:pt x="399" y="788"/>
                  </a:lnTo>
                  <a:lnTo>
                    <a:pt x="389" y="783"/>
                  </a:lnTo>
                  <a:lnTo>
                    <a:pt x="382" y="778"/>
                  </a:lnTo>
                  <a:lnTo>
                    <a:pt x="377" y="773"/>
                  </a:lnTo>
                  <a:lnTo>
                    <a:pt x="377" y="769"/>
                  </a:lnTo>
                  <a:lnTo>
                    <a:pt x="377" y="766"/>
                  </a:lnTo>
                  <a:lnTo>
                    <a:pt x="379" y="764"/>
                  </a:lnTo>
                  <a:lnTo>
                    <a:pt x="380" y="761"/>
                  </a:lnTo>
                  <a:lnTo>
                    <a:pt x="387" y="756"/>
                  </a:lnTo>
                  <a:lnTo>
                    <a:pt x="399" y="749"/>
                  </a:lnTo>
                  <a:lnTo>
                    <a:pt x="406" y="739"/>
                  </a:lnTo>
                  <a:lnTo>
                    <a:pt x="411" y="730"/>
                  </a:lnTo>
                  <a:lnTo>
                    <a:pt x="409" y="727"/>
                  </a:lnTo>
                  <a:lnTo>
                    <a:pt x="407" y="724"/>
                  </a:lnTo>
                  <a:lnTo>
                    <a:pt x="404" y="722"/>
                  </a:lnTo>
                  <a:lnTo>
                    <a:pt x="397" y="719"/>
                  </a:lnTo>
                  <a:lnTo>
                    <a:pt x="382" y="714"/>
                  </a:lnTo>
                  <a:lnTo>
                    <a:pt x="365" y="709"/>
                  </a:lnTo>
                  <a:lnTo>
                    <a:pt x="355" y="705"/>
                  </a:lnTo>
                  <a:lnTo>
                    <a:pt x="347" y="703"/>
                  </a:lnTo>
                  <a:lnTo>
                    <a:pt x="337" y="705"/>
                  </a:lnTo>
                  <a:lnTo>
                    <a:pt x="328" y="707"/>
                  </a:lnTo>
                  <a:lnTo>
                    <a:pt x="310" y="720"/>
                  </a:lnTo>
                  <a:lnTo>
                    <a:pt x="291" y="734"/>
                  </a:lnTo>
                  <a:lnTo>
                    <a:pt x="273" y="747"/>
                  </a:lnTo>
                  <a:lnTo>
                    <a:pt x="254" y="761"/>
                  </a:lnTo>
                  <a:lnTo>
                    <a:pt x="244" y="767"/>
                  </a:lnTo>
                  <a:lnTo>
                    <a:pt x="234" y="773"/>
                  </a:lnTo>
                  <a:lnTo>
                    <a:pt x="229" y="773"/>
                  </a:lnTo>
                  <a:lnTo>
                    <a:pt x="224" y="771"/>
                  </a:lnTo>
                  <a:lnTo>
                    <a:pt x="219" y="766"/>
                  </a:lnTo>
                  <a:lnTo>
                    <a:pt x="214" y="759"/>
                  </a:lnTo>
                  <a:lnTo>
                    <a:pt x="207" y="749"/>
                  </a:lnTo>
                  <a:lnTo>
                    <a:pt x="200" y="744"/>
                  </a:lnTo>
                  <a:lnTo>
                    <a:pt x="195" y="741"/>
                  </a:lnTo>
                  <a:lnTo>
                    <a:pt x="190" y="741"/>
                  </a:lnTo>
                  <a:lnTo>
                    <a:pt x="180" y="746"/>
                  </a:lnTo>
                  <a:lnTo>
                    <a:pt x="172" y="756"/>
                  </a:lnTo>
                  <a:lnTo>
                    <a:pt x="168" y="761"/>
                  </a:lnTo>
                  <a:lnTo>
                    <a:pt x="163" y="764"/>
                  </a:lnTo>
                  <a:lnTo>
                    <a:pt x="158" y="766"/>
                  </a:lnTo>
                  <a:lnTo>
                    <a:pt x="153" y="767"/>
                  </a:lnTo>
                  <a:lnTo>
                    <a:pt x="150" y="766"/>
                  </a:lnTo>
                  <a:lnTo>
                    <a:pt x="145" y="766"/>
                  </a:lnTo>
                  <a:lnTo>
                    <a:pt x="140" y="762"/>
                  </a:lnTo>
                  <a:lnTo>
                    <a:pt x="135" y="761"/>
                  </a:lnTo>
                  <a:lnTo>
                    <a:pt x="131" y="754"/>
                  </a:lnTo>
                  <a:lnTo>
                    <a:pt x="126" y="751"/>
                  </a:lnTo>
                  <a:lnTo>
                    <a:pt x="121" y="751"/>
                  </a:lnTo>
                  <a:lnTo>
                    <a:pt x="116" y="751"/>
                  </a:lnTo>
                  <a:lnTo>
                    <a:pt x="111" y="752"/>
                  </a:lnTo>
                  <a:lnTo>
                    <a:pt x="104" y="757"/>
                  </a:lnTo>
                  <a:lnTo>
                    <a:pt x="99" y="764"/>
                  </a:lnTo>
                  <a:lnTo>
                    <a:pt x="93" y="773"/>
                  </a:lnTo>
                  <a:lnTo>
                    <a:pt x="81" y="779"/>
                  </a:lnTo>
                  <a:lnTo>
                    <a:pt x="69" y="786"/>
                  </a:lnTo>
                  <a:lnTo>
                    <a:pt x="59" y="791"/>
                  </a:lnTo>
                  <a:lnTo>
                    <a:pt x="49" y="794"/>
                  </a:lnTo>
                  <a:lnTo>
                    <a:pt x="32" y="798"/>
                  </a:lnTo>
                  <a:lnTo>
                    <a:pt x="15" y="799"/>
                  </a:lnTo>
                  <a:lnTo>
                    <a:pt x="8" y="799"/>
                  </a:lnTo>
                  <a:lnTo>
                    <a:pt x="0" y="799"/>
                  </a:lnTo>
                  <a:lnTo>
                    <a:pt x="20" y="773"/>
                  </a:lnTo>
                  <a:lnTo>
                    <a:pt x="40" y="747"/>
                  </a:lnTo>
                  <a:lnTo>
                    <a:pt x="52" y="735"/>
                  </a:lnTo>
                  <a:lnTo>
                    <a:pt x="62" y="725"/>
                  </a:lnTo>
                  <a:lnTo>
                    <a:pt x="74" y="717"/>
                  </a:lnTo>
                  <a:lnTo>
                    <a:pt x="84" y="709"/>
                  </a:lnTo>
                  <a:lnTo>
                    <a:pt x="93" y="700"/>
                  </a:lnTo>
                  <a:lnTo>
                    <a:pt x="101" y="695"/>
                  </a:lnTo>
                  <a:lnTo>
                    <a:pt x="104" y="693"/>
                  </a:lnTo>
                  <a:lnTo>
                    <a:pt x="108" y="692"/>
                  </a:lnTo>
                  <a:lnTo>
                    <a:pt x="113" y="693"/>
                  </a:lnTo>
                  <a:lnTo>
                    <a:pt x="116" y="693"/>
                  </a:lnTo>
                  <a:lnTo>
                    <a:pt x="123" y="693"/>
                  </a:lnTo>
                  <a:lnTo>
                    <a:pt x="128" y="690"/>
                  </a:lnTo>
                  <a:lnTo>
                    <a:pt x="131" y="687"/>
                  </a:lnTo>
                  <a:lnTo>
                    <a:pt x="135" y="682"/>
                  </a:lnTo>
                  <a:lnTo>
                    <a:pt x="136" y="673"/>
                  </a:lnTo>
                  <a:lnTo>
                    <a:pt x="140" y="668"/>
                  </a:lnTo>
                  <a:lnTo>
                    <a:pt x="141" y="665"/>
                  </a:lnTo>
                  <a:lnTo>
                    <a:pt x="145" y="665"/>
                  </a:lnTo>
                  <a:lnTo>
                    <a:pt x="150" y="666"/>
                  </a:lnTo>
                  <a:lnTo>
                    <a:pt x="157" y="673"/>
                  </a:lnTo>
                  <a:lnTo>
                    <a:pt x="170" y="673"/>
                  </a:lnTo>
                  <a:lnTo>
                    <a:pt x="182" y="673"/>
                  </a:lnTo>
                  <a:lnTo>
                    <a:pt x="195" y="673"/>
                  </a:lnTo>
                  <a:lnTo>
                    <a:pt x="207" y="673"/>
                  </a:lnTo>
                  <a:lnTo>
                    <a:pt x="214" y="673"/>
                  </a:lnTo>
                  <a:lnTo>
                    <a:pt x="219" y="671"/>
                  </a:lnTo>
                  <a:lnTo>
                    <a:pt x="222" y="668"/>
                  </a:lnTo>
                  <a:lnTo>
                    <a:pt x="224" y="666"/>
                  </a:lnTo>
                  <a:lnTo>
                    <a:pt x="226" y="663"/>
                  </a:lnTo>
                  <a:lnTo>
                    <a:pt x="226" y="658"/>
                  </a:lnTo>
                  <a:lnTo>
                    <a:pt x="224" y="653"/>
                  </a:lnTo>
                  <a:lnTo>
                    <a:pt x="222" y="648"/>
                  </a:lnTo>
                  <a:lnTo>
                    <a:pt x="217" y="641"/>
                  </a:lnTo>
                  <a:lnTo>
                    <a:pt x="215" y="636"/>
                  </a:lnTo>
                  <a:lnTo>
                    <a:pt x="217" y="631"/>
                  </a:lnTo>
                  <a:lnTo>
                    <a:pt x="221" y="628"/>
                  </a:lnTo>
                  <a:lnTo>
                    <a:pt x="226" y="619"/>
                  </a:lnTo>
                  <a:lnTo>
                    <a:pt x="227" y="609"/>
                  </a:lnTo>
                  <a:lnTo>
                    <a:pt x="227" y="599"/>
                  </a:lnTo>
                  <a:lnTo>
                    <a:pt x="227" y="587"/>
                  </a:lnTo>
                  <a:lnTo>
                    <a:pt x="226" y="584"/>
                  </a:lnTo>
                  <a:lnTo>
                    <a:pt x="226" y="581"/>
                  </a:lnTo>
                  <a:lnTo>
                    <a:pt x="226" y="577"/>
                  </a:lnTo>
                  <a:lnTo>
                    <a:pt x="227" y="575"/>
                  </a:lnTo>
                  <a:lnTo>
                    <a:pt x="231" y="574"/>
                  </a:lnTo>
                  <a:lnTo>
                    <a:pt x="234" y="574"/>
                  </a:lnTo>
                  <a:lnTo>
                    <a:pt x="237" y="575"/>
                  </a:lnTo>
                  <a:lnTo>
                    <a:pt x="241" y="579"/>
                  </a:lnTo>
                  <a:lnTo>
                    <a:pt x="249" y="579"/>
                  </a:lnTo>
                  <a:lnTo>
                    <a:pt x="254" y="579"/>
                  </a:lnTo>
                  <a:lnTo>
                    <a:pt x="258" y="577"/>
                  </a:lnTo>
                  <a:lnTo>
                    <a:pt x="258" y="575"/>
                  </a:lnTo>
                  <a:lnTo>
                    <a:pt x="258" y="572"/>
                  </a:lnTo>
                  <a:lnTo>
                    <a:pt x="254" y="567"/>
                  </a:lnTo>
                  <a:lnTo>
                    <a:pt x="251" y="564"/>
                  </a:lnTo>
                  <a:lnTo>
                    <a:pt x="249" y="560"/>
                  </a:lnTo>
                  <a:lnTo>
                    <a:pt x="249" y="557"/>
                  </a:lnTo>
                  <a:lnTo>
                    <a:pt x="249" y="555"/>
                  </a:lnTo>
                  <a:lnTo>
                    <a:pt x="254" y="552"/>
                  </a:lnTo>
                  <a:lnTo>
                    <a:pt x="264" y="552"/>
                  </a:lnTo>
                  <a:lnTo>
                    <a:pt x="271" y="549"/>
                  </a:lnTo>
                  <a:lnTo>
                    <a:pt x="278" y="545"/>
                  </a:lnTo>
                  <a:lnTo>
                    <a:pt x="281" y="535"/>
                  </a:lnTo>
                  <a:lnTo>
                    <a:pt x="283" y="533"/>
                  </a:lnTo>
                  <a:lnTo>
                    <a:pt x="286" y="535"/>
                  </a:lnTo>
                  <a:lnTo>
                    <a:pt x="290" y="543"/>
                  </a:lnTo>
                  <a:lnTo>
                    <a:pt x="295" y="554"/>
                  </a:lnTo>
                  <a:lnTo>
                    <a:pt x="298" y="559"/>
                  </a:lnTo>
                  <a:lnTo>
                    <a:pt x="301" y="557"/>
                  </a:lnTo>
                  <a:lnTo>
                    <a:pt x="303" y="549"/>
                  </a:lnTo>
                  <a:lnTo>
                    <a:pt x="303" y="540"/>
                  </a:lnTo>
                  <a:lnTo>
                    <a:pt x="305" y="533"/>
                  </a:lnTo>
                  <a:lnTo>
                    <a:pt x="306" y="528"/>
                  </a:lnTo>
                  <a:lnTo>
                    <a:pt x="308" y="527"/>
                  </a:lnTo>
                  <a:lnTo>
                    <a:pt x="313" y="525"/>
                  </a:lnTo>
                  <a:lnTo>
                    <a:pt x="316" y="525"/>
                  </a:lnTo>
                  <a:lnTo>
                    <a:pt x="322" y="528"/>
                  </a:lnTo>
                  <a:lnTo>
                    <a:pt x="328" y="532"/>
                  </a:lnTo>
                  <a:lnTo>
                    <a:pt x="333" y="545"/>
                  </a:lnTo>
                  <a:lnTo>
                    <a:pt x="340" y="557"/>
                  </a:lnTo>
                  <a:lnTo>
                    <a:pt x="342" y="562"/>
                  </a:lnTo>
                  <a:lnTo>
                    <a:pt x="343" y="564"/>
                  </a:lnTo>
                  <a:lnTo>
                    <a:pt x="347" y="565"/>
                  </a:lnTo>
                  <a:lnTo>
                    <a:pt x="348" y="567"/>
                  </a:lnTo>
                  <a:lnTo>
                    <a:pt x="353" y="564"/>
                  </a:lnTo>
                  <a:lnTo>
                    <a:pt x="360" y="557"/>
                  </a:lnTo>
                  <a:lnTo>
                    <a:pt x="362" y="547"/>
                  </a:lnTo>
                  <a:lnTo>
                    <a:pt x="365" y="540"/>
                  </a:lnTo>
                  <a:lnTo>
                    <a:pt x="369" y="535"/>
                  </a:lnTo>
                  <a:lnTo>
                    <a:pt x="372" y="532"/>
                  </a:lnTo>
                  <a:lnTo>
                    <a:pt x="375" y="528"/>
                  </a:lnTo>
                  <a:lnTo>
                    <a:pt x="380" y="528"/>
                  </a:lnTo>
                  <a:lnTo>
                    <a:pt x="387" y="528"/>
                  </a:lnTo>
                  <a:lnTo>
                    <a:pt x="392" y="530"/>
                  </a:lnTo>
                  <a:lnTo>
                    <a:pt x="401" y="532"/>
                  </a:lnTo>
                  <a:lnTo>
                    <a:pt x="407" y="530"/>
                  </a:lnTo>
                  <a:lnTo>
                    <a:pt x="416" y="528"/>
                  </a:lnTo>
                  <a:lnTo>
                    <a:pt x="424" y="523"/>
                  </a:lnTo>
                  <a:lnTo>
                    <a:pt x="431" y="518"/>
                  </a:lnTo>
                  <a:lnTo>
                    <a:pt x="438" y="515"/>
                  </a:lnTo>
                  <a:lnTo>
                    <a:pt x="444" y="517"/>
                  </a:lnTo>
                  <a:lnTo>
                    <a:pt x="453" y="520"/>
                  </a:lnTo>
                  <a:lnTo>
                    <a:pt x="466" y="522"/>
                  </a:lnTo>
                  <a:lnTo>
                    <a:pt x="480" y="522"/>
                  </a:lnTo>
                  <a:lnTo>
                    <a:pt x="492" y="522"/>
                  </a:lnTo>
                  <a:lnTo>
                    <a:pt x="503" y="520"/>
                  </a:lnTo>
                  <a:lnTo>
                    <a:pt x="512" y="517"/>
                  </a:lnTo>
                  <a:lnTo>
                    <a:pt x="518" y="515"/>
                  </a:lnTo>
                  <a:lnTo>
                    <a:pt x="524" y="510"/>
                  </a:lnTo>
                  <a:lnTo>
                    <a:pt x="525" y="506"/>
                  </a:lnTo>
                  <a:lnTo>
                    <a:pt x="527" y="495"/>
                  </a:lnTo>
                  <a:lnTo>
                    <a:pt x="529" y="488"/>
                  </a:lnTo>
                  <a:lnTo>
                    <a:pt x="532" y="481"/>
                  </a:lnTo>
                  <a:lnTo>
                    <a:pt x="537" y="478"/>
                  </a:lnTo>
                  <a:lnTo>
                    <a:pt x="542" y="476"/>
                  </a:lnTo>
                  <a:lnTo>
                    <a:pt x="547" y="476"/>
                  </a:lnTo>
                  <a:lnTo>
                    <a:pt x="552" y="479"/>
                  </a:lnTo>
                  <a:lnTo>
                    <a:pt x="559" y="483"/>
                  </a:lnTo>
                  <a:lnTo>
                    <a:pt x="567" y="485"/>
                  </a:lnTo>
                  <a:lnTo>
                    <a:pt x="574" y="483"/>
                  </a:lnTo>
                  <a:lnTo>
                    <a:pt x="581" y="481"/>
                  </a:lnTo>
                  <a:lnTo>
                    <a:pt x="586" y="478"/>
                  </a:lnTo>
                  <a:lnTo>
                    <a:pt x="589" y="474"/>
                  </a:lnTo>
                  <a:lnTo>
                    <a:pt x="593" y="468"/>
                  </a:lnTo>
                  <a:lnTo>
                    <a:pt x="594" y="461"/>
                  </a:lnTo>
                  <a:lnTo>
                    <a:pt x="598" y="453"/>
                  </a:lnTo>
                  <a:lnTo>
                    <a:pt x="598" y="441"/>
                  </a:lnTo>
                  <a:lnTo>
                    <a:pt x="598" y="431"/>
                  </a:lnTo>
                  <a:lnTo>
                    <a:pt x="601" y="421"/>
                  </a:lnTo>
                  <a:lnTo>
                    <a:pt x="604" y="414"/>
                  </a:lnTo>
                  <a:lnTo>
                    <a:pt x="608" y="409"/>
                  </a:lnTo>
                  <a:lnTo>
                    <a:pt x="614" y="405"/>
                  </a:lnTo>
                  <a:lnTo>
                    <a:pt x="621" y="404"/>
                  </a:lnTo>
                  <a:lnTo>
                    <a:pt x="630" y="404"/>
                  </a:lnTo>
                  <a:lnTo>
                    <a:pt x="641" y="402"/>
                  </a:lnTo>
                  <a:lnTo>
                    <a:pt x="651" y="402"/>
                  </a:lnTo>
                  <a:lnTo>
                    <a:pt x="660" y="404"/>
                  </a:lnTo>
                  <a:lnTo>
                    <a:pt x="665" y="409"/>
                  </a:lnTo>
                  <a:lnTo>
                    <a:pt x="668" y="414"/>
                  </a:lnTo>
                  <a:lnTo>
                    <a:pt x="670" y="421"/>
                  </a:lnTo>
                  <a:lnTo>
                    <a:pt x="672" y="429"/>
                  </a:lnTo>
                  <a:lnTo>
                    <a:pt x="670" y="439"/>
                  </a:lnTo>
                  <a:lnTo>
                    <a:pt x="656" y="454"/>
                  </a:lnTo>
                  <a:lnTo>
                    <a:pt x="643" y="468"/>
                  </a:lnTo>
                  <a:lnTo>
                    <a:pt x="641" y="473"/>
                  </a:lnTo>
                  <a:lnTo>
                    <a:pt x="640" y="478"/>
                  </a:lnTo>
                  <a:lnTo>
                    <a:pt x="640" y="481"/>
                  </a:lnTo>
                  <a:lnTo>
                    <a:pt x="641" y="483"/>
                  </a:lnTo>
                  <a:lnTo>
                    <a:pt x="643" y="485"/>
                  </a:lnTo>
                  <a:lnTo>
                    <a:pt x="646" y="486"/>
                  </a:lnTo>
                  <a:lnTo>
                    <a:pt x="650" y="486"/>
                  </a:lnTo>
                  <a:lnTo>
                    <a:pt x="656" y="486"/>
                  </a:lnTo>
                  <a:lnTo>
                    <a:pt x="675" y="481"/>
                  </a:lnTo>
                  <a:lnTo>
                    <a:pt x="694" y="478"/>
                  </a:lnTo>
                  <a:lnTo>
                    <a:pt x="697" y="474"/>
                  </a:lnTo>
                  <a:lnTo>
                    <a:pt x="702" y="473"/>
                  </a:lnTo>
                  <a:lnTo>
                    <a:pt x="705" y="473"/>
                  </a:lnTo>
                  <a:lnTo>
                    <a:pt x="710" y="474"/>
                  </a:lnTo>
                  <a:lnTo>
                    <a:pt x="717" y="478"/>
                  </a:lnTo>
                  <a:lnTo>
                    <a:pt x="725" y="485"/>
                  </a:lnTo>
                  <a:lnTo>
                    <a:pt x="729" y="490"/>
                  </a:lnTo>
                  <a:lnTo>
                    <a:pt x="732" y="493"/>
                  </a:lnTo>
                  <a:lnTo>
                    <a:pt x="734" y="496"/>
                  </a:lnTo>
                  <a:lnTo>
                    <a:pt x="737" y="498"/>
                  </a:lnTo>
                  <a:lnTo>
                    <a:pt x="741" y="498"/>
                  </a:lnTo>
                  <a:lnTo>
                    <a:pt x="744" y="496"/>
                  </a:lnTo>
                  <a:lnTo>
                    <a:pt x="747" y="493"/>
                  </a:lnTo>
                  <a:lnTo>
                    <a:pt x="751" y="491"/>
                  </a:lnTo>
                  <a:lnTo>
                    <a:pt x="763" y="478"/>
                  </a:lnTo>
                  <a:lnTo>
                    <a:pt x="776" y="464"/>
                  </a:lnTo>
                  <a:lnTo>
                    <a:pt x="776" y="451"/>
                  </a:lnTo>
                  <a:lnTo>
                    <a:pt x="778" y="441"/>
                  </a:lnTo>
                  <a:lnTo>
                    <a:pt x="779" y="436"/>
                  </a:lnTo>
                  <a:lnTo>
                    <a:pt x="781" y="434"/>
                  </a:lnTo>
                  <a:lnTo>
                    <a:pt x="784" y="432"/>
                  </a:lnTo>
                  <a:lnTo>
                    <a:pt x="788" y="434"/>
                  </a:lnTo>
                  <a:lnTo>
                    <a:pt x="803" y="437"/>
                  </a:lnTo>
                  <a:lnTo>
                    <a:pt x="820" y="442"/>
                  </a:lnTo>
                  <a:lnTo>
                    <a:pt x="828" y="444"/>
                  </a:lnTo>
                  <a:lnTo>
                    <a:pt x="838" y="444"/>
                  </a:lnTo>
                  <a:lnTo>
                    <a:pt x="842" y="444"/>
                  </a:lnTo>
                  <a:lnTo>
                    <a:pt x="845" y="441"/>
                  </a:lnTo>
                  <a:lnTo>
                    <a:pt x="848" y="437"/>
                  </a:lnTo>
                  <a:lnTo>
                    <a:pt x="852" y="434"/>
                  </a:lnTo>
                  <a:lnTo>
                    <a:pt x="857" y="426"/>
                  </a:lnTo>
                  <a:lnTo>
                    <a:pt x="862" y="416"/>
                  </a:lnTo>
                  <a:lnTo>
                    <a:pt x="864" y="407"/>
                  </a:lnTo>
                  <a:lnTo>
                    <a:pt x="864" y="397"/>
                  </a:lnTo>
                  <a:lnTo>
                    <a:pt x="862" y="387"/>
                  </a:lnTo>
                  <a:lnTo>
                    <a:pt x="858" y="378"/>
                  </a:lnTo>
                  <a:lnTo>
                    <a:pt x="855" y="367"/>
                  </a:lnTo>
                  <a:lnTo>
                    <a:pt x="850" y="357"/>
                  </a:lnTo>
                  <a:lnTo>
                    <a:pt x="837" y="328"/>
                  </a:lnTo>
                  <a:lnTo>
                    <a:pt x="828" y="299"/>
                  </a:lnTo>
                  <a:lnTo>
                    <a:pt x="825" y="286"/>
                  </a:lnTo>
                  <a:lnTo>
                    <a:pt x="823" y="272"/>
                  </a:lnTo>
                  <a:lnTo>
                    <a:pt x="823" y="259"/>
                  </a:lnTo>
                  <a:lnTo>
                    <a:pt x="826" y="247"/>
                  </a:lnTo>
                  <a:lnTo>
                    <a:pt x="826" y="232"/>
                  </a:lnTo>
                  <a:lnTo>
                    <a:pt x="826" y="215"/>
                  </a:lnTo>
                  <a:lnTo>
                    <a:pt x="816" y="220"/>
                  </a:lnTo>
                  <a:lnTo>
                    <a:pt x="808" y="222"/>
                  </a:lnTo>
                  <a:lnTo>
                    <a:pt x="796" y="224"/>
                  </a:lnTo>
                  <a:lnTo>
                    <a:pt x="784" y="222"/>
                  </a:lnTo>
                  <a:lnTo>
                    <a:pt x="776" y="222"/>
                  </a:lnTo>
                  <a:lnTo>
                    <a:pt x="771" y="224"/>
                  </a:lnTo>
                  <a:lnTo>
                    <a:pt x="766" y="227"/>
                  </a:lnTo>
                  <a:lnTo>
                    <a:pt x="761" y="232"/>
                  </a:lnTo>
                  <a:lnTo>
                    <a:pt x="756" y="242"/>
                  </a:lnTo>
                  <a:lnTo>
                    <a:pt x="751" y="249"/>
                  </a:lnTo>
                  <a:lnTo>
                    <a:pt x="744" y="254"/>
                  </a:lnTo>
                  <a:lnTo>
                    <a:pt x="737" y="256"/>
                  </a:lnTo>
                  <a:lnTo>
                    <a:pt x="734" y="256"/>
                  </a:lnTo>
                  <a:lnTo>
                    <a:pt x="731" y="254"/>
                  </a:lnTo>
                  <a:lnTo>
                    <a:pt x="727" y="252"/>
                  </a:lnTo>
                  <a:lnTo>
                    <a:pt x="725" y="249"/>
                  </a:lnTo>
                  <a:lnTo>
                    <a:pt x="722" y="240"/>
                  </a:lnTo>
                  <a:lnTo>
                    <a:pt x="720" y="229"/>
                  </a:lnTo>
                  <a:lnTo>
                    <a:pt x="724" y="213"/>
                  </a:lnTo>
                  <a:lnTo>
                    <a:pt x="727" y="198"/>
                  </a:lnTo>
                  <a:lnTo>
                    <a:pt x="736" y="186"/>
                  </a:lnTo>
                  <a:lnTo>
                    <a:pt x="746" y="176"/>
                  </a:lnTo>
                  <a:lnTo>
                    <a:pt x="751" y="171"/>
                  </a:lnTo>
                  <a:lnTo>
                    <a:pt x="757" y="168"/>
                  </a:lnTo>
                  <a:lnTo>
                    <a:pt x="763" y="165"/>
                  </a:lnTo>
                  <a:lnTo>
                    <a:pt x="769" y="161"/>
                  </a:lnTo>
                  <a:lnTo>
                    <a:pt x="784" y="158"/>
                  </a:lnTo>
                  <a:lnTo>
                    <a:pt x="801" y="156"/>
                  </a:lnTo>
                  <a:lnTo>
                    <a:pt x="806" y="154"/>
                  </a:lnTo>
                  <a:lnTo>
                    <a:pt x="810" y="151"/>
                  </a:lnTo>
                  <a:lnTo>
                    <a:pt x="811" y="146"/>
                  </a:lnTo>
                  <a:lnTo>
                    <a:pt x="813" y="143"/>
                  </a:lnTo>
                  <a:lnTo>
                    <a:pt x="816" y="131"/>
                  </a:lnTo>
                  <a:lnTo>
                    <a:pt x="816" y="117"/>
                  </a:lnTo>
                  <a:lnTo>
                    <a:pt x="816" y="106"/>
                  </a:lnTo>
                  <a:lnTo>
                    <a:pt x="818" y="94"/>
                  </a:lnTo>
                  <a:lnTo>
                    <a:pt x="816" y="70"/>
                  </a:lnTo>
                  <a:lnTo>
                    <a:pt x="816" y="45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952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83621" name="Oval 69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auto">
            <a:xfrm>
              <a:off x="811" y="2748"/>
              <a:ext cx="38" cy="39"/>
            </a:xfrm>
            <a:prstGeom prst="ellipse">
              <a:avLst/>
            </a:prstGeom>
            <a:solidFill>
              <a:schemeClr val="folHlink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3622" name="Line 71"/>
            <p:cNvSpPr>
              <a:spLocks noChangeShapeType="1"/>
            </p:cNvSpPr>
            <p:nvPr/>
          </p:nvSpPr>
          <p:spPr bwMode="auto">
            <a:xfrm flipV="1">
              <a:off x="627" y="2670"/>
              <a:ext cx="27" cy="53"/>
            </a:xfrm>
            <a:prstGeom prst="line">
              <a:avLst/>
            </a:prstGeom>
            <a:noFill/>
            <a:ln w="1905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83623" name="Text Box 72"/>
            <p:cNvSpPr txBox="1">
              <a:spLocks noChangeArrowheads="1"/>
            </p:cNvSpPr>
            <p:nvPr/>
          </p:nvSpPr>
          <p:spPr bwMode="auto">
            <a:xfrm>
              <a:off x="922" y="2616"/>
              <a:ext cx="313" cy="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ctr"/>
              <a:r>
                <a:rPr lang="ru-RU" sz="700"/>
                <a:t>п. Бараниха</a:t>
              </a:r>
            </a:p>
          </p:txBody>
        </p:sp>
        <p:sp>
          <p:nvSpPr>
            <p:cNvPr id="83624" name="Oval 73"/>
            <p:cNvSpPr>
              <a:spLocks noChangeArrowheads="1"/>
            </p:cNvSpPr>
            <p:nvPr/>
          </p:nvSpPr>
          <p:spPr bwMode="auto">
            <a:xfrm>
              <a:off x="642" y="3069"/>
              <a:ext cx="21" cy="21"/>
            </a:xfrm>
            <a:prstGeom prst="ellipse">
              <a:avLst/>
            </a:prstGeom>
            <a:solidFill>
              <a:srgbClr val="808080"/>
            </a:solidFill>
            <a:ln w="9525" algn="ctr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3625" name="Oval 74"/>
            <p:cNvSpPr>
              <a:spLocks noChangeArrowheads="1"/>
            </p:cNvSpPr>
            <p:nvPr/>
          </p:nvSpPr>
          <p:spPr bwMode="auto">
            <a:xfrm>
              <a:off x="755" y="2804"/>
              <a:ext cx="20" cy="20"/>
            </a:xfrm>
            <a:prstGeom prst="ellipse">
              <a:avLst/>
            </a:prstGeom>
            <a:solidFill>
              <a:srgbClr val="808080"/>
            </a:solidFill>
            <a:ln w="9525" algn="ctr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3626" name="Oval 75"/>
            <p:cNvSpPr>
              <a:spLocks noChangeArrowheads="1"/>
            </p:cNvSpPr>
            <p:nvPr/>
          </p:nvSpPr>
          <p:spPr bwMode="auto">
            <a:xfrm>
              <a:off x="970" y="3000"/>
              <a:ext cx="20" cy="20"/>
            </a:xfrm>
            <a:prstGeom prst="ellipse">
              <a:avLst/>
            </a:prstGeom>
            <a:solidFill>
              <a:srgbClr val="808080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3627" name="Oval 76"/>
            <p:cNvSpPr>
              <a:spLocks noChangeArrowheads="1"/>
            </p:cNvSpPr>
            <p:nvPr/>
          </p:nvSpPr>
          <p:spPr bwMode="auto">
            <a:xfrm>
              <a:off x="955" y="2860"/>
              <a:ext cx="21" cy="20"/>
            </a:xfrm>
            <a:prstGeom prst="ellipse">
              <a:avLst/>
            </a:prstGeom>
            <a:solidFill>
              <a:srgbClr val="808080"/>
            </a:solidFill>
            <a:ln w="9525" algn="ctr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3628" name="Oval 77"/>
            <p:cNvSpPr>
              <a:spLocks noChangeArrowheads="1"/>
            </p:cNvSpPr>
            <p:nvPr/>
          </p:nvSpPr>
          <p:spPr bwMode="auto">
            <a:xfrm>
              <a:off x="962" y="2638"/>
              <a:ext cx="20" cy="20"/>
            </a:xfrm>
            <a:prstGeom prst="ellipse">
              <a:avLst/>
            </a:prstGeom>
            <a:solidFill>
              <a:srgbClr val="808080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3629" name="Oval 78"/>
            <p:cNvSpPr>
              <a:spLocks noChangeArrowheads="1"/>
            </p:cNvSpPr>
            <p:nvPr/>
          </p:nvSpPr>
          <p:spPr bwMode="auto">
            <a:xfrm>
              <a:off x="1283" y="2498"/>
              <a:ext cx="20" cy="21"/>
            </a:xfrm>
            <a:prstGeom prst="ellipse">
              <a:avLst/>
            </a:prstGeom>
            <a:solidFill>
              <a:srgbClr val="808080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3630" name="Oval 79"/>
            <p:cNvSpPr>
              <a:spLocks noChangeArrowheads="1"/>
            </p:cNvSpPr>
            <p:nvPr/>
          </p:nvSpPr>
          <p:spPr bwMode="auto">
            <a:xfrm>
              <a:off x="1079" y="2431"/>
              <a:ext cx="21" cy="20"/>
            </a:xfrm>
            <a:prstGeom prst="ellipse">
              <a:avLst/>
            </a:prstGeom>
            <a:solidFill>
              <a:srgbClr val="808080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83631" name="Group 80"/>
            <p:cNvGrpSpPr>
              <a:grpSpLocks/>
            </p:cNvGrpSpPr>
            <p:nvPr/>
          </p:nvGrpSpPr>
          <p:grpSpPr bwMode="auto">
            <a:xfrm>
              <a:off x="1640" y="3362"/>
              <a:ext cx="54" cy="53"/>
              <a:chOff x="3969" y="3475"/>
              <a:chExt cx="90" cy="91"/>
            </a:xfrm>
          </p:grpSpPr>
          <p:sp>
            <p:nvSpPr>
              <p:cNvPr id="83666" name="Line 81"/>
              <p:cNvSpPr>
                <a:spLocks noChangeShapeType="1"/>
              </p:cNvSpPr>
              <p:nvPr/>
            </p:nvSpPr>
            <p:spPr bwMode="auto">
              <a:xfrm>
                <a:off x="3969" y="3475"/>
                <a:ext cx="90" cy="91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83667" name="Line 82"/>
              <p:cNvSpPr>
                <a:spLocks noChangeShapeType="1"/>
              </p:cNvSpPr>
              <p:nvPr/>
            </p:nvSpPr>
            <p:spPr bwMode="auto">
              <a:xfrm flipH="1">
                <a:off x="3969" y="3475"/>
                <a:ext cx="90" cy="91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83668" name="Oval 83"/>
              <p:cNvSpPr>
                <a:spLocks noChangeArrowheads="1"/>
              </p:cNvSpPr>
              <p:nvPr/>
            </p:nvSpPr>
            <p:spPr bwMode="auto">
              <a:xfrm>
                <a:off x="3980" y="3487"/>
                <a:ext cx="66" cy="66"/>
              </a:xfrm>
              <a:prstGeom prst="ellipse">
                <a:avLst/>
              </a:prstGeom>
              <a:solidFill>
                <a:srgbClr val="000000"/>
              </a:solidFill>
              <a:ln w="1270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sp>
          <p:nvSpPr>
            <p:cNvPr id="1110100" name="Oval 84"/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auto">
            <a:xfrm>
              <a:off x="1640" y="3311"/>
              <a:ext cx="52" cy="52"/>
            </a:xfrm>
            <a:prstGeom prst="ellipse">
              <a:avLst/>
            </a:prstGeom>
            <a:solidFill>
              <a:schemeClr val="hlink"/>
            </a:solidFill>
            <a:ln w="9525">
              <a:solidFill>
                <a:schemeClr val="bg1"/>
              </a:solidFill>
              <a:round/>
              <a:headEnd/>
              <a:tailEnd/>
            </a:ln>
            <a:effectLst>
              <a:prstShdw prst="shdw17" dist="17961" dir="2700000">
                <a:schemeClr val="bg1">
                  <a:gamma/>
                  <a:shade val="60000"/>
                  <a:invGamma/>
                </a:schemeClr>
              </a:prstShdw>
            </a:effectLst>
          </p:spPr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83633" name="Oval 85"/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auto">
            <a:xfrm>
              <a:off x="1086" y="3351"/>
              <a:ext cx="38" cy="40"/>
            </a:xfrm>
            <a:prstGeom prst="ellipse">
              <a:avLst/>
            </a:prstGeom>
            <a:solidFill>
              <a:schemeClr val="hlink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110102" name="Oval 86"/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1862" y="3552"/>
              <a:ext cx="53" cy="52"/>
            </a:xfrm>
            <a:prstGeom prst="ellipse">
              <a:avLst/>
            </a:prstGeom>
            <a:solidFill>
              <a:schemeClr val="hlink"/>
            </a:solidFill>
            <a:ln w="22225">
              <a:solidFill>
                <a:schemeClr val="bg1"/>
              </a:solidFill>
              <a:round/>
              <a:headEnd/>
              <a:tailEnd/>
            </a:ln>
            <a:effectLst>
              <a:prstShdw prst="shdw17" dist="17961" dir="2700000">
                <a:schemeClr val="bg1">
                  <a:gamma/>
                  <a:shade val="60000"/>
                  <a:invGamma/>
                </a:schemeClr>
              </a:prstShdw>
            </a:effectLst>
          </p:spPr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83635" name="Oval 87"/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auto">
            <a:xfrm>
              <a:off x="1043" y="2435"/>
              <a:ext cx="39" cy="39"/>
            </a:xfrm>
            <a:prstGeom prst="ellipse">
              <a:avLst/>
            </a:prstGeom>
            <a:solidFill>
              <a:schemeClr val="hlink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110104" name="Oval 88"/>
            <p:cNvSpPr>
              <a:spLocks noChangeArrowheads="1"/>
            </p:cNvSpPr>
            <p:nvPr>
              <p:custDataLst>
                <p:tags r:id="rId23"/>
              </p:custDataLst>
            </p:nvPr>
          </p:nvSpPr>
          <p:spPr bwMode="auto">
            <a:xfrm>
              <a:off x="2366" y="3166"/>
              <a:ext cx="38" cy="39"/>
            </a:xfrm>
            <a:prstGeom prst="ellipse">
              <a:avLst/>
            </a:prstGeom>
            <a:solidFill>
              <a:srgbClr val="808080"/>
            </a:solidFill>
            <a:ln w="22225">
              <a:solidFill>
                <a:schemeClr val="bg1"/>
              </a:solidFill>
              <a:round/>
              <a:headEnd/>
              <a:tailEnd/>
            </a:ln>
            <a:effectLst>
              <a:prstShdw prst="shdw17" dist="17961" dir="2700000">
                <a:schemeClr val="bg1">
                  <a:gamma/>
                  <a:shade val="60000"/>
                  <a:invGamma/>
                </a:schemeClr>
              </a:prstShdw>
            </a:effectLst>
          </p:spPr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110105" name="Oval 89"/>
            <p:cNvSpPr>
              <a:spLocks noChangeArrowheads="1"/>
            </p:cNvSpPr>
            <p:nvPr>
              <p:custDataLst>
                <p:tags r:id="rId24"/>
              </p:custDataLst>
            </p:nvPr>
          </p:nvSpPr>
          <p:spPr bwMode="auto">
            <a:xfrm>
              <a:off x="1750" y="2491"/>
              <a:ext cx="38" cy="39"/>
            </a:xfrm>
            <a:prstGeom prst="ellipse">
              <a:avLst/>
            </a:prstGeom>
            <a:solidFill>
              <a:srgbClr val="808080"/>
            </a:solidFill>
            <a:ln w="9525">
              <a:solidFill>
                <a:schemeClr val="bg1"/>
              </a:solidFill>
              <a:round/>
              <a:headEnd/>
              <a:tailEnd/>
            </a:ln>
            <a:effectLst>
              <a:prstShdw prst="shdw17" dist="17961" dir="2700000">
                <a:schemeClr val="bg1">
                  <a:gamma/>
                  <a:shade val="60000"/>
                  <a:invGamma/>
                </a:schemeClr>
              </a:prstShdw>
            </a:effectLst>
          </p:spPr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110106" name="Oval 90"/>
            <p:cNvSpPr>
              <a:spLocks noChangeArrowheads="1"/>
            </p:cNvSpPr>
            <p:nvPr>
              <p:custDataLst>
                <p:tags r:id="rId25"/>
              </p:custDataLst>
            </p:nvPr>
          </p:nvSpPr>
          <p:spPr bwMode="auto">
            <a:xfrm>
              <a:off x="1873" y="2952"/>
              <a:ext cx="39" cy="40"/>
            </a:xfrm>
            <a:prstGeom prst="ellipse">
              <a:avLst/>
            </a:prstGeom>
            <a:solidFill>
              <a:srgbClr val="808080"/>
            </a:solidFill>
            <a:ln w="9525">
              <a:solidFill>
                <a:schemeClr val="bg1"/>
              </a:solidFill>
              <a:round/>
              <a:headEnd/>
              <a:tailEnd/>
            </a:ln>
            <a:effectLst>
              <a:prstShdw prst="shdw17" dist="17961" dir="2700000">
                <a:schemeClr val="bg1">
                  <a:gamma/>
                  <a:shade val="60000"/>
                  <a:invGamma/>
                </a:schemeClr>
              </a:prstShdw>
            </a:effectLst>
          </p:spPr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110107" name="Oval 91"/>
            <p:cNvSpPr>
              <a:spLocks noChangeArrowheads="1"/>
            </p:cNvSpPr>
            <p:nvPr>
              <p:custDataLst>
                <p:tags r:id="rId26"/>
              </p:custDataLst>
            </p:nvPr>
          </p:nvSpPr>
          <p:spPr bwMode="auto">
            <a:xfrm>
              <a:off x="2497" y="2854"/>
              <a:ext cx="40" cy="41"/>
            </a:xfrm>
            <a:prstGeom prst="ellipse">
              <a:avLst/>
            </a:prstGeom>
            <a:solidFill>
              <a:srgbClr val="808080"/>
            </a:solidFill>
            <a:ln w="9525">
              <a:solidFill>
                <a:schemeClr val="bg1"/>
              </a:solidFill>
              <a:round/>
              <a:headEnd/>
              <a:tailEnd/>
            </a:ln>
            <a:effectLst>
              <a:prstShdw prst="shdw17" dist="17961" dir="2700000">
                <a:schemeClr val="bg1">
                  <a:gamma/>
                  <a:shade val="60000"/>
                  <a:invGamma/>
                </a:schemeClr>
              </a:prstShdw>
            </a:effectLst>
          </p:spPr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83640" name="Text Box 92"/>
            <p:cNvSpPr txBox="1">
              <a:spLocks noChangeArrowheads="1"/>
            </p:cNvSpPr>
            <p:nvPr>
              <p:custDataLst>
                <p:tags r:id="rId27"/>
              </p:custDataLst>
            </p:nvPr>
          </p:nvSpPr>
          <p:spPr bwMode="auto">
            <a:xfrm>
              <a:off x="1508" y="2823"/>
              <a:ext cx="525" cy="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ctr"/>
              <a:r>
                <a:rPr lang="ru-RU" sz="700" i="1"/>
                <a:t>Иультинский район</a:t>
              </a:r>
            </a:p>
          </p:txBody>
        </p:sp>
        <p:sp>
          <p:nvSpPr>
            <p:cNvPr id="83641" name="Text Box 93"/>
            <p:cNvSpPr txBox="1">
              <a:spLocks noChangeArrowheads="1"/>
            </p:cNvSpPr>
            <p:nvPr>
              <p:custDataLst>
                <p:tags r:id="rId28"/>
              </p:custDataLst>
            </p:nvPr>
          </p:nvSpPr>
          <p:spPr bwMode="auto">
            <a:xfrm>
              <a:off x="1036" y="3062"/>
              <a:ext cx="489" cy="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ctr"/>
              <a:r>
                <a:rPr lang="ru-RU" sz="700" i="1"/>
                <a:t>Анадырский район</a:t>
              </a:r>
            </a:p>
          </p:txBody>
        </p:sp>
        <p:sp>
          <p:nvSpPr>
            <p:cNvPr id="83642" name="Text Box 95"/>
            <p:cNvSpPr txBox="1">
              <a:spLocks noChangeArrowheads="1"/>
            </p:cNvSpPr>
            <p:nvPr>
              <p:custDataLst>
                <p:tags r:id="rId29"/>
              </p:custDataLst>
            </p:nvPr>
          </p:nvSpPr>
          <p:spPr bwMode="auto">
            <a:xfrm>
              <a:off x="351" y="2861"/>
              <a:ext cx="511" cy="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ctr"/>
              <a:r>
                <a:rPr lang="ru-RU" sz="700" i="1"/>
                <a:t>Билибинский район</a:t>
              </a:r>
            </a:p>
          </p:txBody>
        </p:sp>
        <p:sp>
          <p:nvSpPr>
            <p:cNvPr id="83643" name="Text Box 96"/>
            <p:cNvSpPr txBox="1">
              <a:spLocks noChangeArrowheads="1"/>
            </p:cNvSpPr>
            <p:nvPr>
              <p:custDataLst>
                <p:tags r:id="rId30"/>
              </p:custDataLst>
            </p:nvPr>
          </p:nvSpPr>
          <p:spPr bwMode="auto">
            <a:xfrm rot="1258252">
              <a:off x="1911" y="2963"/>
              <a:ext cx="543" cy="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ctr"/>
              <a:r>
                <a:rPr lang="ru-RU" sz="700" i="1"/>
                <a:t>Провиденский район</a:t>
              </a:r>
            </a:p>
          </p:txBody>
        </p:sp>
        <p:sp>
          <p:nvSpPr>
            <p:cNvPr id="83644" name="Text Box 98"/>
            <p:cNvSpPr txBox="1">
              <a:spLocks noChangeArrowheads="1"/>
            </p:cNvSpPr>
            <p:nvPr>
              <p:custDataLst>
                <p:tags r:id="rId31"/>
              </p:custDataLst>
            </p:nvPr>
          </p:nvSpPr>
          <p:spPr bwMode="auto">
            <a:xfrm>
              <a:off x="876" y="3396"/>
              <a:ext cx="226" cy="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ctr"/>
              <a:r>
                <a:rPr lang="ru-RU" sz="700"/>
                <a:t>Марково</a:t>
              </a:r>
            </a:p>
          </p:txBody>
        </p:sp>
        <p:sp>
          <p:nvSpPr>
            <p:cNvPr id="83645" name="Text Box 99"/>
            <p:cNvSpPr txBox="1">
              <a:spLocks noChangeArrowheads="1"/>
            </p:cNvSpPr>
            <p:nvPr>
              <p:custDataLst>
                <p:tags r:id="rId32"/>
              </p:custDataLst>
            </p:nvPr>
          </p:nvSpPr>
          <p:spPr bwMode="auto">
            <a:xfrm>
              <a:off x="1658" y="3234"/>
              <a:ext cx="232" cy="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ctr"/>
              <a:r>
                <a:rPr lang="ru-RU" sz="700"/>
                <a:t>Анадырь</a:t>
              </a:r>
            </a:p>
          </p:txBody>
        </p:sp>
        <p:sp>
          <p:nvSpPr>
            <p:cNvPr id="83646" name="Text Box 100"/>
            <p:cNvSpPr txBox="1">
              <a:spLocks noChangeArrowheads="1"/>
            </p:cNvSpPr>
            <p:nvPr>
              <p:custDataLst>
                <p:tags r:id="rId33"/>
              </p:custDataLst>
            </p:nvPr>
          </p:nvSpPr>
          <p:spPr bwMode="auto">
            <a:xfrm>
              <a:off x="1922" y="3545"/>
              <a:ext cx="357" cy="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ctr"/>
              <a:r>
                <a:rPr lang="ru-RU" sz="700"/>
                <a:t>Беринговский</a:t>
              </a:r>
            </a:p>
          </p:txBody>
        </p:sp>
        <p:sp>
          <p:nvSpPr>
            <p:cNvPr id="83647" name="Text Box 101"/>
            <p:cNvSpPr txBox="1">
              <a:spLocks noChangeArrowheads="1"/>
            </p:cNvSpPr>
            <p:nvPr>
              <p:custDataLst>
                <p:tags r:id="rId34"/>
              </p:custDataLst>
            </p:nvPr>
          </p:nvSpPr>
          <p:spPr bwMode="auto">
            <a:xfrm>
              <a:off x="1722" y="3040"/>
              <a:ext cx="265" cy="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ctr"/>
              <a:r>
                <a:rPr lang="ru-RU" sz="700"/>
                <a:t>Эгвекинот</a:t>
              </a:r>
            </a:p>
          </p:txBody>
        </p:sp>
        <p:sp>
          <p:nvSpPr>
            <p:cNvPr id="83648" name="Text Box 102"/>
            <p:cNvSpPr txBox="1">
              <a:spLocks noChangeArrowheads="1"/>
            </p:cNvSpPr>
            <p:nvPr>
              <p:custDataLst>
                <p:tags r:id="rId35"/>
              </p:custDataLst>
            </p:nvPr>
          </p:nvSpPr>
          <p:spPr bwMode="auto">
            <a:xfrm>
              <a:off x="2118" y="3181"/>
              <a:ext cx="319" cy="67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ctr"/>
              <a:r>
                <a:rPr lang="ru-RU" sz="700"/>
                <a:t>Провидения</a:t>
              </a:r>
            </a:p>
          </p:txBody>
        </p:sp>
        <p:sp>
          <p:nvSpPr>
            <p:cNvPr id="83649" name="Text Box 103"/>
            <p:cNvSpPr txBox="1">
              <a:spLocks noChangeArrowheads="1"/>
            </p:cNvSpPr>
            <p:nvPr>
              <p:custDataLst>
                <p:tags r:id="rId36"/>
              </p:custDataLst>
            </p:nvPr>
          </p:nvSpPr>
          <p:spPr bwMode="auto">
            <a:xfrm>
              <a:off x="1673" y="2437"/>
              <a:ext cx="342" cy="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ctr"/>
              <a:r>
                <a:rPr lang="ru-RU" sz="700"/>
                <a:t>Мыс Шмидта</a:t>
              </a:r>
            </a:p>
          </p:txBody>
        </p:sp>
        <p:sp>
          <p:nvSpPr>
            <p:cNvPr id="83650" name="Text Box 104"/>
            <p:cNvSpPr txBox="1">
              <a:spLocks noChangeArrowheads="1"/>
            </p:cNvSpPr>
            <p:nvPr>
              <p:custDataLst>
                <p:tags r:id="rId37"/>
              </p:custDataLst>
            </p:nvPr>
          </p:nvSpPr>
          <p:spPr bwMode="auto">
            <a:xfrm>
              <a:off x="586" y="2670"/>
              <a:ext cx="257" cy="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ctr"/>
              <a:r>
                <a:rPr lang="ru-RU" sz="700"/>
                <a:t>Билибино</a:t>
              </a:r>
            </a:p>
          </p:txBody>
        </p:sp>
        <p:sp>
          <p:nvSpPr>
            <p:cNvPr id="83651" name="Text Box 105"/>
            <p:cNvSpPr txBox="1">
              <a:spLocks noChangeArrowheads="1"/>
            </p:cNvSpPr>
            <p:nvPr>
              <p:custDataLst>
                <p:tags r:id="rId38"/>
              </p:custDataLst>
            </p:nvPr>
          </p:nvSpPr>
          <p:spPr bwMode="auto">
            <a:xfrm>
              <a:off x="944" y="2480"/>
              <a:ext cx="157" cy="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ctr"/>
              <a:r>
                <a:rPr lang="ru-RU" sz="700"/>
                <a:t>Певек</a:t>
              </a:r>
            </a:p>
          </p:txBody>
        </p:sp>
        <p:sp>
          <p:nvSpPr>
            <p:cNvPr id="83652" name="Text Box 106"/>
            <p:cNvSpPr txBox="1">
              <a:spLocks noChangeArrowheads="1"/>
            </p:cNvSpPr>
            <p:nvPr>
              <p:custDataLst>
                <p:tags r:id="rId39"/>
              </p:custDataLst>
            </p:nvPr>
          </p:nvSpPr>
          <p:spPr bwMode="auto">
            <a:xfrm>
              <a:off x="2391" y="2888"/>
              <a:ext cx="278" cy="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ctr"/>
              <a:r>
                <a:rPr lang="ru-RU" sz="700"/>
                <a:t>Лаврентия</a:t>
              </a:r>
            </a:p>
          </p:txBody>
        </p:sp>
        <p:sp>
          <p:nvSpPr>
            <p:cNvPr id="83653" name="Text Box 107"/>
            <p:cNvSpPr txBox="1">
              <a:spLocks noChangeArrowheads="1"/>
            </p:cNvSpPr>
            <p:nvPr>
              <p:custDataLst>
                <p:tags r:id="rId40"/>
              </p:custDataLst>
            </p:nvPr>
          </p:nvSpPr>
          <p:spPr bwMode="auto">
            <a:xfrm>
              <a:off x="2245" y="2432"/>
              <a:ext cx="457" cy="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ctr"/>
              <a:r>
                <a:rPr lang="ru-RU" sz="700" i="1"/>
                <a:t>Чукотский район</a:t>
              </a:r>
            </a:p>
          </p:txBody>
        </p:sp>
        <p:sp>
          <p:nvSpPr>
            <p:cNvPr id="83654" name="Text Box 108"/>
            <p:cNvSpPr txBox="1">
              <a:spLocks noChangeArrowheads="1"/>
            </p:cNvSpPr>
            <p:nvPr/>
          </p:nvSpPr>
          <p:spPr bwMode="auto">
            <a:xfrm>
              <a:off x="405" y="2764"/>
              <a:ext cx="349" cy="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ctr"/>
              <a:r>
                <a:rPr lang="ru-RU" sz="700"/>
                <a:t>п. Кепервеем</a:t>
              </a:r>
            </a:p>
          </p:txBody>
        </p:sp>
        <p:sp>
          <p:nvSpPr>
            <p:cNvPr id="83655" name="Text Box 109"/>
            <p:cNvSpPr txBox="1">
              <a:spLocks noChangeArrowheads="1"/>
            </p:cNvSpPr>
            <p:nvPr/>
          </p:nvSpPr>
          <p:spPr bwMode="auto">
            <a:xfrm>
              <a:off x="565" y="3093"/>
              <a:ext cx="246" cy="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ctr"/>
              <a:r>
                <a:rPr lang="ru-RU" sz="700"/>
                <a:t>Песчанка</a:t>
              </a:r>
            </a:p>
          </p:txBody>
        </p:sp>
        <p:sp>
          <p:nvSpPr>
            <p:cNvPr id="83656" name="Text Box 110"/>
            <p:cNvSpPr txBox="1">
              <a:spLocks noChangeArrowheads="1"/>
            </p:cNvSpPr>
            <p:nvPr/>
          </p:nvSpPr>
          <p:spPr bwMode="auto">
            <a:xfrm>
              <a:off x="556" y="2918"/>
              <a:ext cx="317" cy="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algn="ctr"/>
              <a:r>
                <a:rPr lang="ru-RU" sz="700"/>
                <a:t>п. Илирней</a:t>
              </a:r>
            </a:p>
          </p:txBody>
        </p:sp>
        <p:sp>
          <p:nvSpPr>
            <p:cNvPr id="83657" name="Text Box 111"/>
            <p:cNvSpPr txBox="1">
              <a:spLocks noChangeArrowheads="1"/>
            </p:cNvSpPr>
            <p:nvPr/>
          </p:nvSpPr>
          <p:spPr bwMode="auto">
            <a:xfrm>
              <a:off x="971" y="2874"/>
              <a:ext cx="223" cy="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ctr"/>
              <a:r>
                <a:rPr lang="ru-RU" sz="700"/>
                <a:t>Двойное</a:t>
              </a:r>
            </a:p>
          </p:txBody>
        </p:sp>
        <p:sp>
          <p:nvSpPr>
            <p:cNvPr id="83658" name="Text Box 112"/>
            <p:cNvSpPr txBox="1">
              <a:spLocks noChangeArrowheads="1"/>
            </p:cNvSpPr>
            <p:nvPr/>
          </p:nvSpPr>
          <p:spPr bwMode="auto">
            <a:xfrm>
              <a:off x="900" y="2799"/>
              <a:ext cx="369" cy="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ctr"/>
              <a:r>
                <a:rPr lang="ru-RU" sz="700"/>
                <a:t>п. Улискерова</a:t>
              </a:r>
            </a:p>
          </p:txBody>
        </p:sp>
        <p:sp>
          <p:nvSpPr>
            <p:cNvPr id="83659" name="Text Box 113"/>
            <p:cNvSpPr txBox="1">
              <a:spLocks noChangeArrowheads="1"/>
            </p:cNvSpPr>
            <p:nvPr/>
          </p:nvSpPr>
          <p:spPr bwMode="auto">
            <a:xfrm>
              <a:off x="1078" y="2443"/>
              <a:ext cx="471" cy="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ctr"/>
              <a:r>
                <a:rPr lang="ru-RU" sz="700"/>
                <a:t>п. Комсомольский</a:t>
              </a:r>
            </a:p>
          </p:txBody>
        </p:sp>
        <p:sp>
          <p:nvSpPr>
            <p:cNvPr id="83660" name="Text Box 114"/>
            <p:cNvSpPr txBox="1">
              <a:spLocks noChangeArrowheads="1"/>
            </p:cNvSpPr>
            <p:nvPr/>
          </p:nvSpPr>
          <p:spPr bwMode="auto">
            <a:xfrm>
              <a:off x="1066" y="2366"/>
              <a:ext cx="1" cy="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ctr"/>
              <a:endParaRPr lang="en-US" sz="700"/>
            </a:p>
          </p:txBody>
        </p:sp>
        <p:sp>
          <p:nvSpPr>
            <p:cNvPr id="83661" name="Text Box 115"/>
            <p:cNvSpPr txBox="1">
              <a:spLocks noChangeArrowheads="1"/>
            </p:cNvSpPr>
            <p:nvPr/>
          </p:nvSpPr>
          <p:spPr bwMode="auto">
            <a:xfrm>
              <a:off x="898" y="2659"/>
              <a:ext cx="415" cy="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ctr"/>
              <a:r>
                <a:rPr lang="ru-RU" sz="700" i="1"/>
                <a:t>Чаунский район</a:t>
              </a:r>
            </a:p>
          </p:txBody>
        </p:sp>
        <p:sp>
          <p:nvSpPr>
            <p:cNvPr id="83662" name="Oval 116"/>
            <p:cNvSpPr>
              <a:spLocks noChangeArrowheads="1"/>
            </p:cNvSpPr>
            <p:nvPr>
              <p:custDataLst>
                <p:tags r:id="rId41"/>
              </p:custDataLst>
            </p:nvPr>
          </p:nvSpPr>
          <p:spPr bwMode="auto">
            <a:xfrm>
              <a:off x="720" y="3030"/>
              <a:ext cx="22" cy="24"/>
            </a:xfrm>
            <a:prstGeom prst="ellipse">
              <a:avLst/>
            </a:prstGeom>
            <a:solidFill>
              <a:srgbClr val="808080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3663" name="Text Box 117"/>
            <p:cNvSpPr txBox="1">
              <a:spLocks noChangeArrowheads="1"/>
            </p:cNvSpPr>
            <p:nvPr>
              <p:custDataLst>
                <p:tags r:id="rId42"/>
              </p:custDataLst>
            </p:nvPr>
          </p:nvSpPr>
          <p:spPr bwMode="auto">
            <a:xfrm>
              <a:off x="158" y="3268"/>
              <a:ext cx="225" cy="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ctr"/>
              <a:r>
                <a:rPr lang="ru-RU" sz="700"/>
                <a:t>Омолон </a:t>
              </a:r>
            </a:p>
          </p:txBody>
        </p:sp>
        <p:sp>
          <p:nvSpPr>
            <p:cNvPr id="83664" name="Text Box 118"/>
            <p:cNvSpPr txBox="1">
              <a:spLocks noChangeArrowheads="1"/>
            </p:cNvSpPr>
            <p:nvPr>
              <p:custDataLst>
                <p:tags r:id="rId43"/>
              </p:custDataLst>
            </p:nvPr>
          </p:nvSpPr>
          <p:spPr bwMode="auto">
            <a:xfrm>
              <a:off x="1423" y="2963"/>
              <a:ext cx="307" cy="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ctr"/>
              <a:r>
                <a:rPr lang="ru-RU" sz="700"/>
                <a:t>Валунистое</a:t>
              </a:r>
            </a:p>
          </p:txBody>
        </p:sp>
        <p:sp>
          <p:nvSpPr>
            <p:cNvPr id="83665" name="Freeform 119"/>
            <p:cNvSpPr>
              <a:spLocks/>
            </p:cNvSpPr>
            <p:nvPr>
              <p:custDataLst>
                <p:tags r:id="rId44"/>
              </p:custDataLst>
            </p:nvPr>
          </p:nvSpPr>
          <p:spPr bwMode="auto">
            <a:xfrm rot="-7875004">
              <a:off x="1482" y="3755"/>
              <a:ext cx="109" cy="114"/>
            </a:xfrm>
            <a:custGeom>
              <a:avLst/>
              <a:gdLst>
                <a:gd name="T0" fmla="*/ 0 w 394"/>
                <a:gd name="T1" fmla="*/ 0 h 307"/>
                <a:gd name="T2" fmla="*/ 0 w 394"/>
                <a:gd name="T3" fmla="*/ 0 h 307"/>
                <a:gd name="T4" fmla="*/ 0 w 394"/>
                <a:gd name="T5" fmla="*/ 0 h 307"/>
                <a:gd name="T6" fmla="*/ 0 w 394"/>
                <a:gd name="T7" fmla="*/ 0 h 307"/>
                <a:gd name="T8" fmla="*/ 0 w 394"/>
                <a:gd name="T9" fmla="*/ 0 h 307"/>
                <a:gd name="T10" fmla="*/ 0 w 394"/>
                <a:gd name="T11" fmla="*/ 0 h 307"/>
                <a:gd name="T12" fmla="*/ 0 w 394"/>
                <a:gd name="T13" fmla="*/ 0 h 307"/>
                <a:gd name="T14" fmla="*/ 0 w 394"/>
                <a:gd name="T15" fmla="*/ 0 h 307"/>
                <a:gd name="T16" fmla="*/ 0 w 394"/>
                <a:gd name="T17" fmla="*/ 0 h 307"/>
                <a:gd name="T18" fmla="*/ 0 w 394"/>
                <a:gd name="T19" fmla="*/ 0 h 307"/>
                <a:gd name="T20" fmla="*/ 0 w 394"/>
                <a:gd name="T21" fmla="*/ 0 h 307"/>
                <a:gd name="T22" fmla="*/ 0 w 394"/>
                <a:gd name="T23" fmla="*/ 0 h 307"/>
                <a:gd name="T24" fmla="*/ 0 w 394"/>
                <a:gd name="T25" fmla="*/ 0 h 307"/>
                <a:gd name="T26" fmla="*/ 0 w 394"/>
                <a:gd name="T27" fmla="*/ 0 h 307"/>
                <a:gd name="T28" fmla="*/ 0 w 394"/>
                <a:gd name="T29" fmla="*/ 0 h 307"/>
                <a:gd name="T30" fmla="*/ 0 w 394"/>
                <a:gd name="T31" fmla="*/ 0 h 307"/>
                <a:gd name="T32" fmla="*/ 0 w 394"/>
                <a:gd name="T33" fmla="*/ 0 h 307"/>
                <a:gd name="T34" fmla="*/ 0 w 394"/>
                <a:gd name="T35" fmla="*/ 0 h 307"/>
                <a:gd name="T36" fmla="*/ 0 w 394"/>
                <a:gd name="T37" fmla="*/ 0 h 307"/>
                <a:gd name="T38" fmla="*/ 0 w 394"/>
                <a:gd name="T39" fmla="*/ 0 h 307"/>
                <a:gd name="T40" fmla="*/ 0 w 394"/>
                <a:gd name="T41" fmla="*/ 0 h 307"/>
                <a:gd name="T42" fmla="*/ 0 w 394"/>
                <a:gd name="T43" fmla="*/ 0 h 307"/>
                <a:gd name="T44" fmla="*/ 0 w 394"/>
                <a:gd name="T45" fmla="*/ 0 h 307"/>
                <a:gd name="T46" fmla="*/ 0 w 394"/>
                <a:gd name="T47" fmla="*/ 0 h 307"/>
                <a:gd name="T48" fmla="*/ 0 w 394"/>
                <a:gd name="T49" fmla="*/ 0 h 307"/>
                <a:gd name="T50" fmla="*/ 0 w 394"/>
                <a:gd name="T51" fmla="*/ 0 h 307"/>
                <a:gd name="T52" fmla="*/ 0 w 394"/>
                <a:gd name="T53" fmla="*/ 0 h 307"/>
                <a:gd name="T54" fmla="*/ 0 w 394"/>
                <a:gd name="T55" fmla="*/ 0 h 307"/>
                <a:gd name="T56" fmla="*/ 0 w 394"/>
                <a:gd name="T57" fmla="*/ 0 h 307"/>
                <a:gd name="T58" fmla="*/ 0 w 394"/>
                <a:gd name="T59" fmla="*/ 0 h 307"/>
                <a:gd name="T60" fmla="*/ 0 w 394"/>
                <a:gd name="T61" fmla="*/ 0 h 307"/>
                <a:gd name="T62" fmla="*/ 0 w 394"/>
                <a:gd name="T63" fmla="*/ 0 h 307"/>
                <a:gd name="T64" fmla="*/ 0 w 394"/>
                <a:gd name="T65" fmla="*/ 0 h 307"/>
                <a:gd name="T66" fmla="*/ 0 w 394"/>
                <a:gd name="T67" fmla="*/ 0 h 307"/>
                <a:gd name="T68" fmla="*/ 0 w 394"/>
                <a:gd name="T69" fmla="*/ 0 h 307"/>
                <a:gd name="T70" fmla="*/ 0 w 394"/>
                <a:gd name="T71" fmla="*/ 0 h 307"/>
                <a:gd name="T72" fmla="*/ 0 w 394"/>
                <a:gd name="T73" fmla="*/ 0 h 307"/>
                <a:gd name="T74" fmla="*/ 0 w 394"/>
                <a:gd name="T75" fmla="*/ 0 h 307"/>
                <a:gd name="T76" fmla="*/ 0 w 394"/>
                <a:gd name="T77" fmla="*/ 0 h 307"/>
                <a:gd name="T78" fmla="*/ 0 w 394"/>
                <a:gd name="T79" fmla="*/ 0 h 307"/>
                <a:gd name="T80" fmla="*/ 0 w 394"/>
                <a:gd name="T81" fmla="*/ 0 h 307"/>
                <a:gd name="T82" fmla="*/ 0 w 394"/>
                <a:gd name="T83" fmla="*/ 0 h 307"/>
                <a:gd name="T84" fmla="*/ 0 w 394"/>
                <a:gd name="T85" fmla="*/ 0 h 307"/>
                <a:gd name="T86" fmla="*/ 0 w 394"/>
                <a:gd name="T87" fmla="*/ 0 h 307"/>
                <a:gd name="T88" fmla="*/ 0 w 394"/>
                <a:gd name="T89" fmla="*/ 0 h 307"/>
                <a:gd name="T90" fmla="*/ 0 w 394"/>
                <a:gd name="T91" fmla="*/ 0 h 307"/>
                <a:gd name="T92" fmla="*/ 0 w 394"/>
                <a:gd name="T93" fmla="*/ 0 h 307"/>
                <a:gd name="T94" fmla="*/ 0 w 394"/>
                <a:gd name="T95" fmla="*/ 0 h 307"/>
                <a:gd name="T96" fmla="*/ 0 w 394"/>
                <a:gd name="T97" fmla="*/ 0 h 307"/>
                <a:gd name="T98" fmla="*/ 0 w 394"/>
                <a:gd name="T99" fmla="*/ 0 h 307"/>
                <a:gd name="T100" fmla="*/ 0 w 394"/>
                <a:gd name="T101" fmla="*/ 0 h 307"/>
                <a:gd name="T102" fmla="*/ 0 w 394"/>
                <a:gd name="T103" fmla="*/ 0 h 307"/>
                <a:gd name="T104" fmla="*/ 0 w 394"/>
                <a:gd name="T105" fmla="*/ 0 h 307"/>
                <a:gd name="T106" fmla="*/ 0 w 394"/>
                <a:gd name="T107" fmla="*/ 0 h 307"/>
                <a:gd name="T108" fmla="*/ 0 w 394"/>
                <a:gd name="T109" fmla="*/ 0 h 307"/>
                <a:gd name="T110" fmla="*/ 0 w 394"/>
                <a:gd name="T111" fmla="*/ 0 h 307"/>
                <a:gd name="T112" fmla="*/ 0 w 394"/>
                <a:gd name="T113" fmla="*/ 0 h 307"/>
                <a:gd name="T114" fmla="*/ 0 w 394"/>
                <a:gd name="T115" fmla="*/ 0 h 307"/>
                <a:gd name="T116" fmla="*/ 0 w 394"/>
                <a:gd name="T117" fmla="*/ 0 h 307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394"/>
                <a:gd name="T178" fmla="*/ 0 h 307"/>
                <a:gd name="T179" fmla="*/ 394 w 394"/>
                <a:gd name="T180" fmla="*/ 307 h 307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394" h="307">
                  <a:moveTo>
                    <a:pt x="118" y="43"/>
                  </a:moveTo>
                  <a:lnTo>
                    <a:pt x="120" y="37"/>
                  </a:lnTo>
                  <a:lnTo>
                    <a:pt x="121" y="34"/>
                  </a:lnTo>
                  <a:lnTo>
                    <a:pt x="125" y="31"/>
                  </a:lnTo>
                  <a:lnTo>
                    <a:pt x="130" y="27"/>
                  </a:lnTo>
                  <a:lnTo>
                    <a:pt x="140" y="26"/>
                  </a:lnTo>
                  <a:lnTo>
                    <a:pt x="152" y="24"/>
                  </a:lnTo>
                  <a:lnTo>
                    <a:pt x="165" y="22"/>
                  </a:lnTo>
                  <a:lnTo>
                    <a:pt x="179" y="21"/>
                  </a:lnTo>
                  <a:lnTo>
                    <a:pt x="189" y="19"/>
                  </a:lnTo>
                  <a:lnTo>
                    <a:pt x="195" y="14"/>
                  </a:lnTo>
                  <a:lnTo>
                    <a:pt x="179" y="12"/>
                  </a:lnTo>
                  <a:lnTo>
                    <a:pt x="162" y="11"/>
                  </a:lnTo>
                  <a:lnTo>
                    <a:pt x="160" y="9"/>
                  </a:lnTo>
                  <a:lnTo>
                    <a:pt x="160" y="7"/>
                  </a:lnTo>
                  <a:lnTo>
                    <a:pt x="163" y="5"/>
                  </a:lnTo>
                  <a:lnTo>
                    <a:pt x="167" y="5"/>
                  </a:lnTo>
                  <a:lnTo>
                    <a:pt x="184" y="4"/>
                  </a:lnTo>
                  <a:lnTo>
                    <a:pt x="209" y="2"/>
                  </a:lnTo>
                  <a:lnTo>
                    <a:pt x="233" y="0"/>
                  </a:lnTo>
                  <a:lnTo>
                    <a:pt x="256" y="2"/>
                  </a:lnTo>
                  <a:lnTo>
                    <a:pt x="268" y="4"/>
                  </a:lnTo>
                  <a:lnTo>
                    <a:pt x="280" y="5"/>
                  </a:lnTo>
                  <a:lnTo>
                    <a:pt x="291" y="11"/>
                  </a:lnTo>
                  <a:lnTo>
                    <a:pt x="303" y="14"/>
                  </a:lnTo>
                  <a:lnTo>
                    <a:pt x="308" y="16"/>
                  </a:lnTo>
                  <a:lnTo>
                    <a:pt x="315" y="19"/>
                  </a:lnTo>
                  <a:lnTo>
                    <a:pt x="322" y="24"/>
                  </a:lnTo>
                  <a:lnTo>
                    <a:pt x="327" y="29"/>
                  </a:lnTo>
                  <a:lnTo>
                    <a:pt x="339" y="41"/>
                  </a:lnTo>
                  <a:lnTo>
                    <a:pt x="352" y="59"/>
                  </a:lnTo>
                  <a:lnTo>
                    <a:pt x="360" y="66"/>
                  </a:lnTo>
                  <a:lnTo>
                    <a:pt x="369" y="71"/>
                  </a:lnTo>
                  <a:lnTo>
                    <a:pt x="372" y="71"/>
                  </a:lnTo>
                  <a:lnTo>
                    <a:pt x="376" y="71"/>
                  </a:lnTo>
                  <a:lnTo>
                    <a:pt x="381" y="69"/>
                  </a:lnTo>
                  <a:lnTo>
                    <a:pt x="384" y="68"/>
                  </a:lnTo>
                  <a:lnTo>
                    <a:pt x="389" y="76"/>
                  </a:lnTo>
                  <a:lnTo>
                    <a:pt x="392" y="85"/>
                  </a:lnTo>
                  <a:lnTo>
                    <a:pt x="394" y="95"/>
                  </a:lnTo>
                  <a:lnTo>
                    <a:pt x="394" y="103"/>
                  </a:lnTo>
                  <a:lnTo>
                    <a:pt x="392" y="112"/>
                  </a:lnTo>
                  <a:lnTo>
                    <a:pt x="387" y="122"/>
                  </a:lnTo>
                  <a:lnTo>
                    <a:pt x="379" y="130"/>
                  </a:lnTo>
                  <a:lnTo>
                    <a:pt x="369" y="139"/>
                  </a:lnTo>
                  <a:lnTo>
                    <a:pt x="365" y="147"/>
                  </a:lnTo>
                  <a:lnTo>
                    <a:pt x="359" y="154"/>
                  </a:lnTo>
                  <a:lnTo>
                    <a:pt x="349" y="160"/>
                  </a:lnTo>
                  <a:lnTo>
                    <a:pt x="334" y="164"/>
                  </a:lnTo>
                  <a:lnTo>
                    <a:pt x="327" y="174"/>
                  </a:lnTo>
                  <a:lnTo>
                    <a:pt x="317" y="181"/>
                  </a:lnTo>
                  <a:lnTo>
                    <a:pt x="312" y="182"/>
                  </a:lnTo>
                  <a:lnTo>
                    <a:pt x="307" y="184"/>
                  </a:lnTo>
                  <a:lnTo>
                    <a:pt x="302" y="184"/>
                  </a:lnTo>
                  <a:lnTo>
                    <a:pt x="295" y="184"/>
                  </a:lnTo>
                  <a:lnTo>
                    <a:pt x="278" y="192"/>
                  </a:lnTo>
                  <a:lnTo>
                    <a:pt x="263" y="203"/>
                  </a:lnTo>
                  <a:lnTo>
                    <a:pt x="249" y="214"/>
                  </a:lnTo>
                  <a:lnTo>
                    <a:pt x="236" y="226"/>
                  </a:lnTo>
                  <a:lnTo>
                    <a:pt x="217" y="236"/>
                  </a:lnTo>
                  <a:lnTo>
                    <a:pt x="202" y="243"/>
                  </a:lnTo>
                  <a:lnTo>
                    <a:pt x="197" y="243"/>
                  </a:lnTo>
                  <a:lnTo>
                    <a:pt x="194" y="243"/>
                  </a:lnTo>
                  <a:lnTo>
                    <a:pt x="192" y="238"/>
                  </a:lnTo>
                  <a:lnTo>
                    <a:pt x="195" y="231"/>
                  </a:lnTo>
                  <a:lnTo>
                    <a:pt x="190" y="228"/>
                  </a:lnTo>
                  <a:lnTo>
                    <a:pt x="179" y="224"/>
                  </a:lnTo>
                  <a:lnTo>
                    <a:pt x="162" y="221"/>
                  </a:lnTo>
                  <a:lnTo>
                    <a:pt x="143" y="218"/>
                  </a:lnTo>
                  <a:lnTo>
                    <a:pt x="128" y="238"/>
                  </a:lnTo>
                  <a:lnTo>
                    <a:pt x="115" y="256"/>
                  </a:lnTo>
                  <a:lnTo>
                    <a:pt x="108" y="265"/>
                  </a:lnTo>
                  <a:lnTo>
                    <a:pt x="101" y="268"/>
                  </a:lnTo>
                  <a:lnTo>
                    <a:pt x="98" y="270"/>
                  </a:lnTo>
                  <a:lnTo>
                    <a:pt x="94" y="270"/>
                  </a:lnTo>
                  <a:lnTo>
                    <a:pt x="93" y="268"/>
                  </a:lnTo>
                  <a:lnTo>
                    <a:pt x="89" y="266"/>
                  </a:lnTo>
                  <a:lnTo>
                    <a:pt x="81" y="266"/>
                  </a:lnTo>
                  <a:lnTo>
                    <a:pt x="73" y="268"/>
                  </a:lnTo>
                  <a:lnTo>
                    <a:pt x="66" y="272"/>
                  </a:lnTo>
                  <a:lnTo>
                    <a:pt x="59" y="278"/>
                  </a:lnTo>
                  <a:lnTo>
                    <a:pt x="47" y="293"/>
                  </a:lnTo>
                  <a:lnTo>
                    <a:pt x="36" y="307"/>
                  </a:lnTo>
                  <a:lnTo>
                    <a:pt x="34" y="295"/>
                  </a:lnTo>
                  <a:lnTo>
                    <a:pt x="32" y="283"/>
                  </a:lnTo>
                  <a:lnTo>
                    <a:pt x="22" y="273"/>
                  </a:lnTo>
                  <a:lnTo>
                    <a:pt x="14" y="261"/>
                  </a:lnTo>
                  <a:lnTo>
                    <a:pt x="7" y="250"/>
                  </a:lnTo>
                  <a:lnTo>
                    <a:pt x="2" y="238"/>
                  </a:lnTo>
                  <a:lnTo>
                    <a:pt x="0" y="228"/>
                  </a:lnTo>
                  <a:lnTo>
                    <a:pt x="0" y="216"/>
                  </a:lnTo>
                  <a:lnTo>
                    <a:pt x="2" y="206"/>
                  </a:lnTo>
                  <a:lnTo>
                    <a:pt x="9" y="194"/>
                  </a:lnTo>
                  <a:lnTo>
                    <a:pt x="10" y="184"/>
                  </a:lnTo>
                  <a:lnTo>
                    <a:pt x="12" y="174"/>
                  </a:lnTo>
                  <a:lnTo>
                    <a:pt x="15" y="167"/>
                  </a:lnTo>
                  <a:lnTo>
                    <a:pt x="19" y="164"/>
                  </a:lnTo>
                  <a:lnTo>
                    <a:pt x="24" y="159"/>
                  </a:lnTo>
                  <a:lnTo>
                    <a:pt x="31" y="155"/>
                  </a:lnTo>
                  <a:lnTo>
                    <a:pt x="39" y="149"/>
                  </a:lnTo>
                  <a:lnTo>
                    <a:pt x="46" y="139"/>
                  </a:lnTo>
                  <a:lnTo>
                    <a:pt x="51" y="127"/>
                  </a:lnTo>
                  <a:lnTo>
                    <a:pt x="56" y="115"/>
                  </a:lnTo>
                  <a:lnTo>
                    <a:pt x="59" y="101"/>
                  </a:lnTo>
                  <a:lnTo>
                    <a:pt x="64" y="91"/>
                  </a:lnTo>
                  <a:lnTo>
                    <a:pt x="69" y="83"/>
                  </a:lnTo>
                  <a:lnTo>
                    <a:pt x="78" y="78"/>
                  </a:lnTo>
                  <a:lnTo>
                    <a:pt x="83" y="78"/>
                  </a:lnTo>
                  <a:lnTo>
                    <a:pt x="84" y="78"/>
                  </a:lnTo>
                  <a:lnTo>
                    <a:pt x="88" y="78"/>
                  </a:lnTo>
                  <a:lnTo>
                    <a:pt x="89" y="76"/>
                  </a:lnTo>
                  <a:lnTo>
                    <a:pt x="91" y="69"/>
                  </a:lnTo>
                  <a:lnTo>
                    <a:pt x="91" y="63"/>
                  </a:lnTo>
                  <a:lnTo>
                    <a:pt x="93" y="56"/>
                  </a:lnTo>
                  <a:lnTo>
                    <a:pt x="98" y="49"/>
                  </a:lnTo>
                  <a:lnTo>
                    <a:pt x="101" y="46"/>
                  </a:lnTo>
                  <a:lnTo>
                    <a:pt x="105" y="44"/>
                  </a:lnTo>
                  <a:lnTo>
                    <a:pt x="111" y="43"/>
                  </a:lnTo>
                  <a:lnTo>
                    <a:pt x="118" y="43"/>
                  </a:lnTo>
                </a:path>
              </a:pathLst>
            </a:custGeom>
            <a:pattFill prst="wdUpDiag">
              <a:fgClr>
                <a:srgbClr val="CCCCFF"/>
              </a:fgClr>
              <a:bgClr>
                <a:srgbClr val="FFFFFF"/>
              </a:bgClr>
            </a:pattFill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</p:grpSp>
      <p:graphicFrame>
        <p:nvGraphicFramePr>
          <p:cNvPr id="83577" name="Object 633"/>
          <p:cNvGraphicFramePr>
            <a:graphicFrameLocks/>
          </p:cNvGraphicFramePr>
          <p:nvPr>
            <p:custDataLst>
              <p:tags r:id="rId4"/>
            </p:custDataLst>
          </p:nvPr>
        </p:nvGraphicFramePr>
        <p:xfrm>
          <a:off x="5105400" y="1866900"/>
          <a:ext cx="4000500" cy="2333625"/>
        </p:xfrm>
        <a:graphic>
          <a:graphicData uri="http://schemas.openxmlformats.org/presentationml/2006/ole">
            <p:oleObj spid="_x0000_s83577" name="Диаграмма" r:id="rId47" imgW="4000524" imgH="2333576" progId="MSGraph.Chart.8">
              <p:embed followColorScheme="full"/>
            </p:oleObj>
          </a:graphicData>
        </a:graphic>
      </p:graphicFrame>
      <p:sp>
        <p:nvSpPr>
          <p:cNvPr id="83593" name="Text Placeholder 4"/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5297488" y="1843088"/>
            <a:ext cx="511175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/>
          <a:lstStyle/>
          <a:p>
            <a:pPr algn="ctr" eaLnBrk="0" hangingPunct="0">
              <a:buClr>
                <a:schemeClr val="hlink"/>
              </a:buClr>
              <a:buFont typeface="Arial" charset="0"/>
              <a:buNone/>
            </a:pPr>
            <a:r>
              <a:rPr lang="ru-RU" sz="800">
                <a:sym typeface="+mn-lt"/>
              </a:rPr>
              <a:t>Млрд. руб.</a:t>
            </a:r>
            <a:endParaRPr lang="en-US" sz="800">
              <a:sym typeface="+mn-lt"/>
            </a:endParaRPr>
          </a:p>
        </p:txBody>
      </p:sp>
      <p:cxnSp>
        <p:nvCxnSpPr>
          <p:cNvPr id="7" name="Straight Connector 6"/>
          <p:cNvCxnSpPr/>
          <p:nvPr>
            <p:custDataLst>
              <p:tags r:id="rId6"/>
            </p:custDataLst>
          </p:nvPr>
        </p:nvCxnSpPr>
        <p:spPr bwMode="gray">
          <a:xfrm>
            <a:off x="5343525" y="4367213"/>
            <a:ext cx="219075" cy="0"/>
          </a:xfrm>
          <a:prstGeom prst="line">
            <a:avLst/>
          </a:prstGeom>
          <a:ln w="19050">
            <a:solidFill>
              <a:srgbClr val="4C9BDC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>
            <p:custDataLst>
              <p:tags r:id="rId7"/>
            </p:custDataLst>
          </p:nvPr>
        </p:nvCxnSpPr>
        <p:spPr bwMode="gray">
          <a:xfrm>
            <a:off x="5343525" y="4194175"/>
            <a:ext cx="219075" cy="0"/>
          </a:xfrm>
          <a:prstGeom prst="line">
            <a:avLst/>
          </a:prstGeom>
          <a:ln w="19050">
            <a:solidFill>
              <a:srgbClr val="443A7C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596" name="Text Placeholder 6"/>
          <p:cNvSpPr txBox="1">
            <a:spLocks/>
          </p:cNvSpPr>
          <p:nvPr>
            <p:custDataLst>
              <p:tags r:id="rId8"/>
            </p:custDataLst>
          </p:nvPr>
        </p:nvSpPr>
        <p:spPr bwMode="auto">
          <a:xfrm>
            <a:off x="5613400" y="4311650"/>
            <a:ext cx="2327275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eaLnBrk="0" hangingPunct="0">
              <a:buClr>
                <a:schemeClr val="hlink"/>
              </a:buClr>
              <a:buFont typeface="Arial" charset="0"/>
              <a:buNone/>
            </a:pPr>
            <a:fld id="{8EB0DB48-A207-48FF-8144-E1CEA39E2D8E}" type="datetime'Выру''чка ''до''''бывающих и'' ''т''р''адиционных отрасл''ей'">
              <a:rPr lang="en-US" sz="800"/>
              <a:pPr eaLnBrk="0" hangingPunct="0">
                <a:buClr>
                  <a:schemeClr val="hlink"/>
                </a:buClr>
                <a:buFont typeface="Arial" charset="0"/>
                <a:buNone/>
              </a:pPr>
              <a:t>Выручка добывающих и традиционных отраслей</a:t>
            </a:fld>
            <a:endParaRPr lang="en-US" sz="800">
              <a:sym typeface="+mn-lt"/>
            </a:endParaRPr>
          </a:p>
        </p:txBody>
      </p:sp>
      <p:sp>
        <p:nvSpPr>
          <p:cNvPr id="83597" name="Text Placeholder 5"/>
          <p:cNvSpPr txBox="1">
            <a:spLocks/>
          </p:cNvSpPr>
          <p:nvPr>
            <p:custDataLst>
              <p:tags r:id="rId9"/>
            </p:custDataLst>
          </p:nvPr>
        </p:nvSpPr>
        <p:spPr bwMode="auto">
          <a:xfrm>
            <a:off x="5613400" y="4138613"/>
            <a:ext cx="1584325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eaLnBrk="0" hangingPunct="0">
              <a:spcBef>
                <a:spcPct val="20000"/>
              </a:spcBef>
              <a:buClr>
                <a:schemeClr val="hlink"/>
              </a:buClr>
              <a:buFont typeface="Arial" charset="0"/>
              <a:buNone/>
            </a:pPr>
            <a:fld id="{281976A1-DC0C-4B2D-B7FE-5D3D0D00CBF3}" type="datetime'Совокупная выр''у''''''''''''чк''''''а в эконо''м''ик''''''е'">
              <a:rPr lang="en-US" sz="800"/>
              <a:pPr eaLnBrk="0" hangingPunct="0">
                <a:spcBef>
                  <a:spcPct val="20000"/>
                </a:spcBef>
                <a:buClr>
                  <a:schemeClr val="hlink"/>
                </a:buClr>
                <a:buFont typeface="Arial" charset="0"/>
                <a:buNone/>
              </a:pPr>
              <a:t>Совокупная выручка в экономике</a:t>
            </a:fld>
            <a:endParaRPr lang="en-US" sz="800">
              <a:sym typeface="+mn-lt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6367463" y="2005013"/>
            <a:ext cx="273050" cy="2033587"/>
          </a:xfrm>
          <a:prstGeom prst="rect">
            <a:avLst/>
          </a:prstGeom>
          <a:solidFill>
            <a:schemeClr val="accent2">
              <a:lumMod val="75000"/>
              <a:alpha val="15000"/>
            </a:schemeClr>
          </a:solidFill>
          <a:ln w="1587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297" name="Rectangle 296"/>
          <p:cNvSpPr/>
          <p:nvPr/>
        </p:nvSpPr>
        <p:spPr>
          <a:xfrm>
            <a:off x="7618413" y="2008188"/>
            <a:ext cx="274637" cy="2033587"/>
          </a:xfrm>
          <a:prstGeom prst="rect">
            <a:avLst/>
          </a:prstGeom>
          <a:solidFill>
            <a:schemeClr val="accent2">
              <a:lumMod val="75000"/>
              <a:alpha val="15000"/>
            </a:schemeClr>
          </a:solidFill>
          <a:ln w="1587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9" name="Oval 8"/>
          <p:cNvSpPr/>
          <p:nvPr/>
        </p:nvSpPr>
        <p:spPr>
          <a:xfrm>
            <a:off x="5481638" y="3562350"/>
            <a:ext cx="411162" cy="184150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tIns="18288" rIns="18288" bIns="18288" anchor="ctr"/>
          <a:lstStyle/>
          <a:p>
            <a:pPr algn="ctr">
              <a:defRPr/>
            </a:pPr>
            <a:r>
              <a:rPr lang="ru-RU" sz="1000" b="1" dirty="0"/>
              <a:t>37</a:t>
            </a:r>
            <a:endParaRPr lang="en-US" sz="1000" b="1" dirty="0"/>
          </a:p>
        </p:txBody>
      </p:sp>
      <p:sp>
        <p:nvSpPr>
          <p:cNvPr id="299" name="Oval 298"/>
          <p:cNvSpPr/>
          <p:nvPr/>
        </p:nvSpPr>
        <p:spPr>
          <a:xfrm>
            <a:off x="6342063" y="3409950"/>
            <a:ext cx="411162" cy="182563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tIns="18288" rIns="18288" bIns="18288" anchor="ctr"/>
          <a:lstStyle/>
          <a:p>
            <a:pPr algn="ctr">
              <a:defRPr/>
            </a:pPr>
            <a:r>
              <a:rPr lang="ru-RU" sz="1000" b="1" dirty="0"/>
              <a:t>71</a:t>
            </a:r>
            <a:endParaRPr lang="en-US" sz="1000" b="1" dirty="0"/>
          </a:p>
        </p:txBody>
      </p:sp>
      <p:sp>
        <p:nvSpPr>
          <p:cNvPr id="300" name="Oval 299"/>
          <p:cNvSpPr/>
          <p:nvPr/>
        </p:nvSpPr>
        <p:spPr>
          <a:xfrm>
            <a:off x="7570788" y="3151188"/>
            <a:ext cx="412750" cy="182562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tIns="18288" rIns="18288" bIns="18288" anchor="ctr"/>
          <a:lstStyle/>
          <a:p>
            <a:pPr algn="ctr">
              <a:defRPr/>
            </a:pPr>
            <a:r>
              <a:rPr lang="ru-RU" sz="1000" b="1" dirty="0"/>
              <a:t>137</a:t>
            </a:r>
            <a:endParaRPr lang="en-US" sz="1000" b="1" dirty="0"/>
          </a:p>
        </p:txBody>
      </p:sp>
      <p:sp>
        <p:nvSpPr>
          <p:cNvPr id="301" name="Oval 300"/>
          <p:cNvSpPr/>
          <p:nvPr/>
        </p:nvSpPr>
        <p:spPr>
          <a:xfrm>
            <a:off x="5451475" y="3378200"/>
            <a:ext cx="411163" cy="182563"/>
          </a:xfrm>
          <a:prstGeom prst="ellipse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tIns="18288" rIns="18288" bIns="18288" anchor="ctr"/>
          <a:lstStyle/>
          <a:p>
            <a:pPr algn="ctr">
              <a:defRPr/>
            </a:pPr>
            <a:r>
              <a:rPr lang="ru-RU" sz="1000" b="1" dirty="0"/>
              <a:t>86</a:t>
            </a:r>
            <a:endParaRPr lang="en-US" sz="1000" b="1" dirty="0"/>
          </a:p>
        </p:txBody>
      </p:sp>
      <p:sp>
        <p:nvSpPr>
          <p:cNvPr id="302" name="Oval 301"/>
          <p:cNvSpPr/>
          <p:nvPr/>
        </p:nvSpPr>
        <p:spPr>
          <a:xfrm>
            <a:off x="6342063" y="3111500"/>
            <a:ext cx="411162" cy="184150"/>
          </a:xfrm>
          <a:prstGeom prst="ellipse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tIns="18288" rIns="18288" bIns="18288" anchor="ctr"/>
          <a:lstStyle/>
          <a:p>
            <a:pPr algn="ctr">
              <a:defRPr/>
            </a:pPr>
            <a:r>
              <a:rPr lang="ru-RU" sz="1000" b="1" dirty="0"/>
              <a:t>162</a:t>
            </a:r>
            <a:endParaRPr lang="en-US" sz="1000" b="1" dirty="0"/>
          </a:p>
        </p:txBody>
      </p:sp>
      <p:sp>
        <p:nvSpPr>
          <p:cNvPr id="303" name="Oval 302"/>
          <p:cNvSpPr/>
          <p:nvPr/>
        </p:nvSpPr>
        <p:spPr>
          <a:xfrm>
            <a:off x="7562850" y="2697163"/>
            <a:ext cx="411163" cy="182562"/>
          </a:xfrm>
          <a:prstGeom prst="ellipse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tIns="18288" rIns="18288" bIns="18288" anchor="ctr"/>
          <a:lstStyle/>
          <a:p>
            <a:pPr algn="ctr">
              <a:defRPr/>
            </a:pPr>
            <a:r>
              <a:rPr lang="ru-RU" sz="1000" b="1" dirty="0"/>
              <a:t>254</a:t>
            </a:r>
            <a:endParaRPr lang="en-US" sz="1000" b="1" dirty="0"/>
          </a:p>
        </p:txBody>
      </p:sp>
      <p:sp>
        <p:nvSpPr>
          <p:cNvPr id="83606" name="TextBox 9"/>
          <p:cNvSpPr txBox="1">
            <a:spLocks noChangeArrowheads="1"/>
          </p:cNvSpPr>
          <p:nvPr/>
        </p:nvSpPr>
        <p:spPr bwMode="auto">
          <a:xfrm>
            <a:off x="6342063" y="2008188"/>
            <a:ext cx="338137" cy="277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200" b="1"/>
              <a:t>(I)</a:t>
            </a:r>
          </a:p>
        </p:txBody>
      </p:sp>
      <p:sp>
        <p:nvSpPr>
          <p:cNvPr id="83607" name="TextBox 304"/>
          <p:cNvSpPr txBox="1">
            <a:spLocks noChangeArrowheads="1"/>
          </p:cNvSpPr>
          <p:nvPr/>
        </p:nvSpPr>
        <p:spPr bwMode="auto">
          <a:xfrm>
            <a:off x="7600950" y="2014538"/>
            <a:ext cx="382588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200" b="1"/>
              <a:t>(II)</a:t>
            </a:r>
          </a:p>
        </p:txBody>
      </p:sp>
      <p:sp>
        <p:nvSpPr>
          <p:cNvPr id="83608" name="Rectangle 2"/>
          <p:cNvSpPr txBox="1">
            <a:spLocks noChangeArrowheads="1"/>
          </p:cNvSpPr>
          <p:nvPr/>
        </p:nvSpPr>
        <p:spPr bwMode="auto">
          <a:xfrm>
            <a:off x="396875" y="260350"/>
            <a:ext cx="8407400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17" tIns="45709" rIns="91417" bIns="45709" anchor="ctr"/>
          <a:lstStyle/>
          <a:p>
            <a:pPr>
              <a:lnSpc>
                <a:spcPct val="90000"/>
              </a:lnSpc>
            </a:pPr>
            <a:r>
              <a:rPr lang="ru-RU" sz="2000">
                <a:solidFill>
                  <a:srgbClr val="000000"/>
                </a:solidFill>
              </a:rPr>
              <a:t>Дальнейшее развитие экономики округа связано с освоением Беринговского угольного бассейна и Баимской рудной зоны</a:t>
            </a:r>
          </a:p>
        </p:txBody>
      </p:sp>
      <p:sp>
        <p:nvSpPr>
          <p:cNvPr id="83609" name="Line 746"/>
          <p:cNvSpPr>
            <a:spLocks noChangeShapeType="1"/>
          </p:cNvSpPr>
          <p:nvPr/>
        </p:nvSpPr>
        <p:spPr bwMode="auto">
          <a:xfrm flipV="1">
            <a:off x="138113" y="939800"/>
            <a:ext cx="8899525" cy="7938"/>
          </a:xfrm>
          <a:prstGeom prst="line">
            <a:avLst/>
          </a:prstGeom>
          <a:noFill/>
          <a:ln w="9525">
            <a:solidFill>
              <a:srgbClr val="C0C0C0"/>
            </a:solidFill>
            <a:round/>
            <a:headEnd/>
            <a:tailEnd/>
          </a:ln>
          <a:effectLst>
            <a:prstShdw prst="shdw17" dist="17961" dir="2700000">
              <a:srgbClr val="737373"/>
            </a:prstShdw>
          </a:effectLst>
        </p:spPr>
        <p:txBody>
          <a:bodyPr/>
          <a:lstStyle/>
          <a:p>
            <a:endParaRPr lang="ru-RU"/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7312" name="AutoShape 272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87312" name="think-cell Slide" r:id="rId5" imgW="0" imgH="0" progId="">
              <p:embed/>
            </p:oleObj>
          </a:graphicData>
        </a:graphic>
      </p:graphicFrame>
      <p:sp>
        <p:nvSpPr>
          <p:cNvPr id="87313" name="Rectangle 28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accent1"/>
              </a:gs>
            </a:gsLst>
            <a:path path="shape">
              <a:fillToRect l="50000" t="50000" r="50000" b="50000"/>
            </a:path>
          </a:gra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endParaRPr lang="en-US">
              <a:sym typeface="Arial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77838" y="4044950"/>
            <a:ext cx="8145462" cy="1851025"/>
          </a:xfrm>
          <a:prstGeom prst="rect">
            <a:avLst/>
          </a:prstGeom>
          <a:solidFill>
            <a:schemeClr val="tx2">
              <a:lumMod val="65000"/>
              <a:lumOff val="35000"/>
              <a:alpha val="10000"/>
            </a:schemeClr>
          </a:solidFill>
          <a:ln w="1905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87315" name="Rectangle 2"/>
          <p:cNvSpPr>
            <a:spLocks noGrp="1" noChangeArrowheads="1"/>
          </p:cNvSpPr>
          <p:nvPr>
            <p:ph type="title"/>
          </p:nvPr>
        </p:nvSpPr>
        <p:spPr>
          <a:xfrm>
            <a:off x="396875" y="260350"/>
            <a:ext cx="8407400" cy="609600"/>
          </a:xfrm>
        </p:spPr>
        <p:txBody>
          <a:bodyPr/>
          <a:lstStyle/>
          <a:p>
            <a:pPr eaLnBrk="1" hangingPunct="1">
              <a:lnSpc>
                <a:spcPct val="90000"/>
              </a:lnSpc>
            </a:pPr>
            <a:r>
              <a:rPr lang="ru-RU" smtClean="0"/>
              <a:t>Промышленная разработка месторождений критически зависит от создания необходимой инфраструктуры в Чукотском АО</a:t>
            </a:r>
          </a:p>
        </p:txBody>
      </p:sp>
      <p:sp>
        <p:nvSpPr>
          <p:cNvPr id="87316" name="Text Box 3"/>
          <p:cNvSpPr txBox="1">
            <a:spLocks noChangeArrowheads="1"/>
          </p:cNvSpPr>
          <p:nvPr/>
        </p:nvSpPr>
        <p:spPr bwMode="auto">
          <a:xfrm>
            <a:off x="395288" y="1268413"/>
            <a:ext cx="76327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r>
              <a:rPr lang="ru-RU" sz="1600" b="1"/>
              <a:t>Приоритеты развития инфраструктуры</a:t>
            </a:r>
          </a:p>
        </p:txBody>
      </p:sp>
      <p:sp>
        <p:nvSpPr>
          <p:cNvPr id="2" name="Rectangle 1"/>
          <p:cNvSpPr/>
          <p:nvPr/>
        </p:nvSpPr>
        <p:spPr>
          <a:xfrm>
            <a:off x="584200" y="2179638"/>
            <a:ext cx="1646238" cy="639762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b="1" dirty="0"/>
              <a:t>Транспортная сеть</a:t>
            </a:r>
            <a:endParaRPr lang="en-US" sz="1400" b="1" dirty="0"/>
          </a:p>
        </p:txBody>
      </p:sp>
      <p:sp>
        <p:nvSpPr>
          <p:cNvPr id="9" name="Rectangle 8"/>
          <p:cNvSpPr/>
          <p:nvPr/>
        </p:nvSpPr>
        <p:spPr>
          <a:xfrm>
            <a:off x="2998788" y="1751013"/>
            <a:ext cx="1395412" cy="201612"/>
          </a:xfrm>
          <a:prstGeom prst="rect">
            <a:avLst/>
          </a:prstGeom>
          <a:noFill/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ru-RU" sz="1400" b="1" dirty="0">
                <a:solidFill>
                  <a:schemeClr val="tx1"/>
                </a:solidFill>
              </a:rPr>
              <a:t>Влияние</a:t>
            </a:r>
            <a:endParaRPr lang="en-US" sz="1400" b="1" dirty="0"/>
          </a:p>
        </p:txBody>
      </p:sp>
      <p:sp>
        <p:nvSpPr>
          <p:cNvPr id="10" name="Rectangle 9"/>
          <p:cNvSpPr/>
          <p:nvPr/>
        </p:nvSpPr>
        <p:spPr>
          <a:xfrm>
            <a:off x="584200" y="3122613"/>
            <a:ext cx="1646238" cy="639762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b="1" dirty="0"/>
              <a:t>Морской порт</a:t>
            </a:r>
            <a:endParaRPr lang="en-US" sz="1400" b="1" dirty="0"/>
          </a:p>
        </p:txBody>
      </p:sp>
      <p:sp>
        <p:nvSpPr>
          <p:cNvPr id="11" name="Rectangle 10"/>
          <p:cNvSpPr/>
          <p:nvPr/>
        </p:nvSpPr>
        <p:spPr>
          <a:xfrm>
            <a:off x="5495925" y="3048000"/>
            <a:ext cx="3127375" cy="868363"/>
          </a:xfrm>
          <a:prstGeom prst="rect">
            <a:avLst/>
          </a:prstGeom>
          <a:noFill/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171450" indent="-171450">
              <a:buFont typeface="Wingdings" pitchFamily="2" charset="2"/>
              <a:buChar char="§"/>
              <a:defRPr/>
            </a:pPr>
            <a:r>
              <a:rPr lang="ru-RU" dirty="0">
                <a:solidFill>
                  <a:schemeClr val="tx1"/>
                </a:solidFill>
              </a:rPr>
              <a:t>Изношенность портового оборудования , морских судов</a:t>
            </a:r>
          </a:p>
          <a:p>
            <a:pPr marL="171450" indent="-171450">
              <a:buFont typeface="Wingdings" pitchFamily="2" charset="2"/>
              <a:buChar char="§"/>
              <a:defRPr/>
            </a:pPr>
            <a:r>
              <a:rPr lang="ru-RU" dirty="0">
                <a:solidFill>
                  <a:schemeClr val="tx1"/>
                </a:solidFill>
              </a:rPr>
              <a:t>Небольшой срок морской навигации в следствие замерзания морского пути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584200" y="4630738"/>
            <a:ext cx="1646238" cy="639762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b="1" dirty="0"/>
              <a:t>Энергетика</a:t>
            </a:r>
            <a:endParaRPr lang="en-US" sz="1400" b="1" dirty="0"/>
          </a:p>
        </p:txBody>
      </p:sp>
      <p:sp>
        <p:nvSpPr>
          <p:cNvPr id="30" name="Rectangle 29"/>
          <p:cNvSpPr/>
          <p:nvPr/>
        </p:nvSpPr>
        <p:spPr>
          <a:xfrm>
            <a:off x="5919788" y="1763713"/>
            <a:ext cx="1395412" cy="201612"/>
          </a:xfrm>
          <a:prstGeom prst="rect">
            <a:avLst/>
          </a:prstGeom>
          <a:noFill/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ru-RU" sz="1400" b="1" dirty="0">
                <a:solidFill>
                  <a:schemeClr val="tx1"/>
                </a:solidFill>
              </a:rPr>
              <a:t>Ограничения</a:t>
            </a:r>
            <a:endParaRPr lang="en-US" sz="1400" b="1" dirty="0"/>
          </a:p>
        </p:txBody>
      </p:sp>
      <p:sp>
        <p:nvSpPr>
          <p:cNvPr id="31" name="Rectangle 30"/>
          <p:cNvSpPr/>
          <p:nvPr/>
        </p:nvSpPr>
        <p:spPr>
          <a:xfrm>
            <a:off x="5495925" y="4044950"/>
            <a:ext cx="3127375" cy="1851025"/>
          </a:xfrm>
          <a:prstGeom prst="rect">
            <a:avLst/>
          </a:prstGeom>
          <a:noFill/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171450" indent="-171450">
              <a:buFont typeface="Wingdings" pitchFamily="2" charset="2"/>
              <a:buChar char="§"/>
              <a:defRPr/>
            </a:pPr>
            <a:r>
              <a:rPr lang="ru-RU" b="1" dirty="0">
                <a:solidFill>
                  <a:schemeClr val="tx1"/>
                </a:solidFill>
              </a:rPr>
              <a:t>Высокая себестоимость </a:t>
            </a:r>
            <a:r>
              <a:rPr lang="ru-RU" dirty="0">
                <a:solidFill>
                  <a:schemeClr val="tx1"/>
                </a:solidFill>
              </a:rPr>
              <a:t>электроэнергии для промышленной предприятий</a:t>
            </a:r>
          </a:p>
          <a:p>
            <a:pPr marL="171450" indent="-171450">
              <a:buFont typeface="Wingdings" pitchFamily="2" charset="2"/>
              <a:buChar char="§"/>
              <a:defRPr/>
            </a:pPr>
            <a:r>
              <a:rPr lang="ru-RU" b="1" dirty="0">
                <a:solidFill>
                  <a:schemeClr val="tx1"/>
                </a:solidFill>
              </a:rPr>
              <a:t>Внутренняя и межрегиональная изолированность энергосистемы </a:t>
            </a:r>
            <a:r>
              <a:rPr lang="ru-RU" dirty="0">
                <a:solidFill>
                  <a:schemeClr val="tx1"/>
                </a:solidFill>
              </a:rPr>
              <a:t>региона:</a:t>
            </a:r>
          </a:p>
          <a:p>
            <a:pPr marL="540000" indent="-171450">
              <a:buFont typeface="Arial" panose="020B0604020202020204" pitchFamily="34" charset="0"/>
              <a:buChar char="•"/>
              <a:defRPr/>
            </a:pPr>
            <a:r>
              <a:rPr lang="ru-RU" dirty="0">
                <a:solidFill>
                  <a:schemeClr val="tx1"/>
                </a:solidFill>
              </a:rPr>
              <a:t>Невозможность </a:t>
            </a:r>
            <a:r>
              <a:rPr lang="ru-RU" dirty="0" err="1">
                <a:solidFill>
                  <a:schemeClr val="tx1"/>
                </a:solidFill>
              </a:rPr>
              <a:t>перетоков</a:t>
            </a:r>
            <a:r>
              <a:rPr lang="ru-RU" dirty="0">
                <a:solidFill>
                  <a:schemeClr val="tx1"/>
                </a:solidFill>
              </a:rPr>
              <a:t> дешевой электроэнергии</a:t>
            </a:r>
          </a:p>
          <a:p>
            <a:pPr marL="540000" indent="-171450">
              <a:buFont typeface="Arial" panose="020B0604020202020204" pitchFamily="34" charset="0"/>
              <a:buChar char="•"/>
              <a:defRPr/>
            </a:pPr>
            <a:r>
              <a:rPr lang="ru-RU" dirty="0">
                <a:solidFill>
                  <a:schemeClr val="tx1"/>
                </a:solidFill>
              </a:rPr>
              <a:t>Неустойчивость энергосбережения крупных промышленных предприятий</a:t>
            </a:r>
          </a:p>
        </p:txBody>
      </p:sp>
      <p:sp>
        <p:nvSpPr>
          <p:cNvPr id="32" name="Rectangle 31"/>
          <p:cNvSpPr/>
          <p:nvPr/>
        </p:nvSpPr>
        <p:spPr>
          <a:xfrm>
            <a:off x="5495925" y="2084388"/>
            <a:ext cx="3127375" cy="868362"/>
          </a:xfrm>
          <a:prstGeom prst="rect">
            <a:avLst/>
          </a:prstGeom>
          <a:noFill/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171450" indent="-171450">
              <a:buFont typeface="Wingdings" pitchFamily="2" charset="2"/>
              <a:buChar char="§"/>
              <a:defRPr/>
            </a:pPr>
            <a:r>
              <a:rPr lang="ru-RU" dirty="0">
                <a:solidFill>
                  <a:schemeClr val="tx1"/>
                </a:solidFill>
              </a:rPr>
              <a:t>Отсутствие сообщений из отдаленных районов</a:t>
            </a:r>
          </a:p>
          <a:p>
            <a:pPr marL="171450" indent="-171450">
              <a:buFont typeface="Wingdings" pitchFamily="2" charset="2"/>
              <a:buChar char="§"/>
              <a:defRPr/>
            </a:pPr>
            <a:r>
              <a:rPr lang="ru-RU" dirty="0">
                <a:solidFill>
                  <a:schemeClr val="tx1"/>
                </a:solidFill>
              </a:rPr>
              <a:t>Отсутствие транспортных коридоров для экспорта продукции </a:t>
            </a:r>
            <a:endParaRPr lang="en-US" dirty="0"/>
          </a:p>
        </p:txBody>
      </p:sp>
      <p:sp>
        <p:nvSpPr>
          <p:cNvPr id="33" name="Rectangle 32"/>
          <p:cNvSpPr/>
          <p:nvPr/>
        </p:nvSpPr>
        <p:spPr>
          <a:xfrm>
            <a:off x="2427288" y="3048000"/>
            <a:ext cx="2743200" cy="868363"/>
          </a:xfrm>
          <a:prstGeom prst="rect">
            <a:avLst/>
          </a:prstGeom>
          <a:noFill/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171450" indent="-171450">
              <a:buFont typeface="Wingdings" pitchFamily="2" charset="2"/>
              <a:buChar char="§"/>
              <a:defRPr/>
            </a:pPr>
            <a:r>
              <a:rPr lang="ru-RU" b="1" dirty="0">
                <a:solidFill>
                  <a:schemeClr val="tx1"/>
                </a:solidFill>
              </a:rPr>
              <a:t>Ограниченность экспорта </a:t>
            </a:r>
            <a:r>
              <a:rPr lang="ru-RU" dirty="0">
                <a:solidFill>
                  <a:schemeClr val="tx1"/>
                </a:solidFill>
              </a:rPr>
              <a:t>- перевалки больших объемов грузов</a:t>
            </a:r>
          </a:p>
          <a:p>
            <a:pPr marL="171450" indent="-171450">
              <a:buFont typeface="Wingdings" pitchFamily="2" charset="2"/>
              <a:buChar char="§"/>
              <a:defRPr/>
            </a:pPr>
            <a:r>
              <a:rPr lang="ru-RU" dirty="0">
                <a:solidFill>
                  <a:schemeClr val="tx1"/>
                </a:solidFill>
              </a:rPr>
              <a:t>Высокая стоимость «двойной перевалки»</a:t>
            </a:r>
            <a:endParaRPr lang="en-US" dirty="0"/>
          </a:p>
        </p:txBody>
      </p:sp>
      <p:sp>
        <p:nvSpPr>
          <p:cNvPr id="34" name="Rectangle 33"/>
          <p:cNvSpPr/>
          <p:nvPr/>
        </p:nvSpPr>
        <p:spPr>
          <a:xfrm>
            <a:off x="2427288" y="4481513"/>
            <a:ext cx="2743200" cy="1025525"/>
          </a:xfrm>
          <a:prstGeom prst="rect">
            <a:avLst/>
          </a:prstGeom>
          <a:noFill/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171450" indent="-171450">
              <a:buFont typeface="Wingdings" pitchFamily="2" charset="2"/>
              <a:buChar char="§"/>
              <a:defRPr/>
            </a:pPr>
            <a:r>
              <a:rPr lang="ru-RU" b="1" dirty="0">
                <a:solidFill>
                  <a:schemeClr val="tx1"/>
                </a:solidFill>
              </a:rPr>
              <a:t>Снижение привлекательности реализации проектов </a:t>
            </a:r>
            <a:r>
              <a:rPr lang="ru-RU" dirty="0">
                <a:solidFill>
                  <a:schemeClr val="tx1"/>
                </a:solidFill>
              </a:rPr>
              <a:t>в области добычи и переработки полезных ресурсов</a:t>
            </a:r>
          </a:p>
          <a:p>
            <a:pPr marL="171450" indent="-171450">
              <a:buFont typeface="Wingdings" pitchFamily="2" charset="2"/>
              <a:buChar char="§"/>
              <a:defRPr/>
            </a:pPr>
            <a:r>
              <a:rPr lang="ru-RU" dirty="0">
                <a:solidFill>
                  <a:schemeClr val="tx1"/>
                </a:solidFill>
              </a:rPr>
              <a:t>Высокая стоимость содержания постоянного населения</a:t>
            </a:r>
          </a:p>
        </p:txBody>
      </p:sp>
      <p:sp>
        <p:nvSpPr>
          <p:cNvPr id="35" name="Rectangle 34"/>
          <p:cNvSpPr/>
          <p:nvPr/>
        </p:nvSpPr>
        <p:spPr>
          <a:xfrm>
            <a:off x="2427288" y="2084388"/>
            <a:ext cx="2743200" cy="868362"/>
          </a:xfrm>
          <a:prstGeom prst="rect">
            <a:avLst/>
          </a:prstGeom>
          <a:noFill/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171450" indent="-171450">
              <a:buFont typeface="Wingdings" pitchFamily="2" charset="2"/>
              <a:buChar char="§"/>
              <a:defRPr/>
            </a:pPr>
            <a:r>
              <a:rPr lang="ru-RU" dirty="0">
                <a:solidFill>
                  <a:schemeClr val="tx1"/>
                </a:solidFill>
              </a:rPr>
              <a:t>Высокая составляющая транспорта в цене потребительской/ промышленной продукции</a:t>
            </a:r>
          </a:p>
          <a:p>
            <a:pPr marL="171450" indent="-171450">
              <a:buFont typeface="Wingdings" pitchFamily="2" charset="2"/>
              <a:buChar char="§"/>
              <a:defRPr/>
            </a:pPr>
            <a:endParaRPr lang="en-US" dirty="0"/>
          </a:p>
        </p:txBody>
      </p:sp>
      <p:sp>
        <p:nvSpPr>
          <p:cNvPr id="87328" name="Line 289"/>
          <p:cNvSpPr>
            <a:spLocks noChangeShapeType="1"/>
          </p:cNvSpPr>
          <p:nvPr/>
        </p:nvSpPr>
        <p:spPr bwMode="auto">
          <a:xfrm flipV="1">
            <a:off x="138113" y="963613"/>
            <a:ext cx="8899525" cy="7937"/>
          </a:xfrm>
          <a:prstGeom prst="line">
            <a:avLst/>
          </a:prstGeom>
          <a:noFill/>
          <a:ln w="9525">
            <a:solidFill>
              <a:srgbClr val="C0C0C0"/>
            </a:solidFill>
            <a:round/>
            <a:headEnd/>
            <a:tailEnd/>
          </a:ln>
          <a:effectLst>
            <a:prstShdw prst="shdw17" dist="17961" dir="2700000">
              <a:srgbClr val="737373"/>
            </a:prstShdw>
          </a:effectLst>
        </p:spPr>
        <p:txBody>
          <a:bodyPr/>
          <a:lstStyle/>
          <a:p>
            <a:endParaRPr lang="ru-RU"/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281" name="Rectangle 3"/>
          <p:cNvSpPr>
            <a:spLocks noChangeArrowheads="1"/>
          </p:cNvSpPr>
          <p:nvPr/>
        </p:nvSpPr>
        <p:spPr bwMode="auto">
          <a:xfrm>
            <a:off x="236538" y="1135063"/>
            <a:ext cx="3959225" cy="3324225"/>
          </a:xfrm>
          <a:prstGeom prst="rect">
            <a:avLst/>
          </a:prstGeom>
          <a:noFill/>
          <a:ln w="9525" algn="ctr">
            <a:solidFill>
              <a:srgbClr val="0033CC"/>
            </a:solidFill>
            <a:prstDash val="dash"/>
            <a:miter lim="800000"/>
            <a:headEnd/>
            <a:tailEnd/>
          </a:ln>
        </p:spPr>
        <p:txBody>
          <a:bodyPr/>
          <a:lstStyle/>
          <a:p>
            <a:pPr marL="182563" indent="-182563" algn="ctr">
              <a:buClr>
                <a:srgbClr val="0000FF"/>
              </a:buClr>
              <a:buSzPct val="150000"/>
            </a:pPr>
            <a:r>
              <a:rPr lang="ru-RU" sz="1000" b="1"/>
              <a:t>Основные инфраструктурные проекты*</a:t>
            </a:r>
          </a:p>
          <a:p>
            <a:pPr marL="182563" indent="-182563" algn="ctr">
              <a:buClr>
                <a:srgbClr val="0000FF"/>
              </a:buClr>
              <a:buSzPct val="150000"/>
            </a:pPr>
            <a:endParaRPr lang="ru-RU" sz="400" b="1"/>
          </a:p>
          <a:p>
            <a:pPr marL="182563" indent="-182563">
              <a:buClr>
                <a:srgbClr val="0000FF"/>
              </a:buClr>
              <a:buSzPct val="150000"/>
            </a:pPr>
            <a:r>
              <a:rPr lang="ru-RU" sz="900" b="1"/>
              <a:t>Инвестиции в транспортную инфраструктуру - 96 млрд. руб.</a:t>
            </a:r>
          </a:p>
          <a:p>
            <a:pPr marL="533400" lvl="1" indent="-171450">
              <a:buClr>
                <a:schemeClr val="accent1"/>
              </a:buClr>
              <a:buSzPct val="100000"/>
              <a:buFont typeface="Wingdings" pitchFamily="2" charset="2"/>
              <a:buChar char="§"/>
            </a:pPr>
            <a:r>
              <a:rPr lang="ru-RU" sz="900"/>
              <a:t>Строительство дорожной сети – 68 млрд. руб.</a:t>
            </a:r>
          </a:p>
          <a:p>
            <a:pPr marL="533400" lvl="1" indent="-171450">
              <a:buClr>
                <a:schemeClr val="accent1"/>
              </a:buClr>
              <a:buSzPct val="100000"/>
              <a:buFont typeface="Wingdings" pitchFamily="2" charset="2"/>
              <a:buChar char="§"/>
            </a:pPr>
            <a:r>
              <a:rPr lang="ru-RU" sz="900"/>
              <a:t>Строительство транспортной инфраструктуры месторождения Амаам – 12,2 млрд. руб. (частные вложения) </a:t>
            </a:r>
          </a:p>
          <a:p>
            <a:pPr marL="533400" lvl="1" indent="-171450">
              <a:buClr>
                <a:schemeClr val="accent1"/>
              </a:buClr>
              <a:buSzPct val="100000"/>
              <a:buFont typeface="Wingdings" pitchFamily="2" charset="2"/>
              <a:buChar char="§"/>
            </a:pPr>
            <a:r>
              <a:rPr lang="ru-RU" sz="900"/>
              <a:t>Развитие авиационного сообщения 11 млрд. руб. </a:t>
            </a:r>
          </a:p>
          <a:p>
            <a:pPr marL="533400" lvl="1" indent="-171450">
              <a:buClr>
                <a:schemeClr val="accent1"/>
              </a:buClr>
              <a:buSzPct val="100000"/>
              <a:buFont typeface="Wingdings" pitchFamily="2" charset="2"/>
              <a:buChar char="§"/>
            </a:pPr>
            <a:r>
              <a:rPr lang="ru-RU" sz="900"/>
              <a:t>Строительство портовой инфраструктуры в Анадырском районе – 4,4 млрд. руб. </a:t>
            </a:r>
          </a:p>
          <a:p>
            <a:pPr marL="182563" indent="-182563">
              <a:buClr>
                <a:srgbClr val="0000FF"/>
              </a:buClr>
              <a:buSzPct val="150000"/>
            </a:pPr>
            <a:endParaRPr lang="ru-RU" sz="400"/>
          </a:p>
          <a:p>
            <a:pPr marL="182563" indent="-182563">
              <a:buClr>
                <a:srgbClr val="0000FF"/>
              </a:buClr>
              <a:buSzPct val="150000"/>
            </a:pPr>
            <a:r>
              <a:rPr lang="ru-RU" sz="900" b="1"/>
              <a:t>Инвестиции в энергетическую инфраструктуру</a:t>
            </a:r>
            <a:r>
              <a:rPr lang="en-US" sz="900" b="1"/>
              <a:t> – </a:t>
            </a:r>
            <a:r>
              <a:rPr lang="ru-RU" sz="900" b="1"/>
              <a:t>118,4</a:t>
            </a:r>
            <a:r>
              <a:rPr lang="en-US" sz="900" b="1"/>
              <a:t> </a:t>
            </a:r>
            <a:r>
              <a:rPr lang="ru-RU" sz="900" b="1"/>
              <a:t>млрд. руб</a:t>
            </a:r>
            <a:r>
              <a:rPr lang="ru-RU" sz="900"/>
              <a:t>.</a:t>
            </a:r>
          </a:p>
          <a:p>
            <a:pPr marL="533400" lvl="1" indent="-171450">
              <a:buClr>
                <a:schemeClr val="accent1"/>
              </a:buClr>
              <a:buSzPct val="100000"/>
              <a:buFont typeface="Wingdings" pitchFamily="2" charset="2"/>
              <a:buChar char="§"/>
            </a:pPr>
            <a:r>
              <a:rPr lang="ru-RU" sz="900"/>
              <a:t>Строительство энергетической инфраструктуры месторождения Амаам – 9 млрд. руб. (частные вложения) </a:t>
            </a:r>
          </a:p>
          <a:p>
            <a:pPr marL="533400" lvl="1" indent="-171450">
              <a:buClr>
                <a:schemeClr val="accent1"/>
              </a:buClr>
              <a:buSzPct val="100000"/>
              <a:buFont typeface="Wingdings" pitchFamily="2" charset="2"/>
              <a:buChar char="§"/>
            </a:pPr>
            <a:r>
              <a:rPr lang="ru-RU" sz="900"/>
              <a:t>Строительство ТЭЦ в Певеке 48 мВт</a:t>
            </a:r>
          </a:p>
          <a:p>
            <a:pPr marL="533400" lvl="1" indent="-171450">
              <a:buClr>
                <a:schemeClr val="accent1"/>
              </a:buClr>
              <a:buSzPct val="100000"/>
              <a:buFont typeface="Wingdings" pitchFamily="2" charset="2"/>
              <a:buChar char="§"/>
            </a:pPr>
            <a:r>
              <a:rPr lang="ru-RU" sz="900"/>
              <a:t>Строительство энергетического центра в Билибино 20 мВт</a:t>
            </a:r>
          </a:p>
          <a:p>
            <a:pPr marL="533400" lvl="1" indent="-171450">
              <a:buClr>
                <a:schemeClr val="accent1"/>
              </a:buClr>
              <a:buSzPct val="100000"/>
              <a:buFont typeface="Wingdings" pitchFamily="2" charset="2"/>
              <a:buChar char="§"/>
            </a:pPr>
            <a:r>
              <a:rPr lang="ru-RU" sz="900"/>
              <a:t>Строительство ТЭЦ в районе месторождения Долгожданное 250 мВт </a:t>
            </a:r>
          </a:p>
          <a:p>
            <a:pPr marL="533400" lvl="1" indent="-171450">
              <a:buClr>
                <a:schemeClr val="accent1"/>
              </a:buClr>
              <a:buSzPct val="100000"/>
              <a:buFont typeface="Wingdings" pitchFamily="2" charset="2"/>
              <a:buChar char="§"/>
            </a:pPr>
            <a:r>
              <a:rPr lang="ru-RU" sz="900"/>
              <a:t>Строительство котельной в Эгвекиноте </a:t>
            </a:r>
          </a:p>
          <a:p>
            <a:pPr marL="533400" lvl="1" indent="-171450">
              <a:buClr>
                <a:schemeClr val="accent1"/>
              </a:buClr>
              <a:buSzPct val="100000"/>
              <a:buFont typeface="Wingdings" pitchFamily="2" charset="2"/>
              <a:buChar char="§"/>
            </a:pPr>
            <a:r>
              <a:rPr lang="ru-RU" sz="900"/>
              <a:t>Строительство ЛЭП: </a:t>
            </a:r>
          </a:p>
          <a:p>
            <a:pPr marL="719138" lvl="2">
              <a:buClr>
                <a:srgbClr val="0000FF"/>
              </a:buClr>
              <a:buSzPct val="100000"/>
              <a:buFontTx/>
              <a:buChar char="•"/>
            </a:pPr>
            <a:r>
              <a:rPr lang="ru-RU" sz="900"/>
              <a:t>Певек - Комсомольский, Комсомольский - Билибино – 495 км</a:t>
            </a:r>
          </a:p>
          <a:p>
            <a:pPr marL="719138" lvl="2">
              <a:buClr>
                <a:srgbClr val="0000FF"/>
              </a:buClr>
              <a:buSzPct val="100000"/>
              <a:buFontTx/>
              <a:buChar char="•"/>
            </a:pPr>
            <a:r>
              <a:rPr lang="ru-RU" sz="900"/>
              <a:t>Билибино - Кекура - Песчанка – 230 км</a:t>
            </a:r>
          </a:p>
          <a:p>
            <a:pPr marL="719138" lvl="2">
              <a:buClr>
                <a:srgbClr val="0000FF"/>
              </a:buClr>
              <a:buSzPct val="100000"/>
              <a:buFontTx/>
              <a:buChar char="•"/>
            </a:pPr>
            <a:r>
              <a:rPr lang="ru-RU" sz="900"/>
              <a:t>Комсомольский - Долгожданное  –  80 км</a:t>
            </a:r>
          </a:p>
          <a:p>
            <a:pPr marL="719138" lvl="2">
              <a:buClr>
                <a:srgbClr val="0000FF"/>
              </a:buClr>
              <a:buSzPct val="100000"/>
              <a:buFontTx/>
              <a:buChar char="•"/>
            </a:pPr>
            <a:r>
              <a:rPr lang="ru-RU" sz="900"/>
              <a:t>Омсукчан - Песчанка  – 868 км</a:t>
            </a:r>
          </a:p>
        </p:txBody>
      </p:sp>
      <p:sp>
        <p:nvSpPr>
          <p:cNvPr id="84282" name="Freeform 6"/>
          <p:cNvSpPr>
            <a:spLocks/>
          </p:cNvSpPr>
          <p:nvPr/>
        </p:nvSpPr>
        <p:spPr bwMode="auto">
          <a:xfrm>
            <a:off x="5665788" y="1631950"/>
            <a:ext cx="209550" cy="160338"/>
          </a:xfrm>
          <a:custGeom>
            <a:avLst/>
            <a:gdLst>
              <a:gd name="T0" fmla="*/ 0 w 190"/>
              <a:gd name="T1" fmla="*/ 2147483647 h 144"/>
              <a:gd name="T2" fmla="*/ 2147483647 w 190"/>
              <a:gd name="T3" fmla="*/ 2147483647 h 144"/>
              <a:gd name="T4" fmla="*/ 2147483647 w 190"/>
              <a:gd name="T5" fmla="*/ 2147483647 h 144"/>
              <a:gd name="T6" fmla="*/ 2147483647 w 190"/>
              <a:gd name="T7" fmla="*/ 2147483647 h 144"/>
              <a:gd name="T8" fmla="*/ 2147483647 w 190"/>
              <a:gd name="T9" fmla="*/ 2147483647 h 144"/>
              <a:gd name="T10" fmla="*/ 2147483647 w 190"/>
              <a:gd name="T11" fmla="*/ 2147483647 h 144"/>
              <a:gd name="T12" fmla="*/ 2147483647 w 190"/>
              <a:gd name="T13" fmla="*/ 2147483647 h 144"/>
              <a:gd name="T14" fmla="*/ 2147483647 w 190"/>
              <a:gd name="T15" fmla="*/ 2147483647 h 144"/>
              <a:gd name="T16" fmla="*/ 2147483647 w 190"/>
              <a:gd name="T17" fmla="*/ 2147483647 h 144"/>
              <a:gd name="T18" fmla="*/ 2147483647 w 190"/>
              <a:gd name="T19" fmla="*/ 2147483647 h 144"/>
              <a:gd name="T20" fmla="*/ 2147483647 w 190"/>
              <a:gd name="T21" fmla="*/ 0 h 144"/>
              <a:gd name="T22" fmla="*/ 2147483647 w 190"/>
              <a:gd name="T23" fmla="*/ 2147483647 h 144"/>
              <a:gd name="T24" fmla="*/ 2147483647 w 190"/>
              <a:gd name="T25" fmla="*/ 2147483647 h 144"/>
              <a:gd name="T26" fmla="*/ 2147483647 w 190"/>
              <a:gd name="T27" fmla="*/ 2147483647 h 144"/>
              <a:gd name="T28" fmla="*/ 2147483647 w 190"/>
              <a:gd name="T29" fmla="*/ 2147483647 h 144"/>
              <a:gd name="T30" fmla="*/ 2147483647 w 190"/>
              <a:gd name="T31" fmla="*/ 2147483647 h 144"/>
              <a:gd name="T32" fmla="*/ 2147483647 w 190"/>
              <a:gd name="T33" fmla="*/ 2147483647 h 144"/>
              <a:gd name="T34" fmla="*/ 2147483647 w 190"/>
              <a:gd name="T35" fmla="*/ 2147483647 h 144"/>
              <a:gd name="T36" fmla="*/ 2147483647 w 190"/>
              <a:gd name="T37" fmla="*/ 2147483647 h 144"/>
              <a:gd name="T38" fmla="*/ 2147483647 w 190"/>
              <a:gd name="T39" fmla="*/ 2147483647 h 144"/>
              <a:gd name="T40" fmla="*/ 2147483647 w 190"/>
              <a:gd name="T41" fmla="*/ 2147483647 h 144"/>
              <a:gd name="T42" fmla="*/ 2147483647 w 190"/>
              <a:gd name="T43" fmla="*/ 2147483647 h 144"/>
              <a:gd name="T44" fmla="*/ 2147483647 w 190"/>
              <a:gd name="T45" fmla="*/ 2147483647 h 144"/>
              <a:gd name="T46" fmla="*/ 2147483647 w 190"/>
              <a:gd name="T47" fmla="*/ 2147483647 h 144"/>
              <a:gd name="T48" fmla="*/ 2147483647 w 190"/>
              <a:gd name="T49" fmla="*/ 2147483647 h 144"/>
              <a:gd name="T50" fmla="*/ 2147483647 w 190"/>
              <a:gd name="T51" fmla="*/ 2147483647 h 144"/>
              <a:gd name="T52" fmla="*/ 2147483647 w 190"/>
              <a:gd name="T53" fmla="*/ 2147483647 h 144"/>
              <a:gd name="T54" fmla="*/ 2147483647 w 190"/>
              <a:gd name="T55" fmla="*/ 2147483647 h 144"/>
              <a:gd name="T56" fmla="*/ 2147483647 w 190"/>
              <a:gd name="T57" fmla="*/ 2147483647 h 144"/>
              <a:gd name="T58" fmla="*/ 2147483647 w 190"/>
              <a:gd name="T59" fmla="*/ 2147483647 h 144"/>
              <a:gd name="T60" fmla="*/ 2147483647 w 190"/>
              <a:gd name="T61" fmla="*/ 2147483647 h 144"/>
              <a:gd name="T62" fmla="*/ 2147483647 w 190"/>
              <a:gd name="T63" fmla="*/ 2147483647 h 144"/>
              <a:gd name="T64" fmla="*/ 2147483647 w 190"/>
              <a:gd name="T65" fmla="*/ 2147483647 h 144"/>
              <a:gd name="T66" fmla="*/ 2147483647 w 190"/>
              <a:gd name="T67" fmla="*/ 2147483647 h 144"/>
              <a:gd name="T68" fmla="*/ 2147483647 w 190"/>
              <a:gd name="T69" fmla="*/ 2147483647 h 144"/>
              <a:gd name="T70" fmla="*/ 2147483647 w 190"/>
              <a:gd name="T71" fmla="*/ 2147483647 h 144"/>
              <a:gd name="T72" fmla="*/ 2147483647 w 190"/>
              <a:gd name="T73" fmla="*/ 2147483647 h 144"/>
              <a:gd name="T74" fmla="*/ 2147483647 w 190"/>
              <a:gd name="T75" fmla="*/ 2147483647 h 144"/>
              <a:gd name="T76" fmla="*/ 2147483647 w 190"/>
              <a:gd name="T77" fmla="*/ 2147483647 h 144"/>
              <a:gd name="T78" fmla="*/ 2147483647 w 190"/>
              <a:gd name="T79" fmla="*/ 2147483647 h 144"/>
              <a:gd name="T80" fmla="*/ 2147483647 w 190"/>
              <a:gd name="T81" fmla="*/ 2147483647 h 144"/>
              <a:gd name="T82" fmla="*/ 2147483647 w 190"/>
              <a:gd name="T83" fmla="*/ 2147483647 h 144"/>
              <a:gd name="T84" fmla="*/ 2147483647 w 190"/>
              <a:gd name="T85" fmla="*/ 2147483647 h 144"/>
              <a:gd name="T86" fmla="*/ 2147483647 w 190"/>
              <a:gd name="T87" fmla="*/ 2147483647 h 144"/>
              <a:gd name="T88" fmla="*/ 2147483647 w 190"/>
              <a:gd name="T89" fmla="*/ 2147483647 h 144"/>
              <a:gd name="T90" fmla="*/ 2147483647 w 190"/>
              <a:gd name="T91" fmla="*/ 2147483647 h 144"/>
              <a:gd name="T92" fmla="*/ 0 w 190"/>
              <a:gd name="T93" fmla="*/ 2147483647 h 144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w 190"/>
              <a:gd name="T142" fmla="*/ 0 h 144"/>
              <a:gd name="T143" fmla="*/ 190 w 190"/>
              <a:gd name="T144" fmla="*/ 144 h 144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T141" t="T142" r="T143" b="T144"/>
            <a:pathLst>
              <a:path w="190" h="144">
                <a:moveTo>
                  <a:pt x="0" y="67"/>
                </a:moveTo>
                <a:lnTo>
                  <a:pt x="7" y="49"/>
                </a:lnTo>
                <a:lnTo>
                  <a:pt x="15" y="33"/>
                </a:lnTo>
                <a:lnTo>
                  <a:pt x="20" y="27"/>
                </a:lnTo>
                <a:lnTo>
                  <a:pt x="25" y="22"/>
                </a:lnTo>
                <a:lnTo>
                  <a:pt x="30" y="17"/>
                </a:lnTo>
                <a:lnTo>
                  <a:pt x="35" y="13"/>
                </a:lnTo>
                <a:lnTo>
                  <a:pt x="59" y="10"/>
                </a:lnTo>
                <a:lnTo>
                  <a:pt x="77" y="6"/>
                </a:lnTo>
                <a:lnTo>
                  <a:pt x="79" y="3"/>
                </a:lnTo>
                <a:lnTo>
                  <a:pt x="79" y="0"/>
                </a:lnTo>
                <a:lnTo>
                  <a:pt x="89" y="3"/>
                </a:lnTo>
                <a:lnTo>
                  <a:pt x="98" y="6"/>
                </a:lnTo>
                <a:lnTo>
                  <a:pt x="106" y="13"/>
                </a:lnTo>
                <a:lnTo>
                  <a:pt x="116" y="23"/>
                </a:lnTo>
                <a:lnTo>
                  <a:pt x="131" y="28"/>
                </a:lnTo>
                <a:lnTo>
                  <a:pt x="147" y="33"/>
                </a:lnTo>
                <a:lnTo>
                  <a:pt x="162" y="38"/>
                </a:lnTo>
                <a:lnTo>
                  <a:pt x="177" y="43"/>
                </a:lnTo>
                <a:lnTo>
                  <a:pt x="184" y="49"/>
                </a:lnTo>
                <a:lnTo>
                  <a:pt x="189" y="54"/>
                </a:lnTo>
                <a:lnTo>
                  <a:pt x="190" y="60"/>
                </a:lnTo>
                <a:lnTo>
                  <a:pt x="189" y="67"/>
                </a:lnTo>
                <a:lnTo>
                  <a:pt x="187" y="72"/>
                </a:lnTo>
                <a:lnTo>
                  <a:pt x="184" y="77"/>
                </a:lnTo>
                <a:lnTo>
                  <a:pt x="178" y="79"/>
                </a:lnTo>
                <a:lnTo>
                  <a:pt x="173" y="77"/>
                </a:lnTo>
                <a:lnTo>
                  <a:pt x="172" y="99"/>
                </a:lnTo>
                <a:lnTo>
                  <a:pt x="170" y="119"/>
                </a:lnTo>
                <a:lnTo>
                  <a:pt x="172" y="126"/>
                </a:lnTo>
                <a:lnTo>
                  <a:pt x="172" y="133"/>
                </a:lnTo>
                <a:lnTo>
                  <a:pt x="170" y="138"/>
                </a:lnTo>
                <a:lnTo>
                  <a:pt x="167" y="141"/>
                </a:lnTo>
                <a:lnTo>
                  <a:pt x="162" y="143"/>
                </a:lnTo>
                <a:lnTo>
                  <a:pt x="155" y="144"/>
                </a:lnTo>
                <a:lnTo>
                  <a:pt x="147" y="144"/>
                </a:lnTo>
                <a:lnTo>
                  <a:pt x="136" y="144"/>
                </a:lnTo>
                <a:lnTo>
                  <a:pt x="121" y="143"/>
                </a:lnTo>
                <a:lnTo>
                  <a:pt x="106" y="139"/>
                </a:lnTo>
                <a:lnTo>
                  <a:pt x="91" y="134"/>
                </a:lnTo>
                <a:lnTo>
                  <a:pt x="77" y="128"/>
                </a:lnTo>
                <a:lnTo>
                  <a:pt x="66" y="119"/>
                </a:lnTo>
                <a:lnTo>
                  <a:pt x="54" y="111"/>
                </a:lnTo>
                <a:lnTo>
                  <a:pt x="44" y="99"/>
                </a:lnTo>
                <a:lnTo>
                  <a:pt x="35" y="86"/>
                </a:lnTo>
                <a:lnTo>
                  <a:pt x="17" y="75"/>
                </a:lnTo>
                <a:lnTo>
                  <a:pt x="0" y="67"/>
                </a:lnTo>
              </a:path>
            </a:pathLst>
          </a:custGeom>
          <a:solidFill>
            <a:schemeClr val="bg1"/>
          </a:solidFill>
          <a:ln w="3175">
            <a:solidFill>
              <a:srgbClr val="1F1A17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grpSp>
        <p:nvGrpSpPr>
          <p:cNvPr id="32774" name="Group 7"/>
          <p:cNvGrpSpPr>
            <a:grpSpLocks/>
          </p:cNvGrpSpPr>
          <p:nvPr/>
        </p:nvGrpSpPr>
        <p:grpSpPr bwMode="auto">
          <a:xfrm>
            <a:off x="7797800" y="2355850"/>
            <a:ext cx="881063" cy="822325"/>
            <a:chOff x="3206" y="2010"/>
            <a:chExt cx="798" cy="744"/>
          </a:xfrm>
          <a:solidFill>
            <a:schemeClr val="accent6">
              <a:lumMod val="40000"/>
              <a:lumOff val="60000"/>
            </a:schemeClr>
          </a:solidFill>
        </p:grpSpPr>
        <p:sp>
          <p:nvSpPr>
            <p:cNvPr id="32946" name="Freeform 8"/>
            <p:cNvSpPr>
              <a:spLocks/>
            </p:cNvSpPr>
            <p:nvPr/>
          </p:nvSpPr>
          <p:spPr bwMode="auto">
            <a:xfrm>
              <a:off x="3920" y="2535"/>
              <a:ext cx="69" cy="59"/>
            </a:xfrm>
            <a:custGeom>
              <a:avLst/>
              <a:gdLst>
                <a:gd name="T0" fmla="*/ 26 w 69"/>
                <a:gd name="T1" fmla="*/ 44 h 59"/>
                <a:gd name="T2" fmla="*/ 20 w 69"/>
                <a:gd name="T3" fmla="*/ 49 h 59"/>
                <a:gd name="T4" fmla="*/ 13 w 69"/>
                <a:gd name="T5" fmla="*/ 54 h 59"/>
                <a:gd name="T6" fmla="*/ 6 w 69"/>
                <a:gd name="T7" fmla="*/ 59 h 59"/>
                <a:gd name="T8" fmla="*/ 3 w 69"/>
                <a:gd name="T9" fmla="*/ 59 h 59"/>
                <a:gd name="T10" fmla="*/ 0 w 69"/>
                <a:gd name="T11" fmla="*/ 56 h 59"/>
                <a:gd name="T12" fmla="*/ 1 w 69"/>
                <a:gd name="T13" fmla="*/ 47 h 59"/>
                <a:gd name="T14" fmla="*/ 3 w 69"/>
                <a:gd name="T15" fmla="*/ 32 h 59"/>
                <a:gd name="T16" fmla="*/ 5 w 69"/>
                <a:gd name="T17" fmla="*/ 19 h 59"/>
                <a:gd name="T18" fmla="*/ 6 w 69"/>
                <a:gd name="T19" fmla="*/ 12 h 59"/>
                <a:gd name="T20" fmla="*/ 8 w 69"/>
                <a:gd name="T21" fmla="*/ 9 h 59"/>
                <a:gd name="T22" fmla="*/ 13 w 69"/>
                <a:gd name="T23" fmla="*/ 4 h 59"/>
                <a:gd name="T24" fmla="*/ 18 w 69"/>
                <a:gd name="T25" fmla="*/ 0 h 59"/>
                <a:gd name="T26" fmla="*/ 43 w 69"/>
                <a:gd name="T27" fmla="*/ 5 h 59"/>
                <a:gd name="T28" fmla="*/ 69 w 69"/>
                <a:gd name="T29" fmla="*/ 10 h 59"/>
                <a:gd name="T30" fmla="*/ 55 w 69"/>
                <a:gd name="T31" fmla="*/ 24 h 59"/>
                <a:gd name="T32" fmla="*/ 45 w 69"/>
                <a:gd name="T33" fmla="*/ 36 h 59"/>
                <a:gd name="T34" fmla="*/ 40 w 69"/>
                <a:gd name="T35" fmla="*/ 41 h 59"/>
                <a:gd name="T36" fmla="*/ 35 w 69"/>
                <a:gd name="T37" fmla="*/ 42 h 59"/>
                <a:gd name="T38" fmla="*/ 30 w 69"/>
                <a:gd name="T39" fmla="*/ 44 h 59"/>
                <a:gd name="T40" fmla="*/ 26 w 69"/>
                <a:gd name="T41" fmla="*/ 44 h 59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69" h="59">
                  <a:moveTo>
                    <a:pt x="26" y="44"/>
                  </a:moveTo>
                  <a:lnTo>
                    <a:pt x="20" y="49"/>
                  </a:lnTo>
                  <a:lnTo>
                    <a:pt x="13" y="54"/>
                  </a:lnTo>
                  <a:lnTo>
                    <a:pt x="6" y="59"/>
                  </a:lnTo>
                  <a:lnTo>
                    <a:pt x="3" y="59"/>
                  </a:lnTo>
                  <a:lnTo>
                    <a:pt x="0" y="56"/>
                  </a:lnTo>
                  <a:lnTo>
                    <a:pt x="1" y="47"/>
                  </a:lnTo>
                  <a:lnTo>
                    <a:pt x="3" y="32"/>
                  </a:lnTo>
                  <a:lnTo>
                    <a:pt x="5" y="19"/>
                  </a:lnTo>
                  <a:lnTo>
                    <a:pt x="6" y="12"/>
                  </a:lnTo>
                  <a:lnTo>
                    <a:pt x="8" y="9"/>
                  </a:lnTo>
                  <a:lnTo>
                    <a:pt x="13" y="4"/>
                  </a:lnTo>
                  <a:lnTo>
                    <a:pt x="18" y="0"/>
                  </a:lnTo>
                  <a:lnTo>
                    <a:pt x="43" y="5"/>
                  </a:lnTo>
                  <a:lnTo>
                    <a:pt x="69" y="10"/>
                  </a:lnTo>
                  <a:lnTo>
                    <a:pt x="55" y="24"/>
                  </a:lnTo>
                  <a:lnTo>
                    <a:pt x="45" y="36"/>
                  </a:lnTo>
                  <a:lnTo>
                    <a:pt x="40" y="41"/>
                  </a:lnTo>
                  <a:lnTo>
                    <a:pt x="35" y="42"/>
                  </a:lnTo>
                  <a:lnTo>
                    <a:pt x="30" y="44"/>
                  </a:lnTo>
                  <a:lnTo>
                    <a:pt x="26" y="44"/>
                  </a:lnTo>
                </a:path>
              </a:pathLst>
            </a:custGeom>
            <a:grpFill/>
            <a:ln w="12700" cap="flat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32947" name="Freeform 9"/>
            <p:cNvSpPr>
              <a:spLocks/>
            </p:cNvSpPr>
            <p:nvPr/>
          </p:nvSpPr>
          <p:spPr bwMode="auto">
            <a:xfrm>
              <a:off x="3206" y="2010"/>
              <a:ext cx="798" cy="744"/>
            </a:xfrm>
            <a:custGeom>
              <a:avLst/>
              <a:gdLst>
                <a:gd name="T0" fmla="*/ 717 w 798"/>
                <a:gd name="T1" fmla="*/ 396 h 744"/>
                <a:gd name="T2" fmla="*/ 671 w 798"/>
                <a:gd name="T3" fmla="*/ 411 h 744"/>
                <a:gd name="T4" fmla="*/ 688 w 798"/>
                <a:gd name="T5" fmla="*/ 419 h 744"/>
                <a:gd name="T6" fmla="*/ 729 w 798"/>
                <a:gd name="T7" fmla="*/ 423 h 744"/>
                <a:gd name="T8" fmla="*/ 735 w 798"/>
                <a:gd name="T9" fmla="*/ 485 h 744"/>
                <a:gd name="T10" fmla="*/ 677 w 798"/>
                <a:gd name="T11" fmla="*/ 544 h 744"/>
                <a:gd name="T12" fmla="*/ 646 w 798"/>
                <a:gd name="T13" fmla="*/ 577 h 744"/>
                <a:gd name="T14" fmla="*/ 682 w 798"/>
                <a:gd name="T15" fmla="*/ 557 h 744"/>
                <a:gd name="T16" fmla="*/ 678 w 798"/>
                <a:gd name="T17" fmla="*/ 599 h 744"/>
                <a:gd name="T18" fmla="*/ 692 w 798"/>
                <a:gd name="T19" fmla="*/ 620 h 744"/>
                <a:gd name="T20" fmla="*/ 710 w 798"/>
                <a:gd name="T21" fmla="*/ 609 h 744"/>
                <a:gd name="T22" fmla="*/ 746 w 798"/>
                <a:gd name="T23" fmla="*/ 598 h 744"/>
                <a:gd name="T24" fmla="*/ 796 w 798"/>
                <a:gd name="T25" fmla="*/ 653 h 744"/>
                <a:gd name="T26" fmla="*/ 754 w 798"/>
                <a:gd name="T27" fmla="*/ 680 h 744"/>
                <a:gd name="T28" fmla="*/ 717 w 798"/>
                <a:gd name="T29" fmla="*/ 643 h 744"/>
                <a:gd name="T30" fmla="*/ 687 w 798"/>
                <a:gd name="T31" fmla="*/ 672 h 744"/>
                <a:gd name="T32" fmla="*/ 724 w 798"/>
                <a:gd name="T33" fmla="*/ 689 h 744"/>
                <a:gd name="T34" fmla="*/ 697 w 798"/>
                <a:gd name="T35" fmla="*/ 744 h 744"/>
                <a:gd name="T36" fmla="*/ 633 w 798"/>
                <a:gd name="T37" fmla="*/ 729 h 744"/>
                <a:gd name="T38" fmla="*/ 584 w 798"/>
                <a:gd name="T39" fmla="*/ 729 h 744"/>
                <a:gd name="T40" fmla="*/ 544 w 798"/>
                <a:gd name="T41" fmla="*/ 689 h 744"/>
                <a:gd name="T42" fmla="*/ 446 w 798"/>
                <a:gd name="T43" fmla="*/ 609 h 744"/>
                <a:gd name="T44" fmla="*/ 422 w 798"/>
                <a:gd name="T45" fmla="*/ 638 h 744"/>
                <a:gd name="T46" fmla="*/ 390 w 798"/>
                <a:gd name="T47" fmla="*/ 663 h 744"/>
                <a:gd name="T48" fmla="*/ 330 w 798"/>
                <a:gd name="T49" fmla="*/ 645 h 744"/>
                <a:gd name="T50" fmla="*/ 274 w 798"/>
                <a:gd name="T51" fmla="*/ 615 h 744"/>
                <a:gd name="T52" fmla="*/ 229 w 798"/>
                <a:gd name="T53" fmla="*/ 517 h 744"/>
                <a:gd name="T54" fmla="*/ 222 w 798"/>
                <a:gd name="T55" fmla="*/ 490 h 744"/>
                <a:gd name="T56" fmla="*/ 161 w 798"/>
                <a:gd name="T57" fmla="*/ 480 h 744"/>
                <a:gd name="T58" fmla="*/ 119 w 798"/>
                <a:gd name="T59" fmla="*/ 414 h 744"/>
                <a:gd name="T60" fmla="*/ 99 w 798"/>
                <a:gd name="T61" fmla="*/ 360 h 744"/>
                <a:gd name="T62" fmla="*/ 76 w 798"/>
                <a:gd name="T63" fmla="*/ 284 h 744"/>
                <a:gd name="T64" fmla="*/ 12 w 798"/>
                <a:gd name="T65" fmla="*/ 252 h 744"/>
                <a:gd name="T66" fmla="*/ 60 w 798"/>
                <a:gd name="T67" fmla="*/ 138 h 744"/>
                <a:gd name="T68" fmla="*/ 87 w 798"/>
                <a:gd name="T69" fmla="*/ 74 h 744"/>
                <a:gd name="T70" fmla="*/ 145 w 798"/>
                <a:gd name="T71" fmla="*/ 35 h 744"/>
                <a:gd name="T72" fmla="*/ 172 w 798"/>
                <a:gd name="T73" fmla="*/ 12 h 744"/>
                <a:gd name="T74" fmla="*/ 200 w 798"/>
                <a:gd name="T75" fmla="*/ 5 h 744"/>
                <a:gd name="T76" fmla="*/ 215 w 798"/>
                <a:gd name="T77" fmla="*/ 30 h 744"/>
                <a:gd name="T78" fmla="*/ 214 w 798"/>
                <a:gd name="T79" fmla="*/ 131 h 744"/>
                <a:gd name="T80" fmla="*/ 219 w 798"/>
                <a:gd name="T81" fmla="*/ 204 h 744"/>
                <a:gd name="T82" fmla="*/ 204 w 798"/>
                <a:gd name="T83" fmla="*/ 261 h 744"/>
                <a:gd name="T84" fmla="*/ 257 w 798"/>
                <a:gd name="T85" fmla="*/ 273 h 744"/>
                <a:gd name="T86" fmla="*/ 244 w 798"/>
                <a:gd name="T87" fmla="*/ 322 h 744"/>
                <a:gd name="T88" fmla="*/ 321 w 798"/>
                <a:gd name="T89" fmla="*/ 369 h 744"/>
                <a:gd name="T90" fmla="*/ 380 w 798"/>
                <a:gd name="T91" fmla="*/ 355 h 744"/>
                <a:gd name="T92" fmla="*/ 395 w 798"/>
                <a:gd name="T93" fmla="*/ 303 h 744"/>
                <a:gd name="T94" fmla="*/ 367 w 798"/>
                <a:gd name="T95" fmla="*/ 296 h 744"/>
                <a:gd name="T96" fmla="*/ 390 w 798"/>
                <a:gd name="T97" fmla="*/ 204 h 744"/>
                <a:gd name="T98" fmla="*/ 411 w 798"/>
                <a:gd name="T99" fmla="*/ 237 h 744"/>
                <a:gd name="T100" fmla="*/ 459 w 798"/>
                <a:gd name="T101" fmla="*/ 296 h 744"/>
                <a:gd name="T102" fmla="*/ 503 w 798"/>
                <a:gd name="T103" fmla="*/ 338 h 744"/>
                <a:gd name="T104" fmla="*/ 503 w 798"/>
                <a:gd name="T105" fmla="*/ 386 h 744"/>
                <a:gd name="T106" fmla="*/ 533 w 798"/>
                <a:gd name="T107" fmla="*/ 379 h 744"/>
                <a:gd name="T108" fmla="*/ 535 w 798"/>
                <a:gd name="T109" fmla="*/ 461 h 744"/>
                <a:gd name="T110" fmla="*/ 574 w 798"/>
                <a:gd name="T111" fmla="*/ 443 h 744"/>
                <a:gd name="T112" fmla="*/ 641 w 798"/>
                <a:gd name="T113" fmla="*/ 352 h 744"/>
                <a:gd name="T114" fmla="*/ 705 w 798"/>
                <a:gd name="T115" fmla="*/ 327 h 74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798" h="744">
                  <a:moveTo>
                    <a:pt x="705" y="327"/>
                  </a:moveTo>
                  <a:lnTo>
                    <a:pt x="700" y="335"/>
                  </a:lnTo>
                  <a:lnTo>
                    <a:pt x="700" y="347"/>
                  </a:lnTo>
                  <a:lnTo>
                    <a:pt x="702" y="359"/>
                  </a:lnTo>
                  <a:lnTo>
                    <a:pt x="705" y="372"/>
                  </a:lnTo>
                  <a:lnTo>
                    <a:pt x="712" y="382"/>
                  </a:lnTo>
                  <a:lnTo>
                    <a:pt x="720" y="392"/>
                  </a:lnTo>
                  <a:lnTo>
                    <a:pt x="717" y="396"/>
                  </a:lnTo>
                  <a:lnTo>
                    <a:pt x="712" y="399"/>
                  </a:lnTo>
                  <a:lnTo>
                    <a:pt x="708" y="401"/>
                  </a:lnTo>
                  <a:lnTo>
                    <a:pt x="702" y="401"/>
                  </a:lnTo>
                  <a:lnTo>
                    <a:pt x="695" y="399"/>
                  </a:lnTo>
                  <a:lnTo>
                    <a:pt x="688" y="401"/>
                  </a:lnTo>
                  <a:lnTo>
                    <a:pt x="683" y="406"/>
                  </a:lnTo>
                  <a:lnTo>
                    <a:pt x="680" y="412"/>
                  </a:lnTo>
                  <a:lnTo>
                    <a:pt x="671" y="411"/>
                  </a:lnTo>
                  <a:lnTo>
                    <a:pt x="663" y="409"/>
                  </a:lnTo>
                  <a:lnTo>
                    <a:pt x="658" y="416"/>
                  </a:lnTo>
                  <a:lnTo>
                    <a:pt x="655" y="421"/>
                  </a:lnTo>
                  <a:lnTo>
                    <a:pt x="660" y="423"/>
                  </a:lnTo>
                  <a:lnTo>
                    <a:pt x="665" y="423"/>
                  </a:lnTo>
                  <a:lnTo>
                    <a:pt x="671" y="423"/>
                  </a:lnTo>
                  <a:lnTo>
                    <a:pt x="678" y="419"/>
                  </a:lnTo>
                  <a:lnTo>
                    <a:pt x="688" y="419"/>
                  </a:lnTo>
                  <a:lnTo>
                    <a:pt x="700" y="416"/>
                  </a:lnTo>
                  <a:lnTo>
                    <a:pt x="705" y="414"/>
                  </a:lnTo>
                  <a:lnTo>
                    <a:pt x="710" y="411"/>
                  </a:lnTo>
                  <a:lnTo>
                    <a:pt x="715" y="406"/>
                  </a:lnTo>
                  <a:lnTo>
                    <a:pt x="719" y="401"/>
                  </a:lnTo>
                  <a:lnTo>
                    <a:pt x="720" y="407"/>
                  </a:lnTo>
                  <a:lnTo>
                    <a:pt x="720" y="414"/>
                  </a:lnTo>
                  <a:lnTo>
                    <a:pt x="729" y="423"/>
                  </a:lnTo>
                  <a:lnTo>
                    <a:pt x="737" y="429"/>
                  </a:lnTo>
                  <a:lnTo>
                    <a:pt x="742" y="433"/>
                  </a:lnTo>
                  <a:lnTo>
                    <a:pt x="744" y="436"/>
                  </a:lnTo>
                  <a:lnTo>
                    <a:pt x="747" y="441"/>
                  </a:lnTo>
                  <a:lnTo>
                    <a:pt x="747" y="444"/>
                  </a:lnTo>
                  <a:lnTo>
                    <a:pt x="747" y="455"/>
                  </a:lnTo>
                  <a:lnTo>
                    <a:pt x="747" y="465"/>
                  </a:lnTo>
                  <a:lnTo>
                    <a:pt x="735" y="485"/>
                  </a:lnTo>
                  <a:lnTo>
                    <a:pt x="725" y="500"/>
                  </a:lnTo>
                  <a:lnTo>
                    <a:pt x="720" y="505"/>
                  </a:lnTo>
                  <a:lnTo>
                    <a:pt x="717" y="508"/>
                  </a:lnTo>
                  <a:lnTo>
                    <a:pt x="712" y="508"/>
                  </a:lnTo>
                  <a:lnTo>
                    <a:pt x="708" y="508"/>
                  </a:lnTo>
                  <a:lnTo>
                    <a:pt x="698" y="529"/>
                  </a:lnTo>
                  <a:lnTo>
                    <a:pt x="687" y="547"/>
                  </a:lnTo>
                  <a:lnTo>
                    <a:pt x="677" y="544"/>
                  </a:lnTo>
                  <a:lnTo>
                    <a:pt x="668" y="544"/>
                  </a:lnTo>
                  <a:lnTo>
                    <a:pt x="661" y="544"/>
                  </a:lnTo>
                  <a:lnTo>
                    <a:pt x="656" y="545"/>
                  </a:lnTo>
                  <a:lnTo>
                    <a:pt x="650" y="554"/>
                  </a:lnTo>
                  <a:lnTo>
                    <a:pt x="646" y="564"/>
                  </a:lnTo>
                  <a:lnTo>
                    <a:pt x="650" y="566"/>
                  </a:lnTo>
                  <a:lnTo>
                    <a:pt x="651" y="569"/>
                  </a:lnTo>
                  <a:lnTo>
                    <a:pt x="646" y="577"/>
                  </a:lnTo>
                  <a:lnTo>
                    <a:pt x="639" y="586"/>
                  </a:lnTo>
                  <a:lnTo>
                    <a:pt x="641" y="588"/>
                  </a:lnTo>
                  <a:lnTo>
                    <a:pt x="645" y="588"/>
                  </a:lnTo>
                  <a:lnTo>
                    <a:pt x="651" y="579"/>
                  </a:lnTo>
                  <a:lnTo>
                    <a:pt x="658" y="571"/>
                  </a:lnTo>
                  <a:lnTo>
                    <a:pt x="663" y="562"/>
                  </a:lnTo>
                  <a:lnTo>
                    <a:pt x="668" y="552"/>
                  </a:lnTo>
                  <a:lnTo>
                    <a:pt x="682" y="557"/>
                  </a:lnTo>
                  <a:lnTo>
                    <a:pt x="695" y="562"/>
                  </a:lnTo>
                  <a:lnTo>
                    <a:pt x="695" y="571"/>
                  </a:lnTo>
                  <a:lnTo>
                    <a:pt x="697" y="579"/>
                  </a:lnTo>
                  <a:lnTo>
                    <a:pt x="692" y="581"/>
                  </a:lnTo>
                  <a:lnTo>
                    <a:pt x="688" y="581"/>
                  </a:lnTo>
                  <a:lnTo>
                    <a:pt x="688" y="588"/>
                  </a:lnTo>
                  <a:lnTo>
                    <a:pt x="688" y="593"/>
                  </a:lnTo>
                  <a:lnTo>
                    <a:pt x="678" y="599"/>
                  </a:lnTo>
                  <a:lnTo>
                    <a:pt x="668" y="608"/>
                  </a:lnTo>
                  <a:lnTo>
                    <a:pt x="666" y="613"/>
                  </a:lnTo>
                  <a:lnTo>
                    <a:pt x="666" y="620"/>
                  </a:lnTo>
                  <a:lnTo>
                    <a:pt x="677" y="611"/>
                  </a:lnTo>
                  <a:lnTo>
                    <a:pt x="688" y="603"/>
                  </a:lnTo>
                  <a:lnTo>
                    <a:pt x="692" y="603"/>
                  </a:lnTo>
                  <a:lnTo>
                    <a:pt x="697" y="604"/>
                  </a:lnTo>
                  <a:lnTo>
                    <a:pt x="692" y="620"/>
                  </a:lnTo>
                  <a:lnTo>
                    <a:pt x="685" y="635"/>
                  </a:lnTo>
                  <a:lnTo>
                    <a:pt x="690" y="635"/>
                  </a:lnTo>
                  <a:lnTo>
                    <a:pt x="695" y="635"/>
                  </a:lnTo>
                  <a:lnTo>
                    <a:pt x="698" y="626"/>
                  </a:lnTo>
                  <a:lnTo>
                    <a:pt x="700" y="618"/>
                  </a:lnTo>
                  <a:lnTo>
                    <a:pt x="705" y="620"/>
                  </a:lnTo>
                  <a:lnTo>
                    <a:pt x="708" y="621"/>
                  </a:lnTo>
                  <a:lnTo>
                    <a:pt x="710" y="609"/>
                  </a:lnTo>
                  <a:lnTo>
                    <a:pt x="710" y="596"/>
                  </a:lnTo>
                  <a:lnTo>
                    <a:pt x="720" y="598"/>
                  </a:lnTo>
                  <a:lnTo>
                    <a:pt x="730" y="598"/>
                  </a:lnTo>
                  <a:lnTo>
                    <a:pt x="730" y="593"/>
                  </a:lnTo>
                  <a:lnTo>
                    <a:pt x="732" y="591"/>
                  </a:lnTo>
                  <a:lnTo>
                    <a:pt x="735" y="589"/>
                  </a:lnTo>
                  <a:lnTo>
                    <a:pt x="740" y="591"/>
                  </a:lnTo>
                  <a:lnTo>
                    <a:pt x="746" y="598"/>
                  </a:lnTo>
                  <a:lnTo>
                    <a:pt x="749" y="603"/>
                  </a:lnTo>
                  <a:lnTo>
                    <a:pt x="746" y="613"/>
                  </a:lnTo>
                  <a:lnTo>
                    <a:pt x="740" y="621"/>
                  </a:lnTo>
                  <a:lnTo>
                    <a:pt x="754" y="628"/>
                  </a:lnTo>
                  <a:lnTo>
                    <a:pt x="769" y="635"/>
                  </a:lnTo>
                  <a:lnTo>
                    <a:pt x="783" y="641"/>
                  </a:lnTo>
                  <a:lnTo>
                    <a:pt x="796" y="650"/>
                  </a:lnTo>
                  <a:lnTo>
                    <a:pt x="796" y="653"/>
                  </a:lnTo>
                  <a:lnTo>
                    <a:pt x="798" y="658"/>
                  </a:lnTo>
                  <a:lnTo>
                    <a:pt x="786" y="658"/>
                  </a:lnTo>
                  <a:lnTo>
                    <a:pt x="774" y="658"/>
                  </a:lnTo>
                  <a:lnTo>
                    <a:pt x="771" y="665"/>
                  </a:lnTo>
                  <a:lnTo>
                    <a:pt x="767" y="670"/>
                  </a:lnTo>
                  <a:lnTo>
                    <a:pt x="764" y="675"/>
                  </a:lnTo>
                  <a:lnTo>
                    <a:pt x="759" y="677"/>
                  </a:lnTo>
                  <a:lnTo>
                    <a:pt x="754" y="680"/>
                  </a:lnTo>
                  <a:lnTo>
                    <a:pt x="749" y="680"/>
                  </a:lnTo>
                  <a:lnTo>
                    <a:pt x="744" y="680"/>
                  </a:lnTo>
                  <a:lnTo>
                    <a:pt x="737" y="679"/>
                  </a:lnTo>
                  <a:lnTo>
                    <a:pt x="729" y="668"/>
                  </a:lnTo>
                  <a:lnTo>
                    <a:pt x="720" y="658"/>
                  </a:lnTo>
                  <a:lnTo>
                    <a:pt x="719" y="653"/>
                  </a:lnTo>
                  <a:lnTo>
                    <a:pt x="717" y="648"/>
                  </a:lnTo>
                  <a:lnTo>
                    <a:pt x="717" y="643"/>
                  </a:lnTo>
                  <a:lnTo>
                    <a:pt x="719" y="638"/>
                  </a:lnTo>
                  <a:lnTo>
                    <a:pt x="710" y="640"/>
                  </a:lnTo>
                  <a:lnTo>
                    <a:pt x="703" y="643"/>
                  </a:lnTo>
                  <a:lnTo>
                    <a:pt x="702" y="648"/>
                  </a:lnTo>
                  <a:lnTo>
                    <a:pt x="700" y="653"/>
                  </a:lnTo>
                  <a:lnTo>
                    <a:pt x="693" y="660"/>
                  </a:lnTo>
                  <a:lnTo>
                    <a:pt x="687" y="667"/>
                  </a:lnTo>
                  <a:lnTo>
                    <a:pt x="687" y="672"/>
                  </a:lnTo>
                  <a:lnTo>
                    <a:pt x="690" y="677"/>
                  </a:lnTo>
                  <a:lnTo>
                    <a:pt x="693" y="679"/>
                  </a:lnTo>
                  <a:lnTo>
                    <a:pt x="700" y="677"/>
                  </a:lnTo>
                  <a:lnTo>
                    <a:pt x="702" y="672"/>
                  </a:lnTo>
                  <a:lnTo>
                    <a:pt x="702" y="665"/>
                  </a:lnTo>
                  <a:lnTo>
                    <a:pt x="710" y="667"/>
                  </a:lnTo>
                  <a:lnTo>
                    <a:pt x="719" y="668"/>
                  </a:lnTo>
                  <a:lnTo>
                    <a:pt x="724" y="689"/>
                  </a:lnTo>
                  <a:lnTo>
                    <a:pt x="730" y="709"/>
                  </a:lnTo>
                  <a:lnTo>
                    <a:pt x="724" y="716"/>
                  </a:lnTo>
                  <a:lnTo>
                    <a:pt x="717" y="722"/>
                  </a:lnTo>
                  <a:lnTo>
                    <a:pt x="714" y="731"/>
                  </a:lnTo>
                  <a:lnTo>
                    <a:pt x="708" y="739"/>
                  </a:lnTo>
                  <a:lnTo>
                    <a:pt x="705" y="741"/>
                  </a:lnTo>
                  <a:lnTo>
                    <a:pt x="702" y="743"/>
                  </a:lnTo>
                  <a:lnTo>
                    <a:pt x="697" y="744"/>
                  </a:lnTo>
                  <a:lnTo>
                    <a:pt x="692" y="743"/>
                  </a:lnTo>
                  <a:lnTo>
                    <a:pt x="677" y="741"/>
                  </a:lnTo>
                  <a:lnTo>
                    <a:pt x="660" y="739"/>
                  </a:lnTo>
                  <a:lnTo>
                    <a:pt x="655" y="727"/>
                  </a:lnTo>
                  <a:lnTo>
                    <a:pt x="648" y="714"/>
                  </a:lnTo>
                  <a:lnTo>
                    <a:pt x="641" y="719"/>
                  </a:lnTo>
                  <a:lnTo>
                    <a:pt x="636" y="724"/>
                  </a:lnTo>
                  <a:lnTo>
                    <a:pt x="633" y="729"/>
                  </a:lnTo>
                  <a:lnTo>
                    <a:pt x="631" y="736"/>
                  </a:lnTo>
                  <a:lnTo>
                    <a:pt x="618" y="737"/>
                  </a:lnTo>
                  <a:lnTo>
                    <a:pt x="606" y="737"/>
                  </a:lnTo>
                  <a:lnTo>
                    <a:pt x="602" y="736"/>
                  </a:lnTo>
                  <a:lnTo>
                    <a:pt x="597" y="734"/>
                  </a:lnTo>
                  <a:lnTo>
                    <a:pt x="594" y="731"/>
                  </a:lnTo>
                  <a:lnTo>
                    <a:pt x="591" y="726"/>
                  </a:lnTo>
                  <a:lnTo>
                    <a:pt x="584" y="729"/>
                  </a:lnTo>
                  <a:lnTo>
                    <a:pt x="577" y="731"/>
                  </a:lnTo>
                  <a:lnTo>
                    <a:pt x="572" y="731"/>
                  </a:lnTo>
                  <a:lnTo>
                    <a:pt x="567" y="727"/>
                  </a:lnTo>
                  <a:lnTo>
                    <a:pt x="562" y="722"/>
                  </a:lnTo>
                  <a:lnTo>
                    <a:pt x="559" y="716"/>
                  </a:lnTo>
                  <a:lnTo>
                    <a:pt x="555" y="707"/>
                  </a:lnTo>
                  <a:lnTo>
                    <a:pt x="552" y="695"/>
                  </a:lnTo>
                  <a:lnTo>
                    <a:pt x="544" y="689"/>
                  </a:lnTo>
                  <a:lnTo>
                    <a:pt x="532" y="682"/>
                  </a:lnTo>
                  <a:lnTo>
                    <a:pt x="520" y="677"/>
                  </a:lnTo>
                  <a:lnTo>
                    <a:pt x="506" y="672"/>
                  </a:lnTo>
                  <a:lnTo>
                    <a:pt x="478" y="665"/>
                  </a:lnTo>
                  <a:lnTo>
                    <a:pt x="449" y="657"/>
                  </a:lnTo>
                  <a:lnTo>
                    <a:pt x="451" y="638"/>
                  </a:lnTo>
                  <a:lnTo>
                    <a:pt x="451" y="620"/>
                  </a:lnTo>
                  <a:lnTo>
                    <a:pt x="446" y="609"/>
                  </a:lnTo>
                  <a:lnTo>
                    <a:pt x="441" y="603"/>
                  </a:lnTo>
                  <a:lnTo>
                    <a:pt x="436" y="599"/>
                  </a:lnTo>
                  <a:lnTo>
                    <a:pt x="431" y="599"/>
                  </a:lnTo>
                  <a:lnTo>
                    <a:pt x="432" y="618"/>
                  </a:lnTo>
                  <a:lnTo>
                    <a:pt x="432" y="636"/>
                  </a:lnTo>
                  <a:lnTo>
                    <a:pt x="427" y="631"/>
                  </a:lnTo>
                  <a:lnTo>
                    <a:pt x="422" y="626"/>
                  </a:lnTo>
                  <a:lnTo>
                    <a:pt x="422" y="638"/>
                  </a:lnTo>
                  <a:lnTo>
                    <a:pt x="421" y="648"/>
                  </a:lnTo>
                  <a:lnTo>
                    <a:pt x="414" y="643"/>
                  </a:lnTo>
                  <a:lnTo>
                    <a:pt x="405" y="638"/>
                  </a:lnTo>
                  <a:lnTo>
                    <a:pt x="405" y="643"/>
                  </a:lnTo>
                  <a:lnTo>
                    <a:pt x="407" y="650"/>
                  </a:lnTo>
                  <a:lnTo>
                    <a:pt x="404" y="655"/>
                  </a:lnTo>
                  <a:lnTo>
                    <a:pt x="400" y="660"/>
                  </a:lnTo>
                  <a:lnTo>
                    <a:pt x="390" y="663"/>
                  </a:lnTo>
                  <a:lnTo>
                    <a:pt x="380" y="665"/>
                  </a:lnTo>
                  <a:lnTo>
                    <a:pt x="372" y="665"/>
                  </a:lnTo>
                  <a:lnTo>
                    <a:pt x="363" y="665"/>
                  </a:lnTo>
                  <a:lnTo>
                    <a:pt x="355" y="663"/>
                  </a:lnTo>
                  <a:lnTo>
                    <a:pt x="348" y="660"/>
                  </a:lnTo>
                  <a:lnTo>
                    <a:pt x="342" y="657"/>
                  </a:lnTo>
                  <a:lnTo>
                    <a:pt x="335" y="652"/>
                  </a:lnTo>
                  <a:lnTo>
                    <a:pt x="330" y="645"/>
                  </a:lnTo>
                  <a:lnTo>
                    <a:pt x="323" y="640"/>
                  </a:lnTo>
                  <a:lnTo>
                    <a:pt x="315" y="636"/>
                  </a:lnTo>
                  <a:lnTo>
                    <a:pt x="304" y="631"/>
                  </a:lnTo>
                  <a:lnTo>
                    <a:pt x="296" y="633"/>
                  </a:lnTo>
                  <a:lnTo>
                    <a:pt x="288" y="631"/>
                  </a:lnTo>
                  <a:lnTo>
                    <a:pt x="283" y="628"/>
                  </a:lnTo>
                  <a:lnTo>
                    <a:pt x="279" y="625"/>
                  </a:lnTo>
                  <a:lnTo>
                    <a:pt x="274" y="615"/>
                  </a:lnTo>
                  <a:lnTo>
                    <a:pt x="273" y="603"/>
                  </a:lnTo>
                  <a:lnTo>
                    <a:pt x="273" y="583"/>
                  </a:lnTo>
                  <a:lnTo>
                    <a:pt x="274" y="562"/>
                  </a:lnTo>
                  <a:lnTo>
                    <a:pt x="264" y="556"/>
                  </a:lnTo>
                  <a:lnTo>
                    <a:pt x="254" y="549"/>
                  </a:lnTo>
                  <a:lnTo>
                    <a:pt x="249" y="540"/>
                  </a:lnTo>
                  <a:lnTo>
                    <a:pt x="244" y="532"/>
                  </a:lnTo>
                  <a:lnTo>
                    <a:pt x="229" y="517"/>
                  </a:lnTo>
                  <a:lnTo>
                    <a:pt x="214" y="502"/>
                  </a:lnTo>
                  <a:lnTo>
                    <a:pt x="214" y="500"/>
                  </a:lnTo>
                  <a:lnTo>
                    <a:pt x="214" y="497"/>
                  </a:lnTo>
                  <a:lnTo>
                    <a:pt x="224" y="503"/>
                  </a:lnTo>
                  <a:lnTo>
                    <a:pt x="234" y="512"/>
                  </a:lnTo>
                  <a:lnTo>
                    <a:pt x="230" y="503"/>
                  </a:lnTo>
                  <a:lnTo>
                    <a:pt x="227" y="495"/>
                  </a:lnTo>
                  <a:lnTo>
                    <a:pt x="222" y="490"/>
                  </a:lnTo>
                  <a:lnTo>
                    <a:pt x="217" y="485"/>
                  </a:lnTo>
                  <a:lnTo>
                    <a:pt x="217" y="478"/>
                  </a:lnTo>
                  <a:lnTo>
                    <a:pt x="215" y="473"/>
                  </a:lnTo>
                  <a:lnTo>
                    <a:pt x="210" y="476"/>
                  </a:lnTo>
                  <a:lnTo>
                    <a:pt x="205" y="480"/>
                  </a:lnTo>
                  <a:lnTo>
                    <a:pt x="187" y="483"/>
                  </a:lnTo>
                  <a:lnTo>
                    <a:pt x="170" y="481"/>
                  </a:lnTo>
                  <a:lnTo>
                    <a:pt x="161" y="480"/>
                  </a:lnTo>
                  <a:lnTo>
                    <a:pt x="155" y="478"/>
                  </a:lnTo>
                  <a:lnTo>
                    <a:pt x="148" y="475"/>
                  </a:lnTo>
                  <a:lnTo>
                    <a:pt x="141" y="471"/>
                  </a:lnTo>
                  <a:lnTo>
                    <a:pt x="128" y="470"/>
                  </a:lnTo>
                  <a:lnTo>
                    <a:pt x="113" y="468"/>
                  </a:lnTo>
                  <a:lnTo>
                    <a:pt x="116" y="451"/>
                  </a:lnTo>
                  <a:lnTo>
                    <a:pt x="118" y="433"/>
                  </a:lnTo>
                  <a:lnTo>
                    <a:pt x="119" y="414"/>
                  </a:lnTo>
                  <a:lnTo>
                    <a:pt x="119" y="397"/>
                  </a:lnTo>
                  <a:lnTo>
                    <a:pt x="119" y="389"/>
                  </a:lnTo>
                  <a:lnTo>
                    <a:pt x="116" y="380"/>
                  </a:lnTo>
                  <a:lnTo>
                    <a:pt x="113" y="374"/>
                  </a:lnTo>
                  <a:lnTo>
                    <a:pt x="108" y="369"/>
                  </a:lnTo>
                  <a:lnTo>
                    <a:pt x="104" y="367"/>
                  </a:lnTo>
                  <a:lnTo>
                    <a:pt x="101" y="367"/>
                  </a:lnTo>
                  <a:lnTo>
                    <a:pt x="99" y="360"/>
                  </a:lnTo>
                  <a:lnTo>
                    <a:pt x="101" y="347"/>
                  </a:lnTo>
                  <a:lnTo>
                    <a:pt x="103" y="333"/>
                  </a:lnTo>
                  <a:lnTo>
                    <a:pt x="101" y="320"/>
                  </a:lnTo>
                  <a:lnTo>
                    <a:pt x="99" y="311"/>
                  </a:lnTo>
                  <a:lnTo>
                    <a:pt x="96" y="305"/>
                  </a:lnTo>
                  <a:lnTo>
                    <a:pt x="91" y="298"/>
                  </a:lnTo>
                  <a:lnTo>
                    <a:pt x="82" y="291"/>
                  </a:lnTo>
                  <a:lnTo>
                    <a:pt x="76" y="284"/>
                  </a:lnTo>
                  <a:lnTo>
                    <a:pt x="71" y="279"/>
                  </a:lnTo>
                  <a:lnTo>
                    <a:pt x="64" y="274"/>
                  </a:lnTo>
                  <a:lnTo>
                    <a:pt x="57" y="271"/>
                  </a:lnTo>
                  <a:lnTo>
                    <a:pt x="49" y="268"/>
                  </a:lnTo>
                  <a:lnTo>
                    <a:pt x="40" y="268"/>
                  </a:lnTo>
                  <a:lnTo>
                    <a:pt x="32" y="268"/>
                  </a:lnTo>
                  <a:lnTo>
                    <a:pt x="22" y="269"/>
                  </a:lnTo>
                  <a:lnTo>
                    <a:pt x="12" y="252"/>
                  </a:lnTo>
                  <a:lnTo>
                    <a:pt x="2" y="237"/>
                  </a:lnTo>
                  <a:lnTo>
                    <a:pt x="0" y="227"/>
                  </a:lnTo>
                  <a:lnTo>
                    <a:pt x="2" y="217"/>
                  </a:lnTo>
                  <a:lnTo>
                    <a:pt x="5" y="210"/>
                  </a:lnTo>
                  <a:lnTo>
                    <a:pt x="12" y="204"/>
                  </a:lnTo>
                  <a:lnTo>
                    <a:pt x="32" y="178"/>
                  </a:lnTo>
                  <a:lnTo>
                    <a:pt x="50" y="160"/>
                  </a:lnTo>
                  <a:lnTo>
                    <a:pt x="60" y="138"/>
                  </a:lnTo>
                  <a:lnTo>
                    <a:pt x="69" y="118"/>
                  </a:lnTo>
                  <a:lnTo>
                    <a:pt x="71" y="104"/>
                  </a:lnTo>
                  <a:lnTo>
                    <a:pt x="74" y="89"/>
                  </a:lnTo>
                  <a:lnTo>
                    <a:pt x="74" y="82"/>
                  </a:lnTo>
                  <a:lnTo>
                    <a:pt x="76" y="77"/>
                  </a:lnTo>
                  <a:lnTo>
                    <a:pt x="79" y="74"/>
                  </a:lnTo>
                  <a:lnTo>
                    <a:pt x="82" y="74"/>
                  </a:lnTo>
                  <a:lnTo>
                    <a:pt x="87" y="74"/>
                  </a:lnTo>
                  <a:lnTo>
                    <a:pt x="94" y="76"/>
                  </a:lnTo>
                  <a:lnTo>
                    <a:pt x="103" y="74"/>
                  </a:lnTo>
                  <a:lnTo>
                    <a:pt x="113" y="71"/>
                  </a:lnTo>
                  <a:lnTo>
                    <a:pt x="121" y="66"/>
                  </a:lnTo>
                  <a:lnTo>
                    <a:pt x="128" y="60"/>
                  </a:lnTo>
                  <a:lnTo>
                    <a:pt x="134" y="54"/>
                  </a:lnTo>
                  <a:lnTo>
                    <a:pt x="140" y="45"/>
                  </a:lnTo>
                  <a:lnTo>
                    <a:pt x="145" y="35"/>
                  </a:lnTo>
                  <a:lnTo>
                    <a:pt x="150" y="25"/>
                  </a:lnTo>
                  <a:lnTo>
                    <a:pt x="150" y="12"/>
                  </a:lnTo>
                  <a:lnTo>
                    <a:pt x="153" y="5"/>
                  </a:lnTo>
                  <a:lnTo>
                    <a:pt x="155" y="3"/>
                  </a:lnTo>
                  <a:lnTo>
                    <a:pt x="158" y="2"/>
                  </a:lnTo>
                  <a:lnTo>
                    <a:pt x="161" y="3"/>
                  </a:lnTo>
                  <a:lnTo>
                    <a:pt x="166" y="7"/>
                  </a:lnTo>
                  <a:lnTo>
                    <a:pt x="172" y="12"/>
                  </a:lnTo>
                  <a:lnTo>
                    <a:pt x="177" y="15"/>
                  </a:lnTo>
                  <a:lnTo>
                    <a:pt x="178" y="15"/>
                  </a:lnTo>
                  <a:lnTo>
                    <a:pt x="182" y="13"/>
                  </a:lnTo>
                  <a:lnTo>
                    <a:pt x="183" y="12"/>
                  </a:lnTo>
                  <a:lnTo>
                    <a:pt x="187" y="8"/>
                  </a:lnTo>
                  <a:lnTo>
                    <a:pt x="188" y="5"/>
                  </a:lnTo>
                  <a:lnTo>
                    <a:pt x="190" y="0"/>
                  </a:lnTo>
                  <a:lnTo>
                    <a:pt x="200" y="5"/>
                  </a:lnTo>
                  <a:lnTo>
                    <a:pt x="210" y="13"/>
                  </a:lnTo>
                  <a:lnTo>
                    <a:pt x="215" y="15"/>
                  </a:lnTo>
                  <a:lnTo>
                    <a:pt x="219" y="17"/>
                  </a:lnTo>
                  <a:lnTo>
                    <a:pt x="220" y="20"/>
                  </a:lnTo>
                  <a:lnTo>
                    <a:pt x="222" y="23"/>
                  </a:lnTo>
                  <a:lnTo>
                    <a:pt x="220" y="25"/>
                  </a:lnTo>
                  <a:lnTo>
                    <a:pt x="219" y="28"/>
                  </a:lnTo>
                  <a:lnTo>
                    <a:pt x="215" y="30"/>
                  </a:lnTo>
                  <a:lnTo>
                    <a:pt x="212" y="32"/>
                  </a:lnTo>
                  <a:lnTo>
                    <a:pt x="210" y="49"/>
                  </a:lnTo>
                  <a:lnTo>
                    <a:pt x="212" y="67"/>
                  </a:lnTo>
                  <a:lnTo>
                    <a:pt x="214" y="87"/>
                  </a:lnTo>
                  <a:lnTo>
                    <a:pt x="217" y="108"/>
                  </a:lnTo>
                  <a:lnTo>
                    <a:pt x="215" y="116"/>
                  </a:lnTo>
                  <a:lnTo>
                    <a:pt x="214" y="126"/>
                  </a:lnTo>
                  <a:lnTo>
                    <a:pt x="214" y="131"/>
                  </a:lnTo>
                  <a:lnTo>
                    <a:pt x="214" y="136"/>
                  </a:lnTo>
                  <a:lnTo>
                    <a:pt x="217" y="141"/>
                  </a:lnTo>
                  <a:lnTo>
                    <a:pt x="220" y="148"/>
                  </a:lnTo>
                  <a:lnTo>
                    <a:pt x="224" y="162"/>
                  </a:lnTo>
                  <a:lnTo>
                    <a:pt x="224" y="173"/>
                  </a:lnTo>
                  <a:lnTo>
                    <a:pt x="224" y="185"/>
                  </a:lnTo>
                  <a:lnTo>
                    <a:pt x="222" y="195"/>
                  </a:lnTo>
                  <a:lnTo>
                    <a:pt x="219" y="204"/>
                  </a:lnTo>
                  <a:lnTo>
                    <a:pt x="215" y="212"/>
                  </a:lnTo>
                  <a:lnTo>
                    <a:pt x="210" y="219"/>
                  </a:lnTo>
                  <a:lnTo>
                    <a:pt x="204" y="226"/>
                  </a:lnTo>
                  <a:lnTo>
                    <a:pt x="200" y="239"/>
                  </a:lnTo>
                  <a:lnTo>
                    <a:pt x="198" y="247"/>
                  </a:lnTo>
                  <a:lnTo>
                    <a:pt x="198" y="254"/>
                  </a:lnTo>
                  <a:lnTo>
                    <a:pt x="200" y="259"/>
                  </a:lnTo>
                  <a:lnTo>
                    <a:pt x="204" y="261"/>
                  </a:lnTo>
                  <a:lnTo>
                    <a:pt x="207" y="259"/>
                  </a:lnTo>
                  <a:lnTo>
                    <a:pt x="212" y="259"/>
                  </a:lnTo>
                  <a:lnTo>
                    <a:pt x="217" y="256"/>
                  </a:lnTo>
                  <a:lnTo>
                    <a:pt x="230" y="258"/>
                  </a:lnTo>
                  <a:lnTo>
                    <a:pt x="241" y="261"/>
                  </a:lnTo>
                  <a:lnTo>
                    <a:pt x="247" y="264"/>
                  </a:lnTo>
                  <a:lnTo>
                    <a:pt x="254" y="268"/>
                  </a:lnTo>
                  <a:lnTo>
                    <a:pt x="257" y="273"/>
                  </a:lnTo>
                  <a:lnTo>
                    <a:pt x="257" y="278"/>
                  </a:lnTo>
                  <a:lnTo>
                    <a:pt x="256" y="284"/>
                  </a:lnTo>
                  <a:lnTo>
                    <a:pt x="252" y="293"/>
                  </a:lnTo>
                  <a:lnTo>
                    <a:pt x="247" y="301"/>
                  </a:lnTo>
                  <a:lnTo>
                    <a:pt x="242" y="310"/>
                  </a:lnTo>
                  <a:lnTo>
                    <a:pt x="241" y="315"/>
                  </a:lnTo>
                  <a:lnTo>
                    <a:pt x="242" y="320"/>
                  </a:lnTo>
                  <a:lnTo>
                    <a:pt x="244" y="322"/>
                  </a:lnTo>
                  <a:lnTo>
                    <a:pt x="249" y="323"/>
                  </a:lnTo>
                  <a:lnTo>
                    <a:pt x="254" y="322"/>
                  </a:lnTo>
                  <a:lnTo>
                    <a:pt x="262" y="322"/>
                  </a:lnTo>
                  <a:lnTo>
                    <a:pt x="279" y="332"/>
                  </a:lnTo>
                  <a:lnTo>
                    <a:pt x="296" y="343"/>
                  </a:lnTo>
                  <a:lnTo>
                    <a:pt x="304" y="352"/>
                  </a:lnTo>
                  <a:lnTo>
                    <a:pt x="313" y="360"/>
                  </a:lnTo>
                  <a:lnTo>
                    <a:pt x="321" y="369"/>
                  </a:lnTo>
                  <a:lnTo>
                    <a:pt x="328" y="380"/>
                  </a:lnTo>
                  <a:lnTo>
                    <a:pt x="333" y="386"/>
                  </a:lnTo>
                  <a:lnTo>
                    <a:pt x="338" y="389"/>
                  </a:lnTo>
                  <a:lnTo>
                    <a:pt x="343" y="391"/>
                  </a:lnTo>
                  <a:lnTo>
                    <a:pt x="347" y="391"/>
                  </a:lnTo>
                  <a:lnTo>
                    <a:pt x="353" y="387"/>
                  </a:lnTo>
                  <a:lnTo>
                    <a:pt x="358" y="380"/>
                  </a:lnTo>
                  <a:lnTo>
                    <a:pt x="380" y="355"/>
                  </a:lnTo>
                  <a:lnTo>
                    <a:pt x="400" y="330"/>
                  </a:lnTo>
                  <a:lnTo>
                    <a:pt x="405" y="323"/>
                  </a:lnTo>
                  <a:lnTo>
                    <a:pt x="409" y="316"/>
                  </a:lnTo>
                  <a:lnTo>
                    <a:pt x="411" y="310"/>
                  </a:lnTo>
                  <a:lnTo>
                    <a:pt x="411" y="305"/>
                  </a:lnTo>
                  <a:lnTo>
                    <a:pt x="407" y="301"/>
                  </a:lnTo>
                  <a:lnTo>
                    <a:pt x="402" y="301"/>
                  </a:lnTo>
                  <a:lnTo>
                    <a:pt x="395" y="303"/>
                  </a:lnTo>
                  <a:lnTo>
                    <a:pt x="387" y="308"/>
                  </a:lnTo>
                  <a:lnTo>
                    <a:pt x="380" y="311"/>
                  </a:lnTo>
                  <a:lnTo>
                    <a:pt x="375" y="313"/>
                  </a:lnTo>
                  <a:lnTo>
                    <a:pt x="372" y="313"/>
                  </a:lnTo>
                  <a:lnTo>
                    <a:pt x="368" y="311"/>
                  </a:lnTo>
                  <a:lnTo>
                    <a:pt x="367" y="308"/>
                  </a:lnTo>
                  <a:lnTo>
                    <a:pt x="367" y="303"/>
                  </a:lnTo>
                  <a:lnTo>
                    <a:pt x="367" y="296"/>
                  </a:lnTo>
                  <a:lnTo>
                    <a:pt x="368" y="288"/>
                  </a:lnTo>
                  <a:lnTo>
                    <a:pt x="370" y="263"/>
                  </a:lnTo>
                  <a:lnTo>
                    <a:pt x="372" y="239"/>
                  </a:lnTo>
                  <a:lnTo>
                    <a:pt x="374" y="227"/>
                  </a:lnTo>
                  <a:lnTo>
                    <a:pt x="377" y="219"/>
                  </a:lnTo>
                  <a:lnTo>
                    <a:pt x="382" y="214"/>
                  </a:lnTo>
                  <a:lnTo>
                    <a:pt x="389" y="210"/>
                  </a:lnTo>
                  <a:lnTo>
                    <a:pt x="390" y="204"/>
                  </a:lnTo>
                  <a:lnTo>
                    <a:pt x="394" y="199"/>
                  </a:lnTo>
                  <a:lnTo>
                    <a:pt x="395" y="197"/>
                  </a:lnTo>
                  <a:lnTo>
                    <a:pt x="399" y="195"/>
                  </a:lnTo>
                  <a:lnTo>
                    <a:pt x="400" y="199"/>
                  </a:lnTo>
                  <a:lnTo>
                    <a:pt x="404" y="202"/>
                  </a:lnTo>
                  <a:lnTo>
                    <a:pt x="405" y="210"/>
                  </a:lnTo>
                  <a:lnTo>
                    <a:pt x="409" y="219"/>
                  </a:lnTo>
                  <a:lnTo>
                    <a:pt x="411" y="237"/>
                  </a:lnTo>
                  <a:lnTo>
                    <a:pt x="414" y="252"/>
                  </a:lnTo>
                  <a:lnTo>
                    <a:pt x="417" y="264"/>
                  </a:lnTo>
                  <a:lnTo>
                    <a:pt x="424" y="274"/>
                  </a:lnTo>
                  <a:lnTo>
                    <a:pt x="431" y="281"/>
                  </a:lnTo>
                  <a:lnTo>
                    <a:pt x="437" y="286"/>
                  </a:lnTo>
                  <a:lnTo>
                    <a:pt x="448" y="288"/>
                  </a:lnTo>
                  <a:lnTo>
                    <a:pt x="458" y="288"/>
                  </a:lnTo>
                  <a:lnTo>
                    <a:pt x="459" y="296"/>
                  </a:lnTo>
                  <a:lnTo>
                    <a:pt x="464" y="305"/>
                  </a:lnTo>
                  <a:lnTo>
                    <a:pt x="469" y="308"/>
                  </a:lnTo>
                  <a:lnTo>
                    <a:pt x="475" y="310"/>
                  </a:lnTo>
                  <a:lnTo>
                    <a:pt x="481" y="311"/>
                  </a:lnTo>
                  <a:lnTo>
                    <a:pt x="490" y="313"/>
                  </a:lnTo>
                  <a:lnTo>
                    <a:pt x="495" y="325"/>
                  </a:lnTo>
                  <a:lnTo>
                    <a:pt x="500" y="335"/>
                  </a:lnTo>
                  <a:lnTo>
                    <a:pt x="503" y="338"/>
                  </a:lnTo>
                  <a:lnTo>
                    <a:pt x="506" y="342"/>
                  </a:lnTo>
                  <a:lnTo>
                    <a:pt x="510" y="345"/>
                  </a:lnTo>
                  <a:lnTo>
                    <a:pt x="513" y="347"/>
                  </a:lnTo>
                  <a:lnTo>
                    <a:pt x="510" y="359"/>
                  </a:lnTo>
                  <a:lnTo>
                    <a:pt x="505" y="370"/>
                  </a:lnTo>
                  <a:lnTo>
                    <a:pt x="503" y="377"/>
                  </a:lnTo>
                  <a:lnTo>
                    <a:pt x="503" y="382"/>
                  </a:lnTo>
                  <a:lnTo>
                    <a:pt x="503" y="386"/>
                  </a:lnTo>
                  <a:lnTo>
                    <a:pt x="505" y="389"/>
                  </a:lnTo>
                  <a:lnTo>
                    <a:pt x="508" y="389"/>
                  </a:lnTo>
                  <a:lnTo>
                    <a:pt x="512" y="389"/>
                  </a:lnTo>
                  <a:lnTo>
                    <a:pt x="517" y="389"/>
                  </a:lnTo>
                  <a:lnTo>
                    <a:pt x="522" y="386"/>
                  </a:lnTo>
                  <a:lnTo>
                    <a:pt x="527" y="382"/>
                  </a:lnTo>
                  <a:lnTo>
                    <a:pt x="530" y="379"/>
                  </a:lnTo>
                  <a:lnTo>
                    <a:pt x="533" y="379"/>
                  </a:lnTo>
                  <a:lnTo>
                    <a:pt x="535" y="380"/>
                  </a:lnTo>
                  <a:lnTo>
                    <a:pt x="537" y="384"/>
                  </a:lnTo>
                  <a:lnTo>
                    <a:pt x="538" y="389"/>
                  </a:lnTo>
                  <a:lnTo>
                    <a:pt x="537" y="394"/>
                  </a:lnTo>
                  <a:lnTo>
                    <a:pt x="537" y="402"/>
                  </a:lnTo>
                  <a:lnTo>
                    <a:pt x="535" y="426"/>
                  </a:lnTo>
                  <a:lnTo>
                    <a:pt x="532" y="451"/>
                  </a:lnTo>
                  <a:lnTo>
                    <a:pt x="535" y="461"/>
                  </a:lnTo>
                  <a:lnTo>
                    <a:pt x="538" y="468"/>
                  </a:lnTo>
                  <a:lnTo>
                    <a:pt x="542" y="473"/>
                  </a:lnTo>
                  <a:lnTo>
                    <a:pt x="545" y="475"/>
                  </a:lnTo>
                  <a:lnTo>
                    <a:pt x="550" y="475"/>
                  </a:lnTo>
                  <a:lnTo>
                    <a:pt x="554" y="470"/>
                  </a:lnTo>
                  <a:lnTo>
                    <a:pt x="559" y="465"/>
                  </a:lnTo>
                  <a:lnTo>
                    <a:pt x="565" y="455"/>
                  </a:lnTo>
                  <a:lnTo>
                    <a:pt x="574" y="443"/>
                  </a:lnTo>
                  <a:lnTo>
                    <a:pt x="582" y="429"/>
                  </a:lnTo>
                  <a:lnTo>
                    <a:pt x="591" y="416"/>
                  </a:lnTo>
                  <a:lnTo>
                    <a:pt x="599" y="404"/>
                  </a:lnTo>
                  <a:lnTo>
                    <a:pt x="611" y="382"/>
                  </a:lnTo>
                  <a:lnTo>
                    <a:pt x="623" y="365"/>
                  </a:lnTo>
                  <a:lnTo>
                    <a:pt x="629" y="360"/>
                  </a:lnTo>
                  <a:lnTo>
                    <a:pt x="634" y="355"/>
                  </a:lnTo>
                  <a:lnTo>
                    <a:pt x="641" y="352"/>
                  </a:lnTo>
                  <a:lnTo>
                    <a:pt x="646" y="350"/>
                  </a:lnTo>
                  <a:lnTo>
                    <a:pt x="658" y="347"/>
                  </a:lnTo>
                  <a:lnTo>
                    <a:pt x="670" y="343"/>
                  </a:lnTo>
                  <a:lnTo>
                    <a:pt x="671" y="347"/>
                  </a:lnTo>
                  <a:lnTo>
                    <a:pt x="680" y="350"/>
                  </a:lnTo>
                  <a:lnTo>
                    <a:pt x="692" y="342"/>
                  </a:lnTo>
                  <a:lnTo>
                    <a:pt x="695" y="332"/>
                  </a:lnTo>
                  <a:lnTo>
                    <a:pt x="705" y="327"/>
                  </a:lnTo>
                  <a:close/>
                </a:path>
              </a:pathLst>
            </a:custGeom>
            <a:grpFill/>
            <a:ln w="12700" cap="flat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32948" name="Freeform 10"/>
            <p:cNvSpPr>
              <a:spLocks/>
            </p:cNvSpPr>
            <p:nvPr/>
          </p:nvSpPr>
          <p:spPr bwMode="auto">
            <a:xfrm>
              <a:off x="3920" y="2535"/>
              <a:ext cx="69" cy="59"/>
            </a:xfrm>
            <a:custGeom>
              <a:avLst/>
              <a:gdLst>
                <a:gd name="T0" fmla="*/ 26 w 69"/>
                <a:gd name="T1" fmla="*/ 44 h 59"/>
                <a:gd name="T2" fmla="*/ 20 w 69"/>
                <a:gd name="T3" fmla="*/ 49 h 59"/>
                <a:gd name="T4" fmla="*/ 13 w 69"/>
                <a:gd name="T5" fmla="*/ 54 h 59"/>
                <a:gd name="T6" fmla="*/ 6 w 69"/>
                <a:gd name="T7" fmla="*/ 59 h 59"/>
                <a:gd name="T8" fmla="*/ 3 w 69"/>
                <a:gd name="T9" fmla="*/ 59 h 59"/>
                <a:gd name="T10" fmla="*/ 0 w 69"/>
                <a:gd name="T11" fmla="*/ 56 h 59"/>
                <a:gd name="T12" fmla="*/ 1 w 69"/>
                <a:gd name="T13" fmla="*/ 47 h 59"/>
                <a:gd name="T14" fmla="*/ 3 w 69"/>
                <a:gd name="T15" fmla="*/ 32 h 59"/>
                <a:gd name="T16" fmla="*/ 5 w 69"/>
                <a:gd name="T17" fmla="*/ 19 h 59"/>
                <a:gd name="T18" fmla="*/ 6 w 69"/>
                <a:gd name="T19" fmla="*/ 12 h 59"/>
                <a:gd name="T20" fmla="*/ 8 w 69"/>
                <a:gd name="T21" fmla="*/ 9 h 59"/>
                <a:gd name="T22" fmla="*/ 13 w 69"/>
                <a:gd name="T23" fmla="*/ 4 h 59"/>
                <a:gd name="T24" fmla="*/ 18 w 69"/>
                <a:gd name="T25" fmla="*/ 0 h 59"/>
                <a:gd name="T26" fmla="*/ 43 w 69"/>
                <a:gd name="T27" fmla="*/ 5 h 59"/>
                <a:gd name="T28" fmla="*/ 69 w 69"/>
                <a:gd name="T29" fmla="*/ 10 h 59"/>
                <a:gd name="T30" fmla="*/ 55 w 69"/>
                <a:gd name="T31" fmla="*/ 24 h 59"/>
                <a:gd name="T32" fmla="*/ 45 w 69"/>
                <a:gd name="T33" fmla="*/ 36 h 59"/>
                <a:gd name="T34" fmla="*/ 40 w 69"/>
                <a:gd name="T35" fmla="*/ 41 h 59"/>
                <a:gd name="T36" fmla="*/ 35 w 69"/>
                <a:gd name="T37" fmla="*/ 42 h 59"/>
                <a:gd name="T38" fmla="*/ 30 w 69"/>
                <a:gd name="T39" fmla="*/ 44 h 59"/>
                <a:gd name="T40" fmla="*/ 26 w 69"/>
                <a:gd name="T41" fmla="*/ 44 h 59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69" h="59">
                  <a:moveTo>
                    <a:pt x="26" y="44"/>
                  </a:moveTo>
                  <a:lnTo>
                    <a:pt x="20" y="49"/>
                  </a:lnTo>
                  <a:lnTo>
                    <a:pt x="13" y="54"/>
                  </a:lnTo>
                  <a:lnTo>
                    <a:pt x="6" y="59"/>
                  </a:lnTo>
                  <a:lnTo>
                    <a:pt x="3" y="59"/>
                  </a:lnTo>
                  <a:lnTo>
                    <a:pt x="0" y="56"/>
                  </a:lnTo>
                  <a:lnTo>
                    <a:pt x="1" y="47"/>
                  </a:lnTo>
                  <a:lnTo>
                    <a:pt x="3" y="32"/>
                  </a:lnTo>
                  <a:lnTo>
                    <a:pt x="5" y="19"/>
                  </a:lnTo>
                  <a:lnTo>
                    <a:pt x="6" y="12"/>
                  </a:lnTo>
                  <a:lnTo>
                    <a:pt x="8" y="9"/>
                  </a:lnTo>
                  <a:lnTo>
                    <a:pt x="13" y="4"/>
                  </a:lnTo>
                  <a:lnTo>
                    <a:pt x="18" y="0"/>
                  </a:lnTo>
                  <a:lnTo>
                    <a:pt x="43" y="5"/>
                  </a:lnTo>
                  <a:lnTo>
                    <a:pt x="69" y="10"/>
                  </a:lnTo>
                  <a:lnTo>
                    <a:pt x="55" y="24"/>
                  </a:lnTo>
                  <a:lnTo>
                    <a:pt x="45" y="36"/>
                  </a:lnTo>
                  <a:lnTo>
                    <a:pt x="40" y="41"/>
                  </a:lnTo>
                  <a:lnTo>
                    <a:pt x="35" y="42"/>
                  </a:lnTo>
                  <a:lnTo>
                    <a:pt x="30" y="44"/>
                  </a:lnTo>
                  <a:lnTo>
                    <a:pt x="26" y="44"/>
                  </a:lnTo>
                </a:path>
              </a:pathLst>
            </a:custGeom>
            <a:grpFill/>
            <a:ln w="12700" cap="flat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</p:grpSp>
      <p:sp>
        <p:nvSpPr>
          <p:cNvPr id="32775" name="Freeform 11"/>
          <p:cNvSpPr>
            <a:spLocks/>
          </p:cNvSpPr>
          <p:nvPr/>
        </p:nvSpPr>
        <p:spPr bwMode="auto">
          <a:xfrm>
            <a:off x="8015288" y="2206625"/>
            <a:ext cx="830262" cy="674688"/>
          </a:xfrm>
          <a:custGeom>
            <a:avLst/>
            <a:gdLst>
              <a:gd name="T0" fmla="*/ 65476179 w 754"/>
              <a:gd name="T1" fmla="*/ 249560455 h 610"/>
              <a:gd name="T2" fmla="*/ 107914239 w 754"/>
              <a:gd name="T3" fmla="*/ 271580723 h 610"/>
              <a:gd name="T4" fmla="*/ 157627553 w 754"/>
              <a:gd name="T5" fmla="*/ 324184266 h 610"/>
              <a:gd name="T6" fmla="*/ 197639795 w 754"/>
              <a:gd name="T7" fmla="*/ 321737692 h 610"/>
              <a:gd name="T8" fmla="*/ 232803703 w 754"/>
              <a:gd name="T9" fmla="*/ 303387285 h 610"/>
              <a:gd name="T10" fmla="*/ 274028303 w 754"/>
              <a:gd name="T11" fmla="*/ 307058251 h 610"/>
              <a:gd name="T12" fmla="*/ 230377884 w 754"/>
              <a:gd name="T13" fmla="*/ 264241002 h 610"/>
              <a:gd name="T14" fmla="*/ 197639795 w 754"/>
              <a:gd name="T15" fmla="*/ 222647040 h 610"/>
              <a:gd name="T16" fmla="*/ 173389317 w 754"/>
              <a:gd name="T17" fmla="*/ 140683508 h 610"/>
              <a:gd name="T18" fmla="*/ 110338957 w 754"/>
              <a:gd name="T19" fmla="*/ 95420792 h 610"/>
              <a:gd name="T20" fmla="*/ 92151374 w 754"/>
              <a:gd name="T21" fmla="*/ 78293671 h 610"/>
              <a:gd name="T22" fmla="*/ 244928391 w 754"/>
              <a:gd name="T23" fmla="*/ 33029849 h 610"/>
              <a:gd name="T24" fmla="*/ 299491140 w 754"/>
              <a:gd name="T25" fmla="*/ 57496690 h 610"/>
              <a:gd name="T26" fmla="*/ 363754960 w 754"/>
              <a:gd name="T27" fmla="*/ 66059698 h 610"/>
              <a:gd name="T28" fmla="*/ 375879648 w 754"/>
              <a:gd name="T29" fmla="*/ 35476422 h 610"/>
              <a:gd name="T30" fmla="*/ 346779736 w 754"/>
              <a:gd name="T31" fmla="*/ 18350408 h 610"/>
              <a:gd name="T32" fmla="*/ 504407289 w 754"/>
              <a:gd name="T33" fmla="*/ 4893147 h 610"/>
              <a:gd name="T34" fmla="*/ 518956695 w 754"/>
              <a:gd name="T35" fmla="*/ 41593962 h 610"/>
              <a:gd name="T36" fmla="*/ 577157620 w 754"/>
              <a:gd name="T37" fmla="*/ 56273403 h 610"/>
              <a:gd name="T38" fmla="*/ 600195739 w 754"/>
              <a:gd name="T39" fmla="*/ 95420792 h 610"/>
              <a:gd name="T40" fmla="*/ 757823292 w 754"/>
              <a:gd name="T41" fmla="*/ 159033916 h 610"/>
              <a:gd name="T42" fmla="*/ 853611742 w 754"/>
              <a:gd name="T43" fmla="*/ 187170618 h 610"/>
              <a:gd name="T44" fmla="*/ 893625085 w 754"/>
              <a:gd name="T45" fmla="*/ 240997448 h 610"/>
              <a:gd name="T46" fmla="*/ 814810758 w 754"/>
              <a:gd name="T47" fmla="*/ 330300700 h 610"/>
              <a:gd name="T48" fmla="*/ 832998341 w 754"/>
              <a:gd name="T49" fmla="*/ 400031364 h 610"/>
              <a:gd name="T50" fmla="*/ 808748965 w 754"/>
              <a:gd name="T51" fmla="*/ 442848613 h 610"/>
              <a:gd name="T52" fmla="*/ 714171772 w 754"/>
              <a:gd name="T53" fmla="*/ 406147797 h 610"/>
              <a:gd name="T54" fmla="*/ 708109979 w 754"/>
              <a:gd name="T55" fmla="*/ 426944778 h 610"/>
              <a:gd name="T56" fmla="*/ 759035651 w 754"/>
              <a:gd name="T57" fmla="*/ 448965046 h 610"/>
              <a:gd name="T58" fmla="*/ 783286128 w 754"/>
              <a:gd name="T59" fmla="*/ 511354884 h 610"/>
              <a:gd name="T60" fmla="*/ 683859501 w 754"/>
              <a:gd name="T61" fmla="*/ 532151865 h 610"/>
              <a:gd name="T62" fmla="*/ 630508010 w 754"/>
              <a:gd name="T63" fmla="*/ 551725559 h 610"/>
              <a:gd name="T64" fmla="*/ 635358546 w 754"/>
              <a:gd name="T65" fmla="*/ 535821725 h 610"/>
              <a:gd name="T66" fmla="*/ 573520544 w 754"/>
              <a:gd name="T67" fmla="*/ 512578170 h 610"/>
              <a:gd name="T68" fmla="*/ 518956695 w 754"/>
              <a:gd name="T69" fmla="*/ 508908310 h 610"/>
              <a:gd name="T70" fmla="*/ 600195739 w 754"/>
              <a:gd name="T71" fmla="*/ 577415687 h 610"/>
              <a:gd name="T72" fmla="*/ 532294843 w 754"/>
              <a:gd name="T73" fmla="*/ 605552389 h 610"/>
              <a:gd name="T74" fmla="*/ 447418722 w 754"/>
              <a:gd name="T75" fmla="*/ 734003030 h 610"/>
              <a:gd name="T76" fmla="*/ 418317709 w 754"/>
              <a:gd name="T77" fmla="*/ 686292634 h 610"/>
              <a:gd name="T78" fmla="*/ 408617738 w 754"/>
              <a:gd name="T79" fmla="*/ 632465804 h 610"/>
              <a:gd name="T80" fmla="*/ 379517825 w 754"/>
              <a:gd name="T81" fmla="*/ 626349370 h 610"/>
              <a:gd name="T82" fmla="*/ 369817855 w 754"/>
              <a:gd name="T83" fmla="*/ 562735140 h 610"/>
              <a:gd name="T84" fmla="*/ 312829288 w 754"/>
              <a:gd name="T85" fmla="*/ 517471317 h 610"/>
              <a:gd name="T86" fmla="*/ 260691257 w 754"/>
              <a:gd name="T87" fmla="*/ 422051631 h 610"/>
              <a:gd name="T88" fmla="*/ 232803703 w 754"/>
              <a:gd name="T89" fmla="*/ 426944778 h 610"/>
              <a:gd name="T90" fmla="*/ 214615019 w 754"/>
              <a:gd name="T91" fmla="*/ 541938159 h 610"/>
              <a:gd name="T92" fmla="*/ 263115974 w 754"/>
              <a:gd name="T93" fmla="*/ 533375151 h 610"/>
              <a:gd name="T94" fmla="*/ 197639795 w 754"/>
              <a:gd name="T95" fmla="*/ 638582238 h 610"/>
              <a:gd name="T96" fmla="*/ 138226510 w 754"/>
              <a:gd name="T97" fmla="*/ 595764989 h 610"/>
              <a:gd name="T98" fmla="*/ 61838002 w 754"/>
              <a:gd name="T99" fmla="*/ 550502272 h 610"/>
              <a:gd name="T100" fmla="*/ 69113255 w 754"/>
              <a:gd name="T101" fmla="*/ 488111329 h 610"/>
              <a:gd name="T102" fmla="*/ 9699971 w 754"/>
              <a:gd name="T103" fmla="*/ 475878461 h 610"/>
              <a:gd name="T104" fmla="*/ 41225702 w 754"/>
              <a:gd name="T105" fmla="*/ 391468356 h 610"/>
              <a:gd name="T106" fmla="*/ 30313372 w 754"/>
              <a:gd name="T107" fmla="*/ 307058251 h 610"/>
              <a:gd name="T108" fmla="*/ 36375166 w 754"/>
              <a:gd name="T109" fmla="*/ 195733625 h 610"/>
              <a:gd name="T110" fmla="*/ 2424717 w 754"/>
              <a:gd name="T111" fmla="*/ 159033916 h 610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754" h="610">
                <a:moveTo>
                  <a:pt x="52" y="125"/>
                </a:moveTo>
                <a:lnTo>
                  <a:pt x="62" y="148"/>
                </a:lnTo>
                <a:lnTo>
                  <a:pt x="72" y="174"/>
                </a:lnTo>
                <a:lnTo>
                  <a:pt x="64" y="179"/>
                </a:lnTo>
                <a:lnTo>
                  <a:pt x="56" y="182"/>
                </a:lnTo>
                <a:lnTo>
                  <a:pt x="56" y="190"/>
                </a:lnTo>
                <a:lnTo>
                  <a:pt x="56" y="197"/>
                </a:lnTo>
                <a:lnTo>
                  <a:pt x="54" y="204"/>
                </a:lnTo>
                <a:lnTo>
                  <a:pt x="52" y="211"/>
                </a:lnTo>
                <a:lnTo>
                  <a:pt x="59" y="217"/>
                </a:lnTo>
                <a:lnTo>
                  <a:pt x="66" y="224"/>
                </a:lnTo>
                <a:lnTo>
                  <a:pt x="69" y="226"/>
                </a:lnTo>
                <a:lnTo>
                  <a:pt x="74" y="226"/>
                </a:lnTo>
                <a:lnTo>
                  <a:pt x="77" y="226"/>
                </a:lnTo>
                <a:lnTo>
                  <a:pt x="81" y="224"/>
                </a:lnTo>
                <a:lnTo>
                  <a:pt x="89" y="222"/>
                </a:lnTo>
                <a:lnTo>
                  <a:pt x="98" y="222"/>
                </a:lnTo>
                <a:lnTo>
                  <a:pt x="106" y="224"/>
                </a:lnTo>
                <a:lnTo>
                  <a:pt x="113" y="226"/>
                </a:lnTo>
                <a:lnTo>
                  <a:pt x="118" y="229"/>
                </a:lnTo>
                <a:lnTo>
                  <a:pt x="123" y="234"/>
                </a:lnTo>
                <a:lnTo>
                  <a:pt x="125" y="241"/>
                </a:lnTo>
                <a:lnTo>
                  <a:pt x="128" y="249"/>
                </a:lnTo>
                <a:lnTo>
                  <a:pt x="130" y="265"/>
                </a:lnTo>
                <a:lnTo>
                  <a:pt x="135" y="276"/>
                </a:lnTo>
                <a:lnTo>
                  <a:pt x="136" y="281"/>
                </a:lnTo>
                <a:lnTo>
                  <a:pt x="140" y="285"/>
                </a:lnTo>
                <a:lnTo>
                  <a:pt x="145" y="286"/>
                </a:lnTo>
                <a:lnTo>
                  <a:pt x="148" y="288"/>
                </a:lnTo>
                <a:lnTo>
                  <a:pt x="153" y="278"/>
                </a:lnTo>
                <a:lnTo>
                  <a:pt x="158" y="270"/>
                </a:lnTo>
                <a:lnTo>
                  <a:pt x="163" y="263"/>
                </a:lnTo>
                <a:lnTo>
                  <a:pt x="168" y="259"/>
                </a:lnTo>
                <a:lnTo>
                  <a:pt x="163" y="251"/>
                </a:lnTo>
                <a:lnTo>
                  <a:pt x="158" y="243"/>
                </a:lnTo>
                <a:lnTo>
                  <a:pt x="165" y="239"/>
                </a:lnTo>
                <a:lnTo>
                  <a:pt x="172" y="236"/>
                </a:lnTo>
                <a:lnTo>
                  <a:pt x="182" y="234"/>
                </a:lnTo>
                <a:lnTo>
                  <a:pt x="192" y="236"/>
                </a:lnTo>
                <a:lnTo>
                  <a:pt x="192" y="248"/>
                </a:lnTo>
                <a:lnTo>
                  <a:pt x="194" y="259"/>
                </a:lnTo>
                <a:lnTo>
                  <a:pt x="202" y="266"/>
                </a:lnTo>
                <a:lnTo>
                  <a:pt x="209" y="273"/>
                </a:lnTo>
                <a:lnTo>
                  <a:pt x="215" y="270"/>
                </a:lnTo>
                <a:lnTo>
                  <a:pt x="219" y="266"/>
                </a:lnTo>
                <a:lnTo>
                  <a:pt x="222" y="263"/>
                </a:lnTo>
                <a:lnTo>
                  <a:pt x="226" y="258"/>
                </a:lnTo>
                <a:lnTo>
                  <a:pt x="226" y="251"/>
                </a:lnTo>
                <a:lnTo>
                  <a:pt x="226" y="244"/>
                </a:lnTo>
                <a:lnTo>
                  <a:pt x="224" y="238"/>
                </a:lnTo>
                <a:lnTo>
                  <a:pt x="222" y="229"/>
                </a:lnTo>
                <a:lnTo>
                  <a:pt x="215" y="229"/>
                </a:lnTo>
                <a:lnTo>
                  <a:pt x="210" y="226"/>
                </a:lnTo>
                <a:lnTo>
                  <a:pt x="207" y="222"/>
                </a:lnTo>
                <a:lnTo>
                  <a:pt x="205" y="216"/>
                </a:lnTo>
                <a:lnTo>
                  <a:pt x="190" y="216"/>
                </a:lnTo>
                <a:lnTo>
                  <a:pt x="173" y="217"/>
                </a:lnTo>
                <a:lnTo>
                  <a:pt x="158" y="217"/>
                </a:lnTo>
                <a:lnTo>
                  <a:pt x="143" y="217"/>
                </a:lnTo>
                <a:lnTo>
                  <a:pt x="143" y="212"/>
                </a:lnTo>
                <a:lnTo>
                  <a:pt x="145" y="206"/>
                </a:lnTo>
                <a:lnTo>
                  <a:pt x="148" y="201"/>
                </a:lnTo>
                <a:lnTo>
                  <a:pt x="152" y="194"/>
                </a:lnTo>
                <a:lnTo>
                  <a:pt x="163" y="182"/>
                </a:lnTo>
                <a:lnTo>
                  <a:pt x="177" y="172"/>
                </a:lnTo>
                <a:lnTo>
                  <a:pt x="170" y="165"/>
                </a:lnTo>
                <a:lnTo>
                  <a:pt x="165" y="158"/>
                </a:lnTo>
                <a:lnTo>
                  <a:pt x="163" y="150"/>
                </a:lnTo>
                <a:lnTo>
                  <a:pt x="165" y="140"/>
                </a:lnTo>
                <a:lnTo>
                  <a:pt x="155" y="130"/>
                </a:lnTo>
                <a:lnTo>
                  <a:pt x="148" y="121"/>
                </a:lnTo>
                <a:lnTo>
                  <a:pt x="143" y="115"/>
                </a:lnTo>
                <a:lnTo>
                  <a:pt x="141" y="108"/>
                </a:lnTo>
                <a:lnTo>
                  <a:pt x="140" y="96"/>
                </a:lnTo>
                <a:lnTo>
                  <a:pt x="136" y="86"/>
                </a:lnTo>
                <a:lnTo>
                  <a:pt x="121" y="86"/>
                </a:lnTo>
                <a:lnTo>
                  <a:pt x="104" y="88"/>
                </a:lnTo>
                <a:lnTo>
                  <a:pt x="104" y="81"/>
                </a:lnTo>
                <a:lnTo>
                  <a:pt x="104" y="74"/>
                </a:lnTo>
                <a:lnTo>
                  <a:pt x="91" y="78"/>
                </a:lnTo>
                <a:lnTo>
                  <a:pt x="77" y="81"/>
                </a:lnTo>
                <a:lnTo>
                  <a:pt x="66" y="79"/>
                </a:lnTo>
                <a:lnTo>
                  <a:pt x="56" y="78"/>
                </a:lnTo>
                <a:lnTo>
                  <a:pt x="56" y="76"/>
                </a:lnTo>
                <a:lnTo>
                  <a:pt x="57" y="73"/>
                </a:lnTo>
                <a:lnTo>
                  <a:pt x="61" y="71"/>
                </a:lnTo>
                <a:lnTo>
                  <a:pt x="66" y="69"/>
                </a:lnTo>
                <a:lnTo>
                  <a:pt x="76" y="64"/>
                </a:lnTo>
                <a:lnTo>
                  <a:pt x="91" y="59"/>
                </a:lnTo>
                <a:lnTo>
                  <a:pt x="125" y="51"/>
                </a:lnTo>
                <a:lnTo>
                  <a:pt x="162" y="41"/>
                </a:lnTo>
                <a:lnTo>
                  <a:pt x="163" y="32"/>
                </a:lnTo>
                <a:lnTo>
                  <a:pt x="165" y="24"/>
                </a:lnTo>
                <a:lnTo>
                  <a:pt x="173" y="27"/>
                </a:lnTo>
                <a:lnTo>
                  <a:pt x="187" y="27"/>
                </a:lnTo>
                <a:lnTo>
                  <a:pt x="202" y="27"/>
                </a:lnTo>
                <a:lnTo>
                  <a:pt x="217" y="27"/>
                </a:lnTo>
                <a:lnTo>
                  <a:pt x="224" y="36"/>
                </a:lnTo>
                <a:lnTo>
                  <a:pt x="231" y="42"/>
                </a:lnTo>
                <a:lnTo>
                  <a:pt x="236" y="44"/>
                </a:lnTo>
                <a:lnTo>
                  <a:pt x="239" y="44"/>
                </a:lnTo>
                <a:lnTo>
                  <a:pt x="242" y="44"/>
                </a:lnTo>
                <a:lnTo>
                  <a:pt x="246" y="42"/>
                </a:lnTo>
                <a:lnTo>
                  <a:pt x="247" y="47"/>
                </a:lnTo>
                <a:lnTo>
                  <a:pt x="251" y="51"/>
                </a:lnTo>
                <a:lnTo>
                  <a:pt x="254" y="54"/>
                </a:lnTo>
                <a:lnTo>
                  <a:pt x="258" y="57"/>
                </a:lnTo>
                <a:lnTo>
                  <a:pt x="266" y="61"/>
                </a:lnTo>
                <a:lnTo>
                  <a:pt x="276" y="62"/>
                </a:lnTo>
                <a:lnTo>
                  <a:pt x="285" y="61"/>
                </a:lnTo>
                <a:lnTo>
                  <a:pt x="293" y="59"/>
                </a:lnTo>
                <a:lnTo>
                  <a:pt x="300" y="54"/>
                </a:lnTo>
                <a:lnTo>
                  <a:pt x="305" y="47"/>
                </a:lnTo>
                <a:lnTo>
                  <a:pt x="311" y="44"/>
                </a:lnTo>
                <a:lnTo>
                  <a:pt x="320" y="44"/>
                </a:lnTo>
                <a:lnTo>
                  <a:pt x="323" y="42"/>
                </a:lnTo>
                <a:lnTo>
                  <a:pt x="327" y="41"/>
                </a:lnTo>
                <a:lnTo>
                  <a:pt x="327" y="36"/>
                </a:lnTo>
                <a:lnTo>
                  <a:pt x="327" y="29"/>
                </a:lnTo>
                <a:lnTo>
                  <a:pt x="310" y="29"/>
                </a:lnTo>
                <a:lnTo>
                  <a:pt x="293" y="27"/>
                </a:lnTo>
                <a:lnTo>
                  <a:pt x="278" y="25"/>
                </a:lnTo>
                <a:lnTo>
                  <a:pt x="261" y="25"/>
                </a:lnTo>
                <a:lnTo>
                  <a:pt x="253" y="22"/>
                </a:lnTo>
                <a:lnTo>
                  <a:pt x="249" y="20"/>
                </a:lnTo>
                <a:lnTo>
                  <a:pt x="253" y="19"/>
                </a:lnTo>
                <a:lnTo>
                  <a:pt x="259" y="15"/>
                </a:lnTo>
                <a:lnTo>
                  <a:pt x="286" y="15"/>
                </a:lnTo>
                <a:lnTo>
                  <a:pt x="313" y="17"/>
                </a:lnTo>
                <a:lnTo>
                  <a:pt x="340" y="17"/>
                </a:lnTo>
                <a:lnTo>
                  <a:pt x="367" y="17"/>
                </a:lnTo>
                <a:lnTo>
                  <a:pt x="374" y="9"/>
                </a:lnTo>
                <a:lnTo>
                  <a:pt x="380" y="0"/>
                </a:lnTo>
                <a:lnTo>
                  <a:pt x="396" y="2"/>
                </a:lnTo>
                <a:lnTo>
                  <a:pt x="411" y="4"/>
                </a:lnTo>
                <a:lnTo>
                  <a:pt x="416" y="4"/>
                </a:lnTo>
                <a:lnTo>
                  <a:pt x="419" y="4"/>
                </a:lnTo>
                <a:lnTo>
                  <a:pt x="421" y="5"/>
                </a:lnTo>
                <a:lnTo>
                  <a:pt x="423" y="7"/>
                </a:lnTo>
                <a:lnTo>
                  <a:pt x="424" y="12"/>
                </a:lnTo>
                <a:lnTo>
                  <a:pt x="423" y="19"/>
                </a:lnTo>
                <a:lnTo>
                  <a:pt x="424" y="25"/>
                </a:lnTo>
                <a:lnTo>
                  <a:pt x="426" y="30"/>
                </a:lnTo>
                <a:lnTo>
                  <a:pt x="428" y="34"/>
                </a:lnTo>
                <a:lnTo>
                  <a:pt x="433" y="36"/>
                </a:lnTo>
                <a:lnTo>
                  <a:pt x="441" y="39"/>
                </a:lnTo>
                <a:lnTo>
                  <a:pt x="453" y="41"/>
                </a:lnTo>
                <a:lnTo>
                  <a:pt x="460" y="41"/>
                </a:lnTo>
                <a:lnTo>
                  <a:pt x="466" y="41"/>
                </a:lnTo>
                <a:lnTo>
                  <a:pt x="470" y="41"/>
                </a:lnTo>
                <a:lnTo>
                  <a:pt x="473" y="42"/>
                </a:lnTo>
                <a:lnTo>
                  <a:pt x="476" y="46"/>
                </a:lnTo>
                <a:lnTo>
                  <a:pt x="476" y="49"/>
                </a:lnTo>
                <a:lnTo>
                  <a:pt x="476" y="54"/>
                </a:lnTo>
                <a:lnTo>
                  <a:pt x="476" y="59"/>
                </a:lnTo>
                <a:lnTo>
                  <a:pt x="475" y="62"/>
                </a:lnTo>
                <a:lnTo>
                  <a:pt x="476" y="66"/>
                </a:lnTo>
                <a:lnTo>
                  <a:pt x="480" y="69"/>
                </a:lnTo>
                <a:lnTo>
                  <a:pt x="483" y="71"/>
                </a:lnTo>
                <a:lnTo>
                  <a:pt x="495" y="78"/>
                </a:lnTo>
                <a:lnTo>
                  <a:pt x="508" y="81"/>
                </a:lnTo>
                <a:lnTo>
                  <a:pt x="522" y="83"/>
                </a:lnTo>
                <a:lnTo>
                  <a:pt x="537" y="88"/>
                </a:lnTo>
                <a:lnTo>
                  <a:pt x="552" y="93"/>
                </a:lnTo>
                <a:lnTo>
                  <a:pt x="567" y="99"/>
                </a:lnTo>
                <a:lnTo>
                  <a:pt x="589" y="115"/>
                </a:lnTo>
                <a:lnTo>
                  <a:pt x="609" y="130"/>
                </a:lnTo>
                <a:lnTo>
                  <a:pt x="625" y="130"/>
                </a:lnTo>
                <a:lnTo>
                  <a:pt x="636" y="131"/>
                </a:lnTo>
                <a:lnTo>
                  <a:pt x="648" y="133"/>
                </a:lnTo>
                <a:lnTo>
                  <a:pt x="658" y="135"/>
                </a:lnTo>
                <a:lnTo>
                  <a:pt x="667" y="140"/>
                </a:lnTo>
                <a:lnTo>
                  <a:pt x="675" y="143"/>
                </a:lnTo>
                <a:lnTo>
                  <a:pt x="682" y="150"/>
                </a:lnTo>
                <a:lnTo>
                  <a:pt x="688" y="155"/>
                </a:lnTo>
                <a:lnTo>
                  <a:pt x="704" y="153"/>
                </a:lnTo>
                <a:lnTo>
                  <a:pt x="717" y="153"/>
                </a:lnTo>
                <a:lnTo>
                  <a:pt x="731" y="155"/>
                </a:lnTo>
                <a:lnTo>
                  <a:pt x="744" y="160"/>
                </a:lnTo>
                <a:lnTo>
                  <a:pt x="751" y="172"/>
                </a:lnTo>
                <a:lnTo>
                  <a:pt x="754" y="184"/>
                </a:lnTo>
                <a:lnTo>
                  <a:pt x="754" y="192"/>
                </a:lnTo>
                <a:lnTo>
                  <a:pt x="752" y="201"/>
                </a:lnTo>
                <a:lnTo>
                  <a:pt x="737" y="197"/>
                </a:lnTo>
                <a:lnTo>
                  <a:pt x="724" y="197"/>
                </a:lnTo>
                <a:lnTo>
                  <a:pt x="717" y="199"/>
                </a:lnTo>
                <a:lnTo>
                  <a:pt x="712" y="201"/>
                </a:lnTo>
                <a:lnTo>
                  <a:pt x="707" y="206"/>
                </a:lnTo>
                <a:lnTo>
                  <a:pt x="704" y="211"/>
                </a:lnTo>
                <a:lnTo>
                  <a:pt x="694" y="233"/>
                </a:lnTo>
                <a:lnTo>
                  <a:pt x="683" y="253"/>
                </a:lnTo>
                <a:lnTo>
                  <a:pt x="672" y="270"/>
                </a:lnTo>
                <a:lnTo>
                  <a:pt x="658" y="286"/>
                </a:lnTo>
                <a:lnTo>
                  <a:pt x="667" y="285"/>
                </a:lnTo>
                <a:lnTo>
                  <a:pt x="677" y="281"/>
                </a:lnTo>
                <a:lnTo>
                  <a:pt x="677" y="298"/>
                </a:lnTo>
                <a:lnTo>
                  <a:pt x="678" y="313"/>
                </a:lnTo>
                <a:lnTo>
                  <a:pt x="680" y="318"/>
                </a:lnTo>
                <a:lnTo>
                  <a:pt x="683" y="323"/>
                </a:lnTo>
                <a:lnTo>
                  <a:pt x="687" y="327"/>
                </a:lnTo>
                <a:lnTo>
                  <a:pt x="692" y="329"/>
                </a:lnTo>
                <a:lnTo>
                  <a:pt x="694" y="340"/>
                </a:lnTo>
                <a:lnTo>
                  <a:pt x="694" y="349"/>
                </a:lnTo>
                <a:lnTo>
                  <a:pt x="692" y="354"/>
                </a:lnTo>
                <a:lnTo>
                  <a:pt x="687" y="359"/>
                </a:lnTo>
                <a:lnTo>
                  <a:pt x="682" y="361"/>
                </a:lnTo>
                <a:lnTo>
                  <a:pt x="675" y="362"/>
                </a:lnTo>
                <a:lnTo>
                  <a:pt x="667" y="362"/>
                </a:lnTo>
                <a:lnTo>
                  <a:pt x="658" y="362"/>
                </a:lnTo>
                <a:lnTo>
                  <a:pt x="658" y="357"/>
                </a:lnTo>
                <a:lnTo>
                  <a:pt x="657" y="352"/>
                </a:lnTo>
                <a:lnTo>
                  <a:pt x="633" y="352"/>
                </a:lnTo>
                <a:lnTo>
                  <a:pt x="609" y="352"/>
                </a:lnTo>
                <a:lnTo>
                  <a:pt x="606" y="344"/>
                </a:lnTo>
                <a:lnTo>
                  <a:pt x="603" y="335"/>
                </a:lnTo>
                <a:lnTo>
                  <a:pt x="589" y="332"/>
                </a:lnTo>
                <a:lnTo>
                  <a:pt x="577" y="329"/>
                </a:lnTo>
                <a:lnTo>
                  <a:pt x="564" y="325"/>
                </a:lnTo>
                <a:lnTo>
                  <a:pt x="552" y="322"/>
                </a:lnTo>
                <a:lnTo>
                  <a:pt x="561" y="332"/>
                </a:lnTo>
                <a:lnTo>
                  <a:pt x="569" y="340"/>
                </a:lnTo>
                <a:lnTo>
                  <a:pt x="574" y="344"/>
                </a:lnTo>
                <a:lnTo>
                  <a:pt x="579" y="347"/>
                </a:lnTo>
                <a:lnTo>
                  <a:pt x="584" y="349"/>
                </a:lnTo>
                <a:lnTo>
                  <a:pt x="591" y="350"/>
                </a:lnTo>
                <a:lnTo>
                  <a:pt x="591" y="357"/>
                </a:lnTo>
                <a:lnTo>
                  <a:pt x="591" y="366"/>
                </a:lnTo>
                <a:lnTo>
                  <a:pt x="601" y="364"/>
                </a:lnTo>
                <a:lnTo>
                  <a:pt x="609" y="362"/>
                </a:lnTo>
                <a:lnTo>
                  <a:pt x="613" y="366"/>
                </a:lnTo>
                <a:lnTo>
                  <a:pt x="618" y="367"/>
                </a:lnTo>
                <a:lnTo>
                  <a:pt x="626" y="367"/>
                </a:lnTo>
                <a:lnTo>
                  <a:pt x="641" y="366"/>
                </a:lnTo>
                <a:lnTo>
                  <a:pt x="646" y="382"/>
                </a:lnTo>
                <a:lnTo>
                  <a:pt x="651" y="399"/>
                </a:lnTo>
                <a:lnTo>
                  <a:pt x="651" y="404"/>
                </a:lnTo>
                <a:lnTo>
                  <a:pt x="651" y="409"/>
                </a:lnTo>
                <a:lnTo>
                  <a:pt x="651" y="413"/>
                </a:lnTo>
                <a:lnTo>
                  <a:pt x="650" y="416"/>
                </a:lnTo>
                <a:lnTo>
                  <a:pt x="646" y="418"/>
                </a:lnTo>
                <a:lnTo>
                  <a:pt x="641" y="418"/>
                </a:lnTo>
                <a:lnTo>
                  <a:pt x="633" y="416"/>
                </a:lnTo>
                <a:lnTo>
                  <a:pt x="623" y="413"/>
                </a:lnTo>
                <a:lnTo>
                  <a:pt x="611" y="411"/>
                </a:lnTo>
                <a:lnTo>
                  <a:pt x="599" y="411"/>
                </a:lnTo>
                <a:lnTo>
                  <a:pt x="589" y="414"/>
                </a:lnTo>
                <a:lnTo>
                  <a:pt x="581" y="419"/>
                </a:lnTo>
                <a:lnTo>
                  <a:pt x="564" y="435"/>
                </a:lnTo>
                <a:lnTo>
                  <a:pt x="549" y="446"/>
                </a:lnTo>
                <a:lnTo>
                  <a:pt x="544" y="451"/>
                </a:lnTo>
                <a:lnTo>
                  <a:pt x="537" y="453"/>
                </a:lnTo>
                <a:lnTo>
                  <a:pt x="530" y="455"/>
                </a:lnTo>
                <a:lnTo>
                  <a:pt x="525" y="455"/>
                </a:lnTo>
                <a:lnTo>
                  <a:pt x="520" y="455"/>
                </a:lnTo>
                <a:lnTo>
                  <a:pt x="518" y="453"/>
                </a:lnTo>
                <a:lnTo>
                  <a:pt x="520" y="451"/>
                </a:lnTo>
                <a:lnTo>
                  <a:pt x="522" y="451"/>
                </a:lnTo>
                <a:lnTo>
                  <a:pt x="527" y="450"/>
                </a:lnTo>
                <a:lnTo>
                  <a:pt x="529" y="450"/>
                </a:lnTo>
                <a:lnTo>
                  <a:pt x="545" y="443"/>
                </a:lnTo>
                <a:lnTo>
                  <a:pt x="545" y="435"/>
                </a:lnTo>
                <a:lnTo>
                  <a:pt x="539" y="433"/>
                </a:lnTo>
                <a:lnTo>
                  <a:pt x="532" y="440"/>
                </a:lnTo>
                <a:lnTo>
                  <a:pt x="524" y="438"/>
                </a:lnTo>
                <a:lnTo>
                  <a:pt x="518" y="433"/>
                </a:lnTo>
                <a:lnTo>
                  <a:pt x="512" y="435"/>
                </a:lnTo>
                <a:lnTo>
                  <a:pt x="507" y="445"/>
                </a:lnTo>
                <a:lnTo>
                  <a:pt x="495" y="441"/>
                </a:lnTo>
                <a:lnTo>
                  <a:pt x="487" y="438"/>
                </a:lnTo>
                <a:lnTo>
                  <a:pt x="488" y="428"/>
                </a:lnTo>
                <a:lnTo>
                  <a:pt x="481" y="426"/>
                </a:lnTo>
                <a:lnTo>
                  <a:pt x="473" y="419"/>
                </a:lnTo>
                <a:lnTo>
                  <a:pt x="475" y="414"/>
                </a:lnTo>
                <a:lnTo>
                  <a:pt x="471" y="408"/>
                </a:lnTo>
                <a:lnTo>
                  <a:pt x="465" y="411"/>
                </a:lnTo>
                <a:lnTo>
                  <a:pt x="458" y="413"/>
                </a:lnTo>
                <a:lnTo>
                  <a:pt x="451" y="413"/>
                </a:lnTo>
                <a:lnTo>
                  <a:pt x="449" y="413"/>
                </a:lnTo>
                <a:lnTo>
                  <a:pt x="443" y="421"/>
                </a:lnTo>
                <a:lnTo>
                  <a:pt x="428" y="416"/>
                </a:lnTo>
                <a:lnTo>
                  <a:pt x="409" y="426"/>
                </a:lnTo>
                <a:lnTo>
                  <a:pt x="431" y="428"/>
                </a:lnTo>
                <a:lnTo>
                  <a:pt x="434" y="440"/>
                </a:lnTo>
                <a:lnTo>
                  <a:pt x="471" y="436"/>
                </a:lnTo>
                <a:lnTo>
                  <a:pt x="473" y="453"/>
                </a:lnTo>
                <a:lnTo>
                  <a:pt x="485" y="457"/>
                </a:lnTo>
                <a:lnTo>
                  <a:pt x="493" y="462"/>
                </a:lnTo>
                <a:lnTo>
                  <a:pt x="495" y="472"/>
                </a:lnTo>
                <a:lnTo>
                  <a:pt x="485" y="470"/>
                </a:lnTo>
                <a:lnTo>
                  <a:pt x="476" y="472"/>
                </a:lnTo>
                <a:lnTo>
                  <a:pt x="480" y="478"/>
                </a:lnTo>
                <a:lnTo>
                  <a:pt x="468" y="482"/>
                </a:lnTo>
                <a:lnTo>
                  <a:pt x="456" y="485"/>
                </a:lnTo>
                <a:lnTo>
                  <a:pt x="451" y="487"/>
                </a:lnTo>
                <a:lnTo>
                  <a:pt x="444" y="490"/>
                </a:lnTo>
                <a:lnTo>
                  <a:pt x="439" y="495"/>
                </a:lnTo>
                <a:lnTo>
                  <a:pt x="433" y="500"/>
                </a:lnTo>
                <a:lnTo>
                  <a:pt x="421" y="517"/>
                </a:lnTo>
                <a:lnTo>
                  <a:pt x="409" y="539"/>
                </a:lnTo>
                <a:lnTo>
                  <a:pt x="401" y="551"/>
                </a:lnTo>
                <a:lnTo>
                  <a:pt x="392" y="564"/>
                </a:lnTo>
                <a:lnTo>
                  <a:pt x="384" y="578"/>
                </a:lnTo>
                <a:lnTo>
                  <a:pt x="375" y="590"/>
                </a:lnTo>
                <a:lnTo>
                  <a:pt x="369" y="600"/>
                </a:lnTo>
                <a:lnTo>
                  <a:pt x="364" y="605"/>
                </a:lnTo>
                <a:lnTo>
                  <a:pt x="360" y="610"/>
                </a:lnTo>
                <a:lnTo>
                  <a:pt x="355" y="610"/>
                </a:lnTo>
                <a:lnTo>
                  <a:pt x="352" y="608"/>
                </a:lnTo>
                <a:lnTo>
                  <a:pt x="348" y="603"/>
                </a:lnTo>
                <a:lnTo>
                  <a:pt x="345" y="596"/>
                </a:lnTo>
                <a:lnTo>
                  <a:pt x="342" y="586"/>
                </a:lnTo>
                <a:lnTo>
                  <a:pt x="345" y="561"/>
                </a:lnTo>
                <a:lnTo>
                  <a:pt x="347" y="537"/>
                </a:lnTo>
                <a:lnTo>
                  <a:pt x="347" y="529"/>
                </a:lnTo>
                <a:lnTo>
                  <a:pt x="348" y="524"/>
                </a:lnTo>
                <a:lnTo>
                  <a:pt x="347" y="519"/>
                </a:lnTo>
                <a:lnTo>
                  <a:pt x="345" y="515"/>
                </a:lnTo>
                <a:lnTo>
                  <a:pt x="343" y="514"/>
                </a:lnTo>
                <a:lnTo>
                  <a:pt x="340" y="514"/>
                </a:lnTo>
                <a:lnTo>
                  <a:pt x="337" y="517"/>
                </a:lnTo>
                <a:lnTo>
                  <a:pt x="332" y="521"/>
                </a:lnTo>
                <a:lnTo>
                  <a:pt x="327" y="524"/>
                </a:lnTo>
                <a:lnTo>
                  <a:pt x="322" y="524"/>
                </a:lnTo>
                <a:lnTo>
                  <a:pt x="318" y="524"/>
                </a:lnTo>
                <a:lnTo>
                  <a:pt x="315" y="524"/>
                </a:lnTo>
                <a:lnTo>
                  <a:pt x="313" y="521"/>
                </a:lnTo>
                <a:lnTo>
                  <a:pt x="313" y="517"/>
                </a:lnTo>
                <a:lnTo>
                  <a:pt x="313" y="512"/>
                </a:lnTo>
                <a:lnTo>
                  <a:pt x="315" y="505"/>
                </a:lnTo>
                <a:lnTo>
                  <a:pt x="320" y="494"/>
                </a:lnTo>
                <a:lnTo>
                  <a:pt x="323" y="482"/>
                </a:lnTo>
                <a:lnTo>
                  <a:pt x="320" y="480"/>
                </a:lnTo>
                <a:lnTo>
                  <a:pt x="316" y="477"/>
                </a:lnTo>
                <a:lnTo>
                  <a:pt x="313" y="473"/>
                </a:lnTo>
                <a:lnTo>
                  <a:pt x="310" y="470"/>
                </a:lnTo>
                <a:lnTo>
                  <a:pt x="305" y="460"/>
                </a:lnTo>
                <a:lnTo>
                  <a:pt x="300" y="448"/>
                </a:lnTo>
                <a:lnTo>
                  <a:pt x="291" y="446"/>
                </a:lnTo>
                <a:lnTo>
                  <a:pt x="285" y="445"/>
                </a:lnTo>
                <a:lnTo>
                  <a:pt x="279" y="443"/>
                </a:lnTo>
                <a:lnTo>
                  <a:pt x="274" y="440"/>
                </a:lnTo>
                <a:lnTo>
                  <a:pt x="269" y="431"/>
                </a:lnTo>
                <a:lnTo>
                  <a:pt x="268" y="423"/>
                </a:lnTo>
                <a:lnTo>
                  <a:pt x="258" y="423"/>
                </a:lnTo>
                <a:lnTo>
                  <a:pt x="247" y="421"/>
                </a:lnTo>
                <a:lnTo>
                  <a:pt x="241" y="416"/>
                </a:lnTo>
                <a:lnTo>
                  <a:pt x="234" y="409"/>
                </a:lnTo>
                <a:lnTo>
                  <a:pt x="227" y="399"/>
                </a:lnTo>
                <a:lnTo>
                  <a:pt x="224" y="387"/>
                </a:lnTo>
                <a:lnTo>
                  <a:pt x="221" y="372"/>
                </a:lnTo>
                <a:lnTo>
                  <a:pt x="219" y="354"/>
                </a:lnTo>
                <a:lnTo>
                  <a:pt x="215" y="345"/>
                </a:lnTo>
                <a:lnTo>
                  <a:pt x="214" y="337"/>
                </a:lnTo>
                <a:lnTo>
                  <a:pt x="210" y="334"/>
                </a:lnTo>
                <a:lnTo>
                  <a:pt x="209" y="330"/>
                </a:lnTo>
                <a:lnTo>
                  <a:pt x="205" y="332"/>
                </a:lnTo>
                <a:lnTo>
                  <a:pt x="204" y="334"/>
                </a:lnTo>
                <a:lnTo>
                  <a:pt x="200" y="339"/>
                </a:lnTo>
                <a:lnTo>
                  <a:pt x="199" y="345"/>
                </a:lnTo>
                <a:lnTo>
                  <a:pt x="192" y="349"/>
                </a:lnTo>
                <a:lnTo>
                  <a:pt x="187" y="354"/>
                </a:lnTo>
                <a:lnTo>
                  <a:pt x="184" y="362"/>
                </a:lnTo>
                <a:lnTo>
                  <a:pt x="182" y="374"/>
                </a:lnTo>
                <a:lnTo>
                  <a:pt x="180" y="398"/>
                </a:lnTo>
                <a:lnTo>
                  <a:pt x="178" y="423"/>
                </a:lnTo>
                <a:lnTo>
                  <a:pt x="177" y="431"/>
                </a:lnTo>
                <a:lnTo>
                  <a:pt x="177" y="438"/>
                </a:lnTo>
                <a:lnTo>
                  <a:pt x="177" y="443"/>
                </a:lnTo>
                <a:lnTo>
                  <a:pt x="178" y="446"/>
                </a:lnTo>
                <a:lnTo>
                  <a:pt x="182" y="448"/>
                </a:lnTo>
                <a:lnTo>
                  <a:pt x="185" y="448"/>
                </a:lnTo>
                <a:lnTo>
                  <a:pt x="190" y="446"/>
                </a:lnTo>
                <a:lnTo>
                  <a:pt x="197" y="443"/>
                </a:lnTo>
                <a:lnTo>
                  <a:pt x="205" y="438"/>
                </a:lnTo>
                <a:lnTo>
                  <a:pt x="212" y="436"/>
                </a:lnTo>
                <a:lnTo>
                  <a:pt x="217" y="436"/>
                </a:lnTo>
                <a:lnTo>
                  <a:pt x="221" y="440"/>
                </a:lnTo>
                <a:lnTo>
                  <a:pt x="221" y="445"/>
                </a:lnTo>
                <a:lnTo>
                  <a:pt x="219" y="451"/>
                </a:lnTo>
                <a:lnTo>
                  <a:pt x="215" y="458"/>
                </a:lnTo>
                <a:lnTo>
                  <a:pt x="210" y="465"/>
                </a:lnTo>
                <a:lnTo>
                  <a:pt x="190" y="490"/>
                </a:lnTo>
                <a:lnTo>
                  <a:pt x="168" y="515"/>
                </a:lnTo>
                <a:lnTo>
                  <a:pt x="163" y="522"/>
                </a:lnTo>
                <a:lnTo>
                  <a:pt x="157" y="526"/>
                </a:lnTo>
                <a:lnTo>
                  <a:pt x="153" y="526"/>
                </a:lnTo>
                <a:lnTo>
                  <a:pt x="148" y="524"/>
                </a:lnTo>
                <a:lnTo>
                  <a:pt x="143" y="521"/>
                </a:lnTo>
                <a:lnTo>
                  <a:pt x="138" y="515"/>
                </a:lnTo>
                <a:lnTo>
                  <a:pt x="131" y="504"/>
                </a:lnTo>
                <a:lnTo>
                  <a:pt x="123" y="495"/>
                </a:lnTo>
                <a:lnTo>
                  <a:pt x="114" y="487"/>
                </a:lnTo>
                <a:lnTo>
                  <a:pt x="106" y="478"/>
                </a:lnTo>
                <a:lnTo>
                  <a:pt x="89" y="467"/>
                </a:lnTo>
                <a:lnTo>
                  <a:pt x="72" y="457"/>
                </a:lnTo>
                <a:lnTo>
                  <a:pt x="64" y="457"/>
                </a:lnTo>
                <a:lnTo>
                  <a:pt x="59" y="458"/>
                </a:lnTo>
                <a:lnTo>
                  <a:pt x="54" y="457"/>
                </a:lnTo>
                <a:lnTo>
                  <a:pt x="52" y="455"/>
                </a:lnTo>
                <a:lnTo>
                  <a:pt x="51" y="450"/>
                </a:lnTo>
                <a:lnTo>
                  <a:pt x="52" y="445"/>
                </a:lnTo>
                <a:lnTo>
                  <a:pt x="57" y="436"/>
                </a:lnTo>
                <a:lnTo>
                  <a:pt x="62" y="428"/>
                </a:lnTo>
                <a:lnTo>
                  <a:pt x="66" y="419"/>
                </a:lnTo>
                <a:lnTo>
                  <a:pt x="67" y="413"/>
                </a:lnTo>
                <a:lnTo>
                  <a:pt x="67" y="408"/>
                </a:lnTo>
                <a:lnTo>
                  <a:pt x="64" y="403"/>
                </a:lnTo>
                <a:lnTo>
                  <a:pt x="57" y="399"/>
                </a:lnTo>
                <a:lnTo>
                  <a:pt x="51" y="396"/>
                </a:lnTo>
                <a:lnTo>
                  <a:pt x="40" y="393"/>
                </a:lnTo>
                <a:lnTo>
                  <a:pt x="27" y="391"/>
                </a:lnTo>
                <a:lnTo>
                  <a:pt x="22" y="394"/>
                </a:lnTo>
                <a:lnTo>
                  <a:pt x="17" y="394"/>
                </a:lnTo>
                <a:lnTo>
                  <a:pt x="14" y="396"/>
                </a:lnTo>
                <a:lnTo>
                  <a:pt x="10" y="394"/>
                </a:lnTo>
                <a:lnTo>
                  <a:pt x="8" y="389"/>
                </a:lnTo>
                <a:lnTo>
                  <a:pt x="8" y="382"/>
                </a:lnTo>
                <a:lnTo>
                  <a:pt x="10" y="374"/>
                </a:lnTo>
                <a:lnTo>
                  <a:pt x="14" y="361"/>
                </a:lnTo>
                <a:lnTo>
                  <a:pt x="20" y="354"/>
                </a:lnTo>
                <a:lnTo>
                  <a:pt x="25" y="347"/>
                </a:lnTo>
                <a:lnTo>
                  <a:pt x="29" y="339"/>
                </a:lnTo>
                <a:lnTo>
                  <a:pt x="32" y="330"/>
                </a:lnTo>
                <a:lnTo>
                  <a:pt x="34" y="320"/>
                </a:lnTo>
                <a:lnTo>
                  <a:pt x="34" y="308"/>
                </a:lnTo>
                <a:lnTo>
                  <a:pt x="34" y="297"/>
                </a:lnTo>
                <a:lnTo>
                  <a:pt x="30" y="283"/>
                </a:lnTo>
                <a:lnTo>
                  <a:pt x="27" y="276"/>
                </a:lnTo>
                <a:lnTo>
                  <a:pt x="24" y="271"/>
                </a:lnTo>
                <a:lnTo>
                  <a:pt x="24" y="266"/>
                </a:lnTo>
                <a:lnTo>
                  <a:pt x="24" y="261"/>
                </a:lnTo>
                <a:lnTo>
                  <a:pt x="25" y="251"/>
                </a:lnTo>
                <a:lnTo>
                  <a:pt x="27" y="243"/>
                </a:lnTo>
                <a:lnTo>
                  <a:pt x="24" y="222"/>
                </a:lnTo>
                <a:lnTo>
                  <a:pt x="22" y="202"/>
                </a:lnTo>
                <a:lnTo>
                  <a:pt x="20" y="184"/>
                </a:lnTo>
                <a:lnTo>
                  <a:pt x="22" y="167"/>
                </a:lnTo>
                <a:lnTo>
                  <a:pt x="25" y="165"/>
                </a:lnTo>
                <a:lnTo>
                  <a:pt x="29" y="163"/>
                </a:lnTo>
                <a:lnTo>
                  <a:pt x="30" y="160"/>
                </a:lnTo>
                <a:lnTo>
                  <a:pt x="32" y="158"/>
                </a:lnTo>
                <a:lnTo>
                  <a:pt x="30" y="155"/>
                </a:lnTo>
                <a:lnTo>
                  <a:pt x="29" y="152"/>
                </a:lnTo>
                <a:lnTo>
                  <a:pt x="25" y="150"/>
                </a:lnTo>
                <a:lnTo>
                  <a:pt x="20" y="148"/>
                </a:lnTo>
                <a:lnTo>
                  <a:pt x="10" y="140"/>
                </a:lnTo>
                <a:lnTo>
                  <a:pt x="0" y="135"/>
                </a:lnTo>
                <a:lnTo>
                  <a:pt x="2" y="130"/>
                </a:lnTo>
                <a:lnTo>
                  <a:pt x="3" y="125"/>
                </a:lnTo>
                <a:lnTo>
                  <a:pt x="27" y="125"/>
                </a:lnTo>
                <a:lnTo>
                  <a:pt x="52" y="125"/>
                </a:lnTo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32776" name="Freeform 12"/>
          <p:cNvSpPr>
            <a:spLocks/>
          </p:cNvSpPr>
          <p:nvPr/>
        </p:nvSpPr>
        <p:spPr bwMode="auto">
          <a:xfrm>
            <a:off x="4318000" y="1717675"/>
            <a:ext cx="1779588" cy="1811338"/>
          </a:xfrm>
          <a:custGeom>
            <a:avLst/>
            <a:gdLst>
              <a:gd name="T0" fmla="*/ 1079433068 w 1615"/>
              <a:gd name="T1" fmla="*/ 1964804500 h 1632"/>
              <a:gd name="T2" fmla="*/ 1016293506 w 1615"/>
              <a:gd name="T3" fmla="*/ 1977123152 h 1632"/>
              <a:gd name="T4" fmla="*/ 897301327 w 1615"/>
              <a:gd name="T5" fmla="*/ 1931544472 h 1632"/>
              <a:gd name="T6" fmla="*/ 807450315 w 1615"/>
              <a:gd name="T7" fmla="*/ 1931544472 h 1632"/>
              <a:gd name="T8" fmla="*/ 747953674 w 1615"/>
              <a:gd name="T9" fmla="*/ 2000528480 h 1632"/>
              <a:gd name="T10" fmla="*/ 672672143 w 1615"/>
              <a:gd name="T11" fmla="*/ 1969732405 h 1632"/>
              <a:gd name="T12" fmla="*/ 558537192 w 1615"/>
              <a:gd name="T13" fmla="*/ 1936472377 h 1632"/>
              <a:gd name="T14" fmla="*/ 509968214 w 1615"/>
              <a:gd name="T15" fmla="*/ 1836692292 h 1632"/>
              <a:gd name="T16" fmla="*/ 352121513 w 1615"/>
              <a:gd name="T17" fmla="*/ 1788649660 h 1632"/>
              <a:gd name="T18" fmla="*/ 290196258 w 1615"/>
              <a:gd name="T19" fmla="*/ 1693797480 h 1632"/>
              <a:gd name="T20" fmla="*/ 259840784 w 1615"/>
              <a:gd name="T21" fmla="*/ 1630972243 h 1632"/>
              <a:gd name="T22" fmla="*/ 100779776 w 1615"/>
              <a:gd name="T23" fmla="*/ 1525033387 h 1632"/>
              <a:gd name="T24" fmla="*/ 149347653 w 1615"/>
              <a:gd name="T25" fmla="*/ 1388297346 h 1632"/>
              <a:gd name="T26" fmla="*/ 109278824 w 1615"/>
              <a:gd name="T27" fmla="*/ 1313154567 h 1632"/>
              <a:gd name="T28" fmla="*/ 80137658 w 1615"/>
              <a:gd name="T29" fmla="*/ 1193665083 h 1632"/>
              <a:gd name="T30" fmla="*/ 135991377 w 1615"/>
              <a:gd name="T31" fmla="*/ 1072943623 h 1632"/>
              <a:gd name="T32" fmla="*/ 6071536 w 1615"/>
              <a:gd name="T33" fmla="*/ 896788782 h 1632"/>
              <a:gd name="T34" fmla="*/ 6071536 w 1615"/>
              <a:gd name="T35" fmla="*/ 766212622 h 1632"/>
              <a:gd name="T36" fmla="*/ 94708241 w 1615"/>
              <a:gd name="T37" fmla="*/ 724328761 h 1632"/>
              <a:gd name="T38" fmla="*/ 100779776 w 1615"/>
              <a:gd name="T39" fmla="*/ 624548676 h 1632"/>
              <a:gd name="T40" fmla="*/ 212487215 w 1615"/>
              <a:gd name="T41" fmla="*/ 578971106 h 1632"/>
              <a:gd name="T42" fmla="*/ 335122315 w 1615"/>
              <a:gd name="T43" fmla="*/ 554333802 h 1632"/>
              <a:gd name="T44" fmla="*/ 537895073 w 1615"/>
              <a:gd name="T45" fmla="*/ 526000568 h 1632"/>
              <a:gd name="T46" fmla="*/ 656887253 w 1615"/>
              <a:gd name="T47" fmla="*/ 526000568 h 1632"/>
              <a:gd name="T48" fmla="*/ 729740169 w 1615"/>
              <a:gd name="T49" fmla="*/ 548173920 h 1632"/>
              <a:gd name="T50" fmla="*/ 755238415 w 1615"/>
              <a:gd name="T51" fmla="*/ 436076294 h 1632"/>
              <a:gd name="T52" fmla="*/ 761309950 w 1615"/>
              <a:gd name="T53" fmla="*/ 341223005 h 1632"/>
              <a:gd name="T54" fmla="*/ 762524257 w 1615"/>
              <a:gd name="T55" fmla="*/ 220501544 h 1632"/>
              <a:gd name="T56" fmla="*/ 732168784 w 1615"/>
              <a:gd name="T57" fmla="*/ 104707989 h 1632"/>
              <a:gd name="T58" fmla="*/ 767380384 w 1615"/>
              <a:gd name="T59" fmla="*/ 23405328 h 1632"/>
              <a:gd name="T60" fmla="*/ 879087822 w 1615"/>
              <a:gd name="T61" fmla="*/ 23405328 h 1632"/>
              <a:gd name="T62" fmla="*/ 959226582 w 1615"/>
              <a:gd name="T63" fmla="*/ 2463952 h 1632"/>
              <a:gd name="T64" fmla="*/ 989580954 w 1615"/>
              <a:gd name="T65" fmla="*/ 38187933 h 1632"/>
              <a:gd name="T66" fmla="*/ 1058790949 w 1615"/>
              <a:gd name="T67" fmla="*/ 77606732 h 1632"/>
              <a:gd name="T68" fmla="*/ 1245779919 w 1615"/>
              <a:gd name="T69" fmla="*/ 99780084 h 1632"/>
              <a:gd name="T70" fmla="*/ 1335630931 w 1615"/>
              <a:gd name="T71" fmla="*/ 105938855 h 1632"/>
              <a:gd name="T72" fmla="*/ 1408483848 w 1615"/>
              <a:gd name="T73" fmla="*/ 98548108 h 1632"/>
              <a:gd name="T74" fmla="*/ 1393913264 w 1615"/>
              <a:gd name="T75" fmla="*/ 220501544 h 1632"/>
              <a:gd name="T76" fmla="*/ 1431553479 w 1615"/>
              <a:gd name="T77" fmla="*/ 323977557 h 1632"/>
              <a:gd name="T78" fmla="*/ 1419411510 w 1615"/>
              <a:gd name="T79" fmla="*/ 417597761 h 1632"/>
              <a:gd name="T80" fmla="*/ 1399984800 w 1615"/>
              <a:gd name="T81" fmla="*/ 529696497 h 1632"/>
              <a:gd name="T82" fmla="*/ 1482551072 w 1615"/>
              <a:gd name="T83" fmla="*/ 542015149 h 1632"/>
              <a:gd name="T84" fmla="*/ 1435196400 w 1615"/>
              <a:gd name="T85" fmla="*/ 656577838 h 1632"/>
              <a:gd name="T86" fmla="*/ 1498334860 w 1615"/>
              <a:gd name="T87" fmla="*/ 753893970 h 1632"/>
              <a:gd name="T88" fmla="*/ 1593044203 w 1615"/>
              <a:gd name="T89" fmla="*/ 820414026 h 1632"/>
              <a:gd name="T90" fmla="*/ 1662254199 w 1615"/>
              <a:gd name="T91" fmla="*/ 821646002 h 1632"/>
              <a:gd name="T92" fmla="*/ 1799459882 w 1615"/>
              <a:gd name="T93" fmla="*/ 859832826 h 1632"/>
              <a:gd name="T94" fmla="*/ 1928165416 w 1615"/>
              <a:gd name="T95" fmla="*/ 985482191 h 1632"/>
              <a:gd name="T96" fmla="*/ 1880811847 w 1615"/>
              <a:gd name="T97" fmla="*/ 1064320899 h 1632"/>
              <a:gd name="T98" fmla="*/ 1946378921 w 1615"/>
              <a:gd name="T99" fmla="*/ 1100043770 h 1632"/>
              <a:gd name="T100" fmla="*/ 1850456373 w 1615"/>
              <a:gd name="T101" fmla="*/ 1127145026 h 1632"/>
              <a:gd name="T102" fmla="*/ 1692608570 w 1615"/>
              <a:gd name="T103" fmla="*/ 1188737178 h 1632"/>
              <a:gd name="T104" fmla="*/ 1647683615 w 1615"/>
              <a:gd name="T105" fmla="*/ 1288517262 h 1632"/>
              <a:gd name="T106" fmla="*/ 1521405593 w 1615"/>
              <a:gd name="T107" fmla="*/ 1367355971 h 1632"/>
              <a:gd name="T108" fmla="*/ 1407269541 w 1615"/>
              <a:gd name="T109" fmla="*/ 1382138575 h 1632"/>
              <a:gd name="T110" fmla="*/ 1345345388 w 1615"/>
              <a:gd name="T111" fmla="*/ 1411702675 h 1632"/>
              <a:gd name="T112" fmla="*/ 1267635243 w 1615"/>
              <a:gd name="T113" fmla="*/ 1411702675 h 1632"/>
              <a:gd name="T114" fmla="*/ 1181426050 w 1615"/>
              <a:gd name="T115" fmla="*/ 1602640120 h 1632"/>
              <a:gd name="T116" fmla="*/ 1169284080 w 1615"/>
              <a:gd name="T117" fmla="*/ 1643290895 h 1632"/>
              <a:gd name="T118" fmla="*/ 1161999340 w 1615"/>
              <a:gd name="T119" fmla="*/ 1755389632 h 1632"/>
              <a:gd name="T120" fmla="*/ 1123144818 w 1615"/>
              <a:gd name="T121" fmla="*/ 1815750917 h 1632"/>
              <a:gd name="T122" fmla="*/ 1171712695 w 1615"/>
              <a:gd name="T123" fmla="*/ 1819445735 h 1632"/>
              <a:gd name="T124" fmla="*/ 1130429559 w 1615"/>
              <a:gd name="T125" fmla="*/ 1963572524 h 1632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1615" h="1632">
                <a:moveTo>
                  <a:pt x="930" y="1609"/>
                </a:moveTo>
                <a:lnTo>
                  <a:pt x="923" y="1602"/>
                </a:lnTo>
                <a:lnTo>
                  <a:pt x="918" y="1592"/>
                </a:lnTo>
                <a:lnTo>
                  <a:pt x="911" y="1585"/>
                </a:lnTo>
                <a:lnTo>
                  <a:pt x="904" y="1580"/>
                </a:lnTo>
                <a:lnTo>
                  <a:pt x="899" y="1577"/>
                </a:lnTo>
                <a:lnTo>
                  <a:pt x="896" y="1578"/>
                </a:lnTo>
                <a:lnTo>
                  <a:pt x="893" y="1580"/>
                </a:lnTo>
                <a:lnTo>
                  <a:pt x="891" y="1587"/>
                </a:lnTo>
                <a:lnTo>
                  <a:pt x="889" y="1595"/>
                </a:lnTo>
                <a:lnTo>
                  <a:pt x="889" y="1605"/>
                </a:lnTo>
                <a:lnTo>
                  <a:pt x="889" y="1617"/>
                </a:lnTo>
                <a:lnTo>
                  <a:pt x="888" y="1624"/>
                </a:lnTo>
                <a:lnTo>
                  <a:pt x="884" y="1629"/>
                </a:lnTo>
                <a:lnTo>
                  <a:pt x="879" y="1632"/>
                </a:lnTo>
                <a:lnTo>
                  <a:pt x="874" y="1632"/>
                </a:lnTo>
                <a:lnTo>
                  <a:pt x="867" y="1631"/>
                </a:lnTo>
                <a:lnTo>
                  <a:pt x="861" y="1627"/>
                </a:lnTo>
                <a:lnTo>
                  <a:pt x="852" y="1622"/>
                </a:lnTo>
                <a:lnTo>
                  <a:pt x="837" y="1605"/>
                </a:lnTo>
                <a:lnTo>
                  <a:pt x="824" y="1589"/>
                </a:lnTo>
                <a:lnTo>
                  <a:pt x="808" y="1575"/>
                </a:lnTo>
                <a:lnTo>
                  <a:pt x="793" y="1560"/>
                </a:lnTo>
                <a:lnTo>
                  <a:pt x="787" y="1558"/>
                </a:lnTo>
                <a:lnTo>
                  <a:pt x="781" y="1557"/>
                </a:lnTo>
                <a:lnTo>
                  <a:pt x="776" y="1557"/>
                </a:lnTo>
                <a:lnTo>
                  <a:pt x="771" y="1557"/>
                </a:lnTo>
                <a:lnTo>
                  <a:pt x="763" y="1560"/>
                </a:lnTo>
                <a:lnTo>
                  <a:pt x="755" y="1567"/>
                </a:lnTo>
                <a:lnTo>
                  <a:pt x="739" y="1568"/>
                </a:lnTo>
                <a:lnTo>
                  <a:pt x="726" y="1568"/>
                </a:lnTo>
                <a:lnTo>
                  <a:pt x="719" y="1567"/>
                </a:lnTo>
                <a:lnTo>
                  <a:pt x="714" y="1563"/>
                </a:lnTo>
                <a:lnTo>
                  <a:pt x="707" y="1560"/>
                </a:lnTo>
                <a:lnTo>
                  <a:pt x="702" y="1557"/>
                </a:lnTo>
                <a:lnTo>
                  <a:pt x="697" y="1553"/>
                </a:lnTo>
                <a:lnTo>
                  <a:pt x="691" y="1553"/>
                </a:lnTo>
                <a:lnTo>
                  <a:pt x="684" y="1555"/>
                </a:lnTo>
                <a:lnTo>
                  <a:pt x="677" y="1558"/>
                </a:lnTo>
                <a:lnTo>
                  <a:pt x="665" y="1568"/>
                </a:lnTo>
                <a:lnTo>
                  <a:pt x="652" y="1580"/>
                </a:lnTo>
                <a:lnTo>
                  <a:pt x="654" y="1594"/>
                </a:lnTo>
                <a:lnTo>
                  <a:pt x="652" y="1605"/>
                </a:lnTo>
                <a:lnTo>
                  <a:pt x="650" y="1612"/>
                </a:lnTo>
                <a:lnTo>
                  <a:pt x="647" y="1617"/>
                </a:lnTo>
                <a:lnTo>
                  <a:pt x="643" y="1621"/>
                </a:lnTo>
                <a:lnTo>
                  <a:pt x="638" y="1622"/>
                </a:lnTo>
                <a:lnTo>
                  <a:pt x="633" y="1622"/>
                </a:lnTo>
                <a:lnTo>
                  <a:pt x="630" y="1624"/>
                </a:lnTo>
                <a:lnTo>
                  <a:pt x="616" y="1624"/>
                </a:lnTo>
                <a:lnTo>
                  <a:pt x="603" y="1626"/>
                </a:lnTo>
                <a:lnTo>
                  <a:pt x="590" y="1626"/>
                </a:lnTo>
                <a:lnTo>
                  <a:pt x="576" y="1626"/>
                </a:lnTo>
                <a:lnTo>
                  <a:pt x="566" y="1624"/>
                </a:lnTo>
                <a:lnTo>
                  <a:pt x="559" y="1619"/>
                </a:lnTo>
                <a:lnTo>
                  <a:pt x="558" y="1615"/>
                </a:lnTo>
                <a:lnTo>
                  <a:pt x="556" y="1612"/>
                </a:lnTo>
                <a:lnTo>
                  <a:pt x="556" y="1609"/>
                </a:lnTo>
                <a:lnTo>
                  <a:pt x="556" y="1604"/>
                </a:lnTo>
                <a:lnTo>
                  <a:pt x="554" y="1599"/>
                </a:lnTo>
                <a:lnTo>
                  <a:pt x="551" y="1595"/>
                </a:lnTo>
                <a:lnTo>
                  <a:pt x="544" y="1594"/>
                </a:lnTo>
                <a:lnTo>
                  <a:pt x="537" y="1594"/>
                </a:lnTo>
                <a:lnTo>
                  <a:pt x="522" y="1592"/>
                </a:lnTo>
                <a:lnTo>
                  <a:pt x="512" y="1590"/>
                </a:lnTo>
                <a:lnTo>
                  <a:pt x="504" y="1587"/>
                </a:lnTo>
                <a:lnTo>
                  <a:pt x="497" y="1583"/>
                </a:lnTo>
                <a:lnTo>
                  <a:pt x="482" y="1580"/>
                </a:lnTo>
                <a:lnTo>
                  <a:pt x="470" y="1575"/>
                </a:lnTo>
                <a:lnTo>
                  <a:pt x="460" y="1572"/>
                </a:lnTo>
                <a:lnTo>
                  <a:pt x="452" y="1567"/>
                </a:lnTo>
                <a:lnTo>
                  <a:pt x="445" y="1562"/>
                </a:lnTo>
                <a:lnTo>
                  <a:pt x="441" y="1557"/>
                </a:lnTo>
                <a:lnTo>
                  <a:pt x="440" y="1551"/>
                </a:lnTo>
                <a:lnTo>
                  <a:pt x="441" y="1545"/>
                </a:lnTo>
                <a:lnTo>
                  <a:pt x="438" y="1533"/>
                </a:lnTo>
                <a:lnTo>
                  <a:pt x="436" y="1519"/>
                </a:lnTo>
                <a:lnTo>
                  <a:pt x="430" y="1506"/>
                </a:lnTo>
                <a:lnTo>
                  <a:pt x="425" y="1496"/>
                </a:lnTo>
                <a:lnTo>
                  <a:pt x="420" y="1491"/>
                </a:lnTo>
                <a:lnTo>
                  <a:pt x="413" y="1488"/>
                </a:lnTo>
                <a:lnTo>
                  <a:pt x="384" y="1469"/>
                </a:lnTo>
                <a:lnTo>
                  <a:pt x="364" y="1454"/>
                </a:lnTo>
                <a:lnTo>
                  <a:pt x="347" y="1450"/>
                </a:lnTo>
                <a:lnTo>
                  <a:pt x="334" y="1450"/>
                </a:lnTo>
                <a:lnTo>
                  <a:pt x="322" y="1452"/>
                </a:lnTo>
                <a:lnTo>
                  <a:pt x="312" y="1454"/>
                </a:lnTo>
                <a:lnTo>
                  <a:pt x="303" y="1454"/>
                </a:lnTo>
                <a:lnTo>
                  <a:pt x="295" y="1454"/>
                </a:lnTo>
                <a:lnTo>
                  <a:pt x="290" y="1452"/>
                </a:lnTo>
                <a:lnTo>
                  <a:pt x="283" y="1449"/>
                </a:lnTo>
                <a:lnTo>
                  <a:pt x="280" y="1445"/>
                </a:lnTo>
                <a:lnTo>
                  <a:pt x="275" y="1440"/>
                </a:lnTo>
                <a:lnTo>
                  <a:pt x="273" y="1435"/>
                </a:lnTo>
                <a:lnTo>
                  <a:pt x="270" y="1430"/>
                </a:lnTo>
                <a:lnTo>
                  <a:pt x="260" y="1408"/>
                </a:lnTo>
                <a:lnTo>
                  <a:pt x="248" y="1386"/>
                </a:lnTo>
                <a:lnTo>
                  <a:pt x="244" y="1381"/>
                </a:lnTo>
                <a:lnTo>
                  <a:pt x="241" y="1378"/>
                </a:lnTo>
                <a:lnTo>
                  <a:pt x="239" y="1375"/>
                </a:lnTo>
                <a:lnTo>
                  <a:pt x="239" y="1370"/>
                </a:lnTo>
                <a:lnTo>
                  <a:pt x="239" y="1363"/>
                </a:lnTo>
                <a:lnTo>
                  <a:pt x="241" y="1354"/>
                </a:lnTo>
                <a:lnTo>
                  <a:pt x="238" y="1346"/>
                </a:lnTo>
                <a:lnTo>
                  <a:pt x="236" y="1339"/>
                </a:lnTo>
                <a:lnTo>
                  <a:pt x="233" y="1334"/>
                </a:lnTo>
                <a:lnTo>
                  <a:pt x="228" y="1329"/>
                </a:lnTo>
                <a:lnTo>
                  <a:pt x="224" y="1326"/>
                </a:lnTo>
                <a:lnTo>
                  <a:pt x="219" y="1324"/>
                </a:lnTo>
                <a:lnTo>
                  <a:pt x="214" y="1324"/>
                </a:lnTo>
                <a:lnTo>
                  <a:pt x="209" y="1324"/>
                </a:lnTo>
                <a:lnTo>
                  <a:pt x="184" y="1302"/>
                </a:lnTo>
                <a:lnTo>
                  <a:pt x="165" y="1289"/>
                </a:lnTo>
                <a:lnTo>
                  <a:pt x="154" y="1280"/>
                </a:lnTo>
                <a:lnTo>
                  <a:pt x="147" y="1277"/>
                </a:lnTo>
                <a:lnTo>
                  <a:pt x="138" y="1275"/>
                </a:lnTo>
                <a:lnTo>
                  <a:pt x="128" y="1272"/>
                </a:lnTo>
                <a:lnTo>
                  <a:pt x="110" y="1258"/>
                </a:lnTo>
                <a:lnTo>
                  <a:pt x="93" y="1245"/>
                </a:lnTo>
                <a:lnTo>
                  <a:pt x="83" y="1238"/>
                </a:lnTo>
                <a:lnTo>
                  <a:pt x="78" y="1230"/>
                </a:lnTo>
                <a:lnTo>
                  <a:pt x="78" y="1225"/>
                </a:lnTo>
                <a:lnTo>
                  <a:pt x="78" y="1221"/>
                </a:lnTo>
                <a:lnTo>
                  <a:pt x="78" y="1216"/>
                </a:lnTo>
                <a:lnTo>
                  <a:pt x="81" y="1213"/>
                </a:lnTo>
                <a:lnTo>
                  <a:pt x="88" y="1193"/>
                </a:lnTo>
                <a:lnTo>
                  <a:pt x="96" y="1173"/>
                </a:lnTo>
                <a:lnTo>
                  <a:pt x="105" y="1157"/>
                </a:lnTo>
                <a:lnTo>
                  <a:pt x="115" y="1142"/>
                </a:lnTo>
                <a:lnTo>
                  <a:pt x="123" y="1127"/>
                </a:lnTo>
                <a:lnTo>
                  <a:pt x="132" y="1112"/>
                </a:lnTo>
                <a:lnTo>
                  <a:pt x="135" y="1107"/>
                </a:lnTo>
                <a:lnTo>
                  <a:pt x="137" y="1102"/>
                </a:lnTo>
                <a:lnTo>
                  <a:pt x="137" y="1098"/>
                </a:lnTo>
                <a:lnTo>
                  <a:pt x="137" y="1095"/>
                </a:lnTo>
                <a:lnTo>
                  <a:pt x="133" y="1090"/>
                </a:lnTo>
                <a:lnTo>
                  <a:pt x="127" y="1085"/>
                </a:lnTo>
                <a:lnTo>
                  <a:pt x="113" y="1080"/>
                </a:lnTo>
                <a:lnTo>
                  <a:pt x="100" y="1073"/>
                </a:lnTo>
                <a:lnTo>
                  <a:pt x="90" y="1066"/>
                </a:lnTo>
                <a:lnTo>
                  <a:pt x="81" y="1056"/>
                </a:lnTo>
                <a:lnTo>
                  <a:pt x="68" y="1048"/>
                </a:lnTo>
                <a:lnTo>
                  <a:pt x="56" y="1040"/>
                </a:lnTo>
                <a:lnTo>
                  <a:pt x="48" y="1031"/>
                </a:lnTo>
                <a:lnTo>
                  <a:pt x="42" y="1023"/>
                </a:lnTo>
                <a:lnTo>
                  <a:pt x="39" y="1016"/>
                </a:lnTo>
                <a:lnTo>
                  <a:pt x="37" y="1008"/>
                </a:lnTo>
                <a:lnTo>
                  <a:pt x="41" y="999"/>
                </a:lnTo>
                <a:lnTo>
                  <a:pt x="48" y="991"/>
                </a:lnTo>
                <a:lnTo>
                  <a:pt x="66" y="969"/>
                </a:lnTo>
                <a:lnTo>
                  <a:pt x="85" y="945"/>
                </a:lnTo>
                <a:lnTo>
                  <a:pt x="90" y="930"/>
                </a:lnTo>
                <a:lnTo>
                  <a:pt x="96" y="920"/>
                </a:lnTo>
                <a:lnTo>
                  <a:pt x="100" y="917"/>
                </a:lnTo>
                <a:lnTo>
                  <a:pt x="105" y="913"/>
                </a:lnTo>
                <a:lnTo>
                  <a:pt x="108" y="912"/>
                </a:lnTo>
                <a:lnTo>
                  <a:pt x="113" y="910"/>
                </a:lnTo>
                <a:lnTo>
                  <a:pt x="113" y="896"/>
                </a:lnTo>
                <a:lnTo>
                  <a:pt x="113" y="885"/>
                </a:lnTo>
                <a:lnTo>
                  <a:pt x="112" y="871"/>
                </a:lnTo>
                <a:lnTo>
                  <a:pt x="112" y="858"/>
                </a:lnTo>
                <a:lnTo>
                  <a:pt x="100" y="837"/>
                </a:lnTo>
                <a:lnTo>
                  <a:pt x="88" y="816"/>
                </a:lnTo>
                <a:lnTo>
                  <a:pt x="73" y="800"/>
                </a:lnTo>
                <a:lnTo>
                  <a:pt x="56" y="787"/>
                </a:lnTo>
                <a:lnTo>
                  <a:pt x="41" y="772"/>
                </a:lnTo>
                <a:lnTo>
                  <a:pt x="26" y="757"/>
                </a:lnTo>
                <a:lnTo>
                  <a:pt x="14" y="745"/>
                </a:lnTo>
                <a:lnTo>
                  <a:pt x="7" y="733"/>
                </a:lnTo>
                <a:lnTo>
                  <a:pt x="5" y="728"/>
                </a:lnTo>
                <a:lnTo>
                  <a:pt x="5" y="721"/>
                </a:lnTo>
                <a:lnTo>
                  <a:pt x="5" y="716"/>
                </a:lnTo>
                <a:lnTo>
                  <a:pt x="7" y="709"/>
                </a:lnTo>
                <a:lnTo>
                  <a:pt x="7" y="699"/>
                </a:lnTo>
                <a:lnTo>
                  <a:pt x="7" y="689"/>
                </a:lnTo>
                <a:lnTo>
                  <a:pt x="4" y="679"/>
                </a:lnTo>
                <a:lnTo>
                  <a:pt x="0" y="669"/>
                </a:lnTo>
                <a:lnTo>
                  <a:pt x="0" y="651"/>
                </a:lnTo>
                <a:lnTo>
                  <a:pt x="2" y="634"/>
                </a:lnTo>
                <a:lnTo>
                  <a:pt x="5" y="622"/>
                </a:lnTo>
                <a:lnTo>
                  <a:pt x="11" y="610"/>
                </a:lnTo>
                <a:lnTo>
                  <a:pt x="17" y="602"/>
                </a:lnTo>
                <a:lnTo>
                  <a:pt x="24" y="595"/>
                </a:lnTo>
                <a:lnTo>
                  <a:pt x="32" y="590"/>
                </a:lnTo>
                <a:lnTo>
                  <a:pt x="42" y="587"/>
                </a:lnTo>
                <a:lnTo>
                  <a:pt x="61" y="593"/>
                </a:lnTo>
                <a:lnTo>
                  <a:pt x="78" y="600"/>
                </a:lnTo>
                <a:lnTo>
                  <a:pt x="80" y="597"/>
                </a:lnTo>
                <a:lnTo>
                  <a:pt x="80" y="592"/>
                </a:lnTo>
                <a:lnTo>
                  <a:pt x="78" y="588"/>
                </a:lnTo>
                <a:lnTo>
                  <a:pt x="76" y="585"/>
                </a:lnTo>
                <a:lnTo>
                  <a:pt x="66" y="576"/>
                </a:lnTo>
                <a:lnTo>
                  <a:pt x="54" y="568"/>
                </a:lnTo>
                <a:lnTo>
                  <a:pt x="56" y="551"/>
                </a:lnTo>
                <a:lnTo>
                  <a:pt x="59" y="536"/>
                </a:lnTo>
                <a:lnTo>
                  <a:pt x="63" y="531"/>
                </a:lnTo>
                <a:lnTo>
                  <a:pt x="68" y="526"/>
                </a:lnTo>
                <a:lnTo>
                  <a:pt x="73" y="523"/>
                </a:lnTo>
                <a:lnTo>
                  <a:pt x="78" y="519"/>
                </a:lnTo>
                <a:lnTo>
                  <a:pt x="83" y="507"/>
                </a:lnTo>
                <a:lnTo>
                  <a:pt x="88" y="497"/>
                </a:lnTo>
                <a:lnTo>
                  <a:pt x="93" y="489"/>
                </a:lnTo>
                <a:lnTo>
                  <a:pt x="100" y="482"/>
                </a:lnTo>
                <a:lnTo>
                  <a:pt x="105" y="477"/>
                </a:lnTo>
                <a:lnTo>
                  <a:pt x="112" y="472"/>
                </a:lnTo>
                <a:lnTo>
                  <a:pt x="118" y="470"/>
                </a:lnTo>
                <a:lnTo>
                  <a:pt x="127" y="469"/>
                </a:lnTo>
                <a:lnTo>
                  <a:pt x="145" y="472"/>
                </a:lnTo>
                <a:lnTo>
                  <a:pt x="165" y="470"/>
                </a:lnTo>
                <a:lnTo>
                  <a:pt x="175" y="470"/>
                </a:lnTo>
                <a:lnTo>
                  <a:pt x="184" y="467"/>
                </a:lnTo>
                <a:lnTo>
                  <a:pt x="194" y="464"/>
                </a:lnTo>
                <a:lnTo>
                  <a:pt x="202" y="460"/>
                </a:lnTo>
                <a:lnTo>
                  <a:pt x="216" y="454"/>
                </a:lnTo>
                <a:lnTo>
                  <a:pt x="229" y="448"/>
                </a:lnTo>
                <a:lnTo>
                  <a:pt x="236" y="448"/>
                </a:lnTo>
                <a:lnTo>
                  <a:pt x="244" y="448"/>
                </a:lnTo>
                <a:lnTo>
                  <a:pt x="253" y="450"/>
                </a:lnTo>
                <a:lnTo>
                  <a:pt x="263" y="454"/>
                </a:lnTo>
                <a:lnTo>
                  <a:pt x="276" y="450"/>
                </a:lnTo>
                <a:lnTo>
                  <a:pt x="290" y="447"/>
                </a:lnTo>
                <a:lnTo>
                  <a:pt x="305" y="445"/>
                </a:lnTo>
                <a:lnTo>
                  <a:pt x="319" y="442"/>
                </a:lnTo>
                <a:lnTo>
                  <a:pt x="344" y="448"/>
                </a:lnTo>
                <a:lnTo>
                  <a:pt x="366" y="452"/>
                </a:lnTo>
                <a:lnTo>
                  <a:pt x="383" y="452"/>
                </a:lnTo>
                <a:lnTo>
                  <a:pt x="396" y="450"/>
                </a:lnTo>
                <a:lnTo>
                  <a:pt x="418" y="440"/>
                </a:lnTo>
                <a:lnTo>
                  <a:pt x="438" y="432"/>
                </a:lnTo>
                <a:lnTo>
                  <a:pt x="443" y="427"/>
                </a:lnTo>
                <a:lnTo>
                  <a:pt x="450" y="422"/>
                </a:lnTo>
                <a:lnTo>
                  <a:pt x="457" y="418"/>
                </a:lnTo>
                <a:lnTo>
                  <a:pt x="463" y="416"/>
                </a:lnTo>
                <a:lnTo>
                  <a:pt x="470" y="415"/>
                </a:lnTo>
                <a:lnTo>
                  <a:pt x="478" y="416"/>
                </a:lnTo>
                <a:lnTo>
                  <a:pt x="485" y="418"/>
                </a:lnTo>
                <a:lnTo>
                  <a:pt x="494" y="422"/>
                </a:lnTo>
                <a:lnTo>
                  <a:pt x="512" y="422"/>
                </a:lnTo>
                <a:lnTo>
                  <a:pt x="531" y="425"/>
                </a:lnTo>
                <a:lnTo>
                  <a:pt x="541" y="427"/>
                </a:lnTo>
                <a:lnTo>
                  <a:pt x="547" y="430"/>
                </a:lnTo>
                <a:lnTo>
                  <a:pt x="556" y="433"/>
                </a:lnTo>
                <a:lnTo>
                  <a:pt x="563" y="438"/>
                </a:lnTo>
                <a:lnTo>
                  <a:pt x="569" y="445"/>
                </a:lnTo>
                <a:lnTo>
                  <a:pt x="576" y="448"/>
                </a:lnTo>
                <a:lnTo>
                  <a:pt x="583" y="452"/>
                </a:lnTo>
                <a:lnTo>
                  <a:pt x="588" y="454"/>
                </a:lnTo>
                <a:lnTo>
                  <a:pt x="593" y="454"/>
                </a:lnTo>
                <a:lnTo>
                  <a:pt x="598" y="450"/>
                </a:lnTo>
                <a:lnTo>
                  <a:pt x="601" y="445"/>
                </a:lnTo>
                <a:lnTo>
                  <a:pt x="605" y="437"/>
                </a:lnTo>
                <a:lnTo>
                  <a:pt x="603" y="423"/>
                </a:lnTo>
                <a:lnTo>
                  <a:pt x="603" y="411"/>
                </a:lnTo>
                <a:lnTo>
                  <a:pt x="603" y="401"/>
                </a:lnTo>
                <a:lnTo>
                  <a:pt x="605" y="393"/>
                </a:lnTo>
                <a:lnTo>
                  <a:pt x="608" y="384"/>
                </a:lnTo>
                <a:lnTo>
                  <a:pt x="611" y="379"/>
                </a:lnTo>
                <a:lnTo>
                  <a:pt x="618" y="376"/>
                </a:lnTo>
                <a:lnTo>
                  <a:pt x="625" y="373"/>
                </a:lnTo>
                <a:lnTo>
                  <a:pt x="622" y="354"/>
                </a:lnTo>
                <a:lnTo>
                  <a:pt x="618" y="336"/>
                </a:lnTo>
                <a:lnTo>
                  <a:pt x="613" y="322"/>
                </a:lnTo>
                <a:lnTo>
                  <a:pt x="610" y="312"/>
                </a:lnTo>
                <a:lnTo>
                  <a:pt x="610" y="304"/>
                </a:lnTo>
                <a:lnTo>
                  <a:pt x="611" y="299"/>
                </a:lnTo>
                <a:lnTo>
                  <a:pt x="615" y="295"/>
                </a:lnTo>
                <a:lnTo>
                  <a:pt x="620" y="294"/>
                </a:lnTo>
                <a:lnTo>
                  <a:pt x="627" y="294"/>
                </a:lnTo>
                <a:lnTo>
                  <a:pt x="633" y="297"/>
                </a:lnTo>
                <a:lnTo>
                  <a:pt x="627" y="277"/>
                </a:lnTo>
                <a:lnTo>
                  <a:pt x="618" y="256"/>
                </a:lnTo>
                <a:lnTo>
                  <a:pt x="611" y="245"/>
                </a:lnTo>
                <a:lnTo>
                  <a:pt x="608" y="233"/>
                </a:lnTo>
                <a:lnTo>
                  <a:pt x="605" y="224"/>
                </a:lnTo>
                <a:lnTo>
                  <a:pt x="605" y="214"/>
                </a:lnTo>
                <a:lnTo>
                  <a:pt x="606" y="208"/>
                </a:lnTo>
                <a:lnTo>
                  <a:pt x="608" y="201"/>
                </a:lnTo>
                <a:lnTo>
                  <a:pt x="613" y="196"/>
                </a:lnTo>
                <a:lnTo>
                  <a:pt x="618" y="191"/>
                </a:lnTo>
                <a:lnTo>
                  <a:pt x="628" y="179"/>
                </a:lnTo>
                <a:lnTo>
                  <a:pt x="638" y="167"/>
                </a:lnTo>
                <a:lnTo>
                  <a:pt x="625" y="149"/>
                </a:lnTo>
                <a:lnTo>
                  <a:pt x="613" y="130"/>
                </a:lnTo>
                <a:lnTo>
                  <a:pt x="610" y="128"/>
                </a:lnTo>
                <a:lnTo>
                  <a:pt x="608" y="125"/>
                </a:lnTo>
                <a:lnTo>
                  <a:pt x="606" y="118"/>
                </a:lnTo>
                <a:lnTo>
                  <a:pt x="606" y="112"/>
                </a:lnTo>
                <a:lnTo>
                  <a:pt x="606" y="105"/>
                </a:lnTo>
                <a:lnTo>
                  <a:pt x="606" y="95"/>
                </a:lnTo>
                <a:lnTo>
                  <a:pt x="603" y="85"/>
                </a:lnTo>
                <a:lnTo>
                  <a:pt x="600" y="75"/>
                </a:lnTo>
                <a:lnTo>
                  <a:pt x="598" y="66"/>
                </a:lnTo>
                <a:lnTo>
                  <a:pt x="595" y="59"/>
                </a:lnTo>
                <a:lnTo>
                  <a:pt x="593" y="51"/>
                </a:lnTo>
                <a:lnTo>
                  <a:pt x="593" y="44"/>
                </a:lnTo>
                <a:lnTo>
                  <a:pt x="595" y="38"/>
                </a:lnTo>
                <a:lnTo>
                  <a:pt x="600" y="32"/>
                </a:lnTo>
                <a:lnTo>
                  <a:pt x="606" y="29"/>
                </a:lnTo>
                <a:lnTo>
                  <a:pt x="618" y="27"/>
                </a:lnTo>
                <a:lnTo>
                  <a:pt x="632" y="19"/>
                </a:lnTo>
                <a:lnTo>
                  <a:pt x="637" y="17"/>
                </a:lnTo>
                <a:lnTo>
                  <a:pt x="640" y="21"/>
                </a:lnTo>
                <a:lnTo>
                  <a:pt x="648" y="29"/>
                </a:lnTo>
                <a:lnTo>
                  <a:pt x="655" y="32"/>
                </a:lnTo>
                <a:lnTo>
                  <a:pt x="662" y="34"/>
                </a:lnTo>
                <a:lnTo>
                  <a:pt x="670" y="32"/>
                </a:lnTo>
                <a:lnTo>
                  <a:pt x="677" y="29"/>
                </a:lnTo>
                <a:lnTo>
                  <a:pt x="697" y="21"/>
                </a:lnTo>
                <a:lnTo>
                  <a:pt x="717" y="12"/>
                </a:lnTo>
                <a:lnTo>
                  <a:pt x="724" y="19"/>
                </a:lnTo>
                <a:lnTo>
                  <a:pt x="731" y="24"/>
                </a:lnTo>
                <a:lnTo>
                  <a:pt x="738" y="27"/>
                </a:lnTo>
                <a:lnTo>
                  <a:pt x="746" y="29"/>
                </a:lnTo>
                <a:lnTo>
                  <a:pt x="755" y="29"/>
                </a:lnTo>
                <a:lnTo>
                  <a:pt x="763" y="26"/>
                </a:lnTo>
                <a:lnTo>
                  <a:pt x="773" y="22"/>
                </a:lnTo>
                <a:lnTo>
                  <a:pt x="783" y="14"/>
                </a:lnTo>
                <a:lnTo>
                  <a:pt x="785" y="9"/>
                </a:lnTo>
                <a:lnTo>
                  <a:pt x="787" y="4"/>
                </a:lnTo>
                <a:lnTo>
                  <a:pt x="790" y="2"/>
                </a:lnTo>
                <a:lnTo>
                  <a:pt x="793" y="0"/>
                </a:lnTo>
                <a:lnTo>
                  <a:pt x="797" y="0"/>
                </a:lnTo>
                <a:lnTo>
                  <a:pt x="800" y="2"/>
                </a:lnTo>
                <a:lnTo>
                  <a:pt x="805" y="6"/>
                </a:lnTo>
                <a:lnTo>
                  <a:pt x="812" y="11"/>
                </a:lnTo>
                <a:lnTo>
                  <a:pt x="810" y="16"/>
                </a:lnTo>
                <a:lnTo>
                  <a:pt x="810" y="21"/>
                </a:lnTo>
                <a:lnTo>
                  <a:pt x="810" y="26"/>
                </a:lnTo>
                <a:lnTo>
                  <a:pt x="812" y="29"/>
                </a:lnTo>
                <a:lnTo>
                  <a:pt x="815" y="31"/>
                </a:lnTo>
                <a:lnTo>
                  <a:pt x="818" y="32"/>
                </a:lnTo>
                <a:lnTo>
                  <a:pt x="822" y="34"/>
                </a:lnTo>
                <a:lnTo>
                  <a:pt x="827" y="34"/>
                </a:lnTo>
                <a:lnTo>
                  <a:pt x="830" y="41"/>
                </a:lnTo>
                <a:lnTo>
                  <a:pt x="835" y="48"/>
                </a:lnTo>
                <a:lnTo>
                  <a:pt x="840" y="53"/>
                </a:lnTo>
                <a:lnTo>
                  <a:pt x="847" y="58"/>
                </a:lnTo>
                <a:lnTo>
                  <a:pt x="854" y="59"/>
                </a:lnTo>
                <a:lnTo>
                  <a:pt x="862" y="63"/>
                </a:lnTo>
                <a:lnTo>
                  <a:pt x="872" y="63"/>
                </a:lnTo>
                <a:lnTo>
                  <a:pt x="881" y="63"/>
                </a:lnTo>
                <a:lnTo>
                  <a:pt x="911" y="59"/>
                </a:lnTo>
                <a:lnTo>
                  <a:pt x="941" y="59"/>
                </a:lnTo>
                <a:lnTo>
                  <a:pt x="957" y="59"/>
                </a:lnTo>
                <a:lnTo>
                  <a:pt x="972" y="61"/>
                </a:lnTo>
                <a:lnTo>
                  <a:pt x="988" y="64"/>
                </a:lnTo>
                <a:lnTo>
                  <a:pt x="1004" y="68"/>
                </a:lnTo>
                <a:lnTo>
                  <a:pt x="1010" y="73"/>
                </a:lnTo>
                <a:lnTo>
                  <a:pt x="1017" y="78"/>
                </a:lnTo>
                <a:lnTo>
                  <a:pt x="1026" y="81"/>
                </a:lnTo>
                <a:lnTo>
                  <a:pt x="1034" y="83"/>
                </a:lnTo>
                <a:lnTo>
                  <a:pt x="1042" y="85"/>
                </a:lnTo>
                <a:lnTo>
                  <a:pt x="1054" y="86"/>
                </a:lnTo>
                <a:lnTo>
                  <a:pt x="1064" y="86"/>
                </a:lnTo>
                <a:lnTo>
                  <a:pt x="1078" y="85"/>
                </a:lnTo>
                <a:lnTo>
                  <a:pt x="1086" y="83"/>
                </a:lnTo>
                <a:lnTo>
                  <a:pt x="1093" y="81"/>
                </a:lnTo>
                <a:lnTo>
                  <a:pt x="1096" y="83"/>
                </a:lnTo>
                <a:lnTo>
                  <a:pt x="1098" y="85"/>
                </a:lnTo>
                <a:lnTo>
                  <a:pt x="1100" y="86"/>
                </a:lnTo>
                <a:lnTo>
                  <a:pt x="1100" y="90"/>
                </a:lnTo>
                <a:lnTo>
                  <a:pt x="1103" y="95"/>
                </a:lnTo>
                <a:lnTo>
                  <a:pt x="1106" y="96"/>
                </a:lnTo>
                <a:lnTo>
                  <a:pt x="1110" y="98"/>
                </a:lnTo>
                <a:lnTo>
                  <a:pt x="1113" y="98"/>
                </a:lnTo>
                <a:lnTo>
                  <a:pt x="1121" y="95"/>
                </a:lnTo>
                <a:lnTo>
                  <a:pt x="1128" y="90"/>
                </a:lnTo>
                <a:lnTo>
                  <a:pt x="1140" y="80"/>
                </a:lnTo>
                <a:lnTo>
                  <a:pt x="1153" y="68"/>
                </a:lnTo>
                <a:lnTo>
                  <a:pt x="1160" y="80"/>
                </a:lnTo>
                <a:lnTo>
                  <a:pt x="1169" y="93"/>
                </a:lnTo>
                <a:lnTo>
                  <a:pt x="1175" y="102"/>
                </a:lnTo>
                <a:lnTo>
                  <a:pt x="1179" y="110"/>
                </a:lnTo>
                <a:lnTo>
                  <a:pt x="1180" y="118"/>
                </a:lnTo>
                <a:lnTo>
                  <a:pt x="1180" y="128"/>
                </a:lnTo>
                <a:lnTo>
                  <a:pt x="1177" y="139"/>
                </a:lnTo>
                <a:lnTo>
                  <a:pt x="1174" y="147"/>
                </a:lnTo>
                <a:lnTo>
                  <a:pt x="1167" y="157"/>
                </a:lnTo>
                <a:lnTo>
                  <a:pt x="1159" y="167"/>
                </a:lnTo>
                <a:lnTo>
                  <a:pt x="1148" y="179"/>
                </a:lnTo>
                <a:lnTo>
                  <a:pt x="1140" y="187"/>
                </a:lnTo>
                <a:lnTo>
                  <a:pt x="1135" y="196"/>
                </a:lnTo>
                <a:lnTo>
                  <a:pt x="1133" y="203"/>
                </a:lnTo>
                <a:lnTo>
                  <a:pt x="1133" y="208"/>
                </a:lnTo>
                <a:lnTo>
                  <a:pt x="1137" y="211"/>
                </a:lnTo>
                <a:lnTo>
                  <a:pt x="1143" y="213"/>
                </a:lnTo>
                <a:lnTo>
                  <a:pt x="1152" y="213"/>
                </a:lnTo>
                <a:lnTo>
                  <a:pt x="1160" y="230"/>
                </a:lnTo>
                <a:lnTo>
                  <a:pt x="1170" y="246"/>
                </a:lnTo>
                <a:lnTo>
                  <a:pt x="1179" y="263"/>
                </a:lnTo>
                <a:lnTo>
                  <a:pt x="1187" y="278"/>
                </a:lnTo>
                <a:lnTo>
                  <a:pt x="1190" y="290"/>
                </a:lnTo>
                <a:lnTo>
                  <a:pt x="1192" y="299"/>
                </a:lnTo>
                <a:lnTo>
                  <a:pt x="1192" y="307"/>
                </a:lnTo>
                <a:lnTo>
                  <a:pt x="1190" y="314"/>
                </a:lnTo>
                <a:lnTo>
                  <a:pt x="1189" y="319"/>
                </a:lnTo>
                <a:lnTo>
                  <a:pt x="1184" y="324"/>
                </a:lnTo>
                <a:lnTo>
                  <a:pt x="1180" y="327"/>
                </a:lnTo>
                <a:lnTo>
                  <a:pt x="1175" y="331"/>
                </a:lnTo>
                <a:lnTo>
                  <a:pt x="1169" y="339"/>
                </a:lnTo>
                <a:lnTo>
                  <a:pt x="1164" y="347"/>
                </a:lnTo>
                <a:lnTo>
                  <a:pt x="1160" y="356"/>
                </a:lnTo>
                <a:lnTo>
                  <a:pt x="1157" y="364"/>
                </a:lnTo>
                <a:lnTo>
                  <a:pt x="1155" y="373"/>
                </a:lnTo>
                <a:lnTo>
                  <a:pt x="1155" y="381"/>
                </a:lnTo>
                <a:lnTo>
                  <a:pt x="1155" y="390"/>
                </a:lnTo>
                <a:lnTo>
                  <a:pt x="1155" y="398"/>
                </a:lnTo>
                <a:lnTo>
                  <a:pt x="1153" y="411"/>
                </a:lnTo>
                <a:lnTo>
                  <a:pt x="1152" y="422"/>
                </a:lnTo>
                <a:lnTo>
                  <a:pt x="1153" y="430"/>
                </a:lnTo>
                <a:lnTo>
                  <a:pt x="1159" y="435"/>
                </a:lnTo>
                <a:lnTo>
                  <a:pt x="1164" y="437"/>
                </a:lnTo>
                <a:lnTo>
                  <a:pt x="1170" y="438"/>
                </a:lnTo>
                <a:lnTo>
                  <a:pt x="1179" y="438"/>
                </a:lnTo>
                <a:lnTo>
                  <a:pt x="1187" y="438"/>
                </a:lnTo>
                <a:lnTo>
                  <a:pt x="1202" y="435"/>
                </a:lnTo>
                <a:lnTo>
                  <a:pt x="1216" y="433"/>
                </a:lnTo>
                <a:lnTo>
                  <a:pt x="1219" y="435"/>
                </a:lnTo>
                <a:lnTo>
                  <a:pt x="1221" y="437"/>
                </a:lnTo>
                <a:lnTo>
                  <a:pt x="1221" y="440"/>
                </a:lnTo>
                <a:lnTo>
                  <a:pt x="1217" y="445"/>
                </a:lnTo>
                <a:lnTo>
                  <a:pt x="1206" y="459"/>
                </a:lnTo>
                <a:lnTo>
                  <a:pt x="1197" y="470"/>
                </a:lnTo>
                <a:lnTo>
                  <a:pt x="1192" y="477"/>
                </a:lnTo>
                <a:lnTo>
                  <a:pt x="1190" y="482"/>
                </a:lnTo>
                <a:lnTo>
                  <a:pt x="1189" y="489"/>
                </a:lnTo>
                <a:lnTo>
                  <a:pt x="1189" y="496"/>
                </a:lnTo>
                <a:lnTo>
                  <a:pt x="1184" y="509"/>
                </a:lnTo>
                <a:lnTo>
                  <a:pt x="1180" y="521"/>
                </a:lnTo>
                <a:lnTo>
                  <a:pt x="1182" y="533"/>
                </a:lnTo>
                <a:lnTo>
                  <a:pt x="1184" y="543"/>
                </a:lnTo>
                <a:lnTo>
                  <a:pt x="1189" y="551"/>
                </a:lnTo>
                <a:lnTo>
                  <a:pt x="1194" y="560"/>
                </a:lnTo>
                <a:lnTo>
                  <a:pt x="1202" y="568"/>
                </a:lnTo>
                <a:lnTo>
                  <a:pt x="1209" y="576"/>
                </a:lnTo>
                <a:lnTo>
                  <a:pt x="1216" y="590"/>
                </a:lnTo>
                <a:lnTo>
                  <a:pt x="1222" y="602"/>
                </a:lnTo>
                <a:lnTo>
                  <a:pt x="1226" y="605"/>
                </a:lnTo>
                <a:lnTo>
                  <a:pt x="1231" y="608"/>
                </a:lnTo>
                <a:lnTo>
                  <a:pt x="1234" y="612"/>
                </a:lnTo>
                <a:lnTo>
                  <a:pt x="1241" y="612"/>
                </a:lnTo>
                <a:lnTo>
                  <a:pt x="1248" y="624"/>
                </a:lnTo>
                <a:lnTo>
                  <a:pt x="1256" y="632"/>
                </a:lnTo>
                <a:lnTo>
                  <a:pt x="1263" y="640"/>
                </a:lnTo>
                <a:lnTo>
                  <a:pt x="1271" y="647"/>
                </a:lnTo>
                <a:lnTo>
                  <a:pt x="1280" y="654"/>
                </a:lnTo>
                <a:lnTo>
                  <a:pt x="1290" y="657"/>
                </a:lnTo>
                <a:lnTo>
                  <a:pt x="1300" y="661"/>
                </a:lnTo>
                <a:lnTo>
                  <a:pt x="1310" y="664"/>
                </a:lnTo>
                <a:lnTo>
                  <a:pt x="1312" y="666"/>
                </a:lnTo>
                <a:lnTo>
                  <a:pt x="1315" y="669"/>
                </a:lnTo>
                <a:lnTo>
                  <a:pt x="1320" y="671"/>
                </a:lnTo>
                <a:lnTo>
                  <a:pt x="1323" y="671"/>
                </a:lnTo>
                <a:lnTo>
                  <a:pt x="1334" y="671"/>
                </a:lnTo>
                <a:lnTo>
                  <a:pt x="1345" y="666"/>
                </a:lnTo>
                <a:lnTo>
                  <a:pt x="1357" y="664"/>
                </a:lnTo>
                <a:lnTo>
                  <a:pt x="1364" y="664"/>
                </a:lnTo>
                <a:lnTo>
                  <a:pt x="1367" y="664"/>
                </a:lnTo>
                <a:lnTo>
                  <a:pt x="1369" y="666"/>
                </a:lnTo>
                <a:lnTo>
                  <a:pt x="1369" y="667"/>
                </a:lnTo>
                <a:lnTo>
                  <a:pt x="1371" y="669"/>
                </a:lnTo>
                <a:lnTo>
                  <a:pt x="1384" y="681"/>
                </a:lnTo>
                <a:lnTo>
                  <a:pt x="1399" y="691"/>
                </a:lnTo>
                <a:lnTo>
                  <a:pt x="1413" y="698"/>
                </a:lnTo>
                <a:lnTo>
                  <a:pt x="1426" y="701"/>
                </a:lnTo>
                <a:lnTo>
                  <a:pt x="1438" y="704"/>
                </a:lnTo>
                <a:lnTo>
                  <a:pt x="1451" y="704"/>
                </a:lnTo>
                <a:lnTo>
                  <a:pt x="1463" y="703"/>
                </a:lnTo>
                <a:lnTo>
                  <a:pt x="1475" y="701"/>
                </a:lnTo>
                <a:lnTo>
                  <a:pt x="1482" y="698"/>
                </a:lnTo>
                <a:lnTo>
                  <a:pt x="1488" y="698"/>
                </a:lnTo>
                <a:lnTo>
                  <a:pt x="1495" y="699"/>
                </a:lnTo>
                <a:lnTo>
                  <a:pt x="1500" y="703"/>
                </a:lnTo>
                <a:lnTo>
                  <a:pt x="1504" y="708"/>
                </a:lnTo>
                <a:lnTo>
                  <a:pt x="1507" y="716"/>
                </a:lnTo>
                <a:lnTo>
                  <a:pt x="1509" y="725"/>
                </a:lnTo>
                <a:lnTo>
                  <a:pt x="1509" y="736"/>
                </a:lnTo>
                <a:lnTo>
                  <a:pt x="1536" y="758"/>
                </a:lnTo>
                <a:lnTo>
                  <a:pt x="1562" y="780"/>
                </a:lnTo>
                <a:lnTo>
                  <a:pt x="1588" y="800"/>
                </a:lnTo>
                <a:lnTo>
                  <a:pt x="1615" y="822"/>
                </a:lnTo>
                <a:lnTo>
                  <a:pt x="1615" y="824"/>
                </a:lnTo>
                <a:lnTo>
                  <a:pt x="1615" y="827"/>
                </a:lnTo>
                <a:lnTo>
                  <a:pt x="1600" y="837"/>
                </a:lnTo>
                <a:lnTo>
                  <a:pt x="1586" y="844"/>
                </a:lnTo>
                <a:lnTo>
                  <a:pt x="1573" y="848"/>
                </a:lnTo>
                <a:lnTo>
                  <a:pt x="1559" y="849"/>
                </a:lnTo>
                <a:lnTo>
                  <a:pt x="1554" y="854"/>
                </a:lnTo>
                <a:lnTo>
                  <a:pt x="1551" y="859"/>
                </a:lnTo>
                <a:lnTo>
                  <a:pt x="1549" y="864"/>
                </a:lnTo>
                <a:lnTo>
                  <a:pt x="1549" y="868"/>
                </a:lnTo>
                <a:lnTo>
                  <a:pt x="1551" y="871"/>
                </a:lnTo>
                <a:lnTo>
                  <a:pt x="1554" y="875"/>
                </a:lnTo>
                <a:lnTo>
                  <a:pt x="1561" y="878"/>
                </a:lnTo>
                <a:lnTo>
                  <a:pt x="1568" y="880"/>
                </a:lnTo>
                <a:lnTo>
                  <a:pt x="1578" y="883"/>
                </a:lnTo>
                <a:lnTo>
                  <a:pt x="1588" y="886"/>
                </a:lnTo>
                <a:lnTo>
                  <a:pt x="1596" y="888"/>
                </a:lnTo>
                <a:lnTo>
                  <a:pt x="1601" y="890"/>
                </a:lnTo>
                <a:lnTo>
                  <a:pt x="1603" y="893"/>
                </a:lnTo>
                <a:lnTo>
                  <a:pt x="1603" y="895"/>
                </a:lnTo>
                <a:lnTo>
                  <a:pt x="1601" y="896"/>
                </a:lnTo>
                <a:lnTo>
                  <a:pt x="1596" y="900"/>
                </a:lnTo>
                <a:lnTo>
                  <a:pt x="1588" y="903"/>
                </a:lnTo>
                <a:lnTo>
                  <a:pt x="1578" y="905"/>
                </a:lnTo>
                <a:lnTo>
                  <a:pt x="1568" y="905"/>
                </a:lnTo>
                <a:lnTo>
                  <a:pt x="1556" y="905"/>
                </a:lnTo>
                <a:lnTo>
                  <a:pt x="1546" y="907"/>
                </a:lnTo>
                <a:lnTo>
                  <a:pt x="1534" y="912"/>
                </a:lnTo>
                <a:lnTo>
                  <a:pt x="1524" y="915"/>
                </a:lnTo>
                <a:lnTo>
                  <a:pt x="1514" y="918"/>
                </a:lnTo>
                <a:lnTo>
                  <a:pt x="1493" y="920"/>
                </a:lnTo>
                <a:lnTo>
                  <a:pt x="1473" y="922"/>
                </a:lnTo>
                <a:lnTo>
                  <a:pt x="1467" y="922"/>
                </a:lnTo>
                <a:lnTo>
                  <a:pt x="1461" y="923"/>
                </a:lnTo>
                <a:lnTo>
                  <a:pt x="1455" y="925"/>
                </a:lnTo>
                <a:lnTo>
                  <a:pt x="1448" y="930"/>
                </a:lnTo>
                <a:lnTo>
                  <a:pt x="1431" y="942"/>
                </a:lnTo>
                <a:lnTo>
                  <a:pt x="1413" y="954"/>
                </a:lnTo>
                <a:lnTo>
                  <a:pt x="1394" y="965"/>
                </a:lnTo>
                <a:lnTo>
                  <a:pt x="1377" y="976"/>
                </a:lnTo>
                <a:lnTo>
                  <a:pt x="1381" y="987"/>
                </a:lnTo>
                <a:lnTo>
                  <a:pt x="1382" y="997"/>
                </a:lnTo>
                <a:lnTo>
                  <a:pt x="1382" y="1006"/>
                </a:lnTo>
                <a:lnTo>
                  <a:pt x="1381" y="1014"/>
                </a:lnTo>
                <a:lnTo>
                  <a:pt x="1379" y="1021"/>
                </a:lnTo>
                <a:lnTo>
                  <a:pt x="1376" y="1028"/>
                </a:lnTo>
                <a:lnTo>
                  <a:pt x="1372" y="1033"/>
                </a:lnTo>
                <a:lnTo>
                  <a:pt x="1367" y="1038"/>
                </a:lnTo>
                <a:lnTo>
                  <a:pt x="1357" y="1046"/>
                </a:lnTo>
                <a:lnTo>
                  <a:pt x="1344" y="1055"/>
                </a:lnTo>
                <a:lnTo>
                  <a:pt x="1330" y="1060"/>
                </a:lnTo>
                <a:lnTo>
                  <a:pt x="1315" y="1066"/>
                </a:lnTo>
                <a:lnTo>
                  <a:pt x="1307" y="1068"/>
                </a:lnTo>
                <a:lnTo>
                  <a:pt x="1298" y="1072"/>
                </a:lnTo>
                <a:lnTo>
                  <a:pt x="1291" y="1077"/>
                </a:lnTo>
                <a:lnTo>
                  <a:pt x="1283" y="1082"/>
                </a:lnTo>
                <a:lnTo>
                  <a:pt x="1271" y="1092"/>
                </a:lnTo>
                <a:lnTo>
                  <a:pt x="1260" y="1105"/>
                </a:lnTo>
                <a:lnTo>
                  <a:pt x="1253" y="1110"/>
                </a:lnTo>
                <a:lnTo>
                  <a:pt x="1246" y="1115"/>
                </a:lnTo>
                <a:lnTo>
                  <a:pt x="1238" y="1119"/>
                </a:lnTo>
                <a:lnTo>
                  <a:pt x="1231" y="1120"/>
                </a:lnTo>
                <a:lnTo>
                  <a:pt x="1214" y="1120"/>
                </a:lnTo>
                <a:lnTo>
                  <a:pt x="1199" y="1119"/>
                </a:lnTo>
                <a:lnTo>
                  <a:pt x="1187" y="1117"/>
                </a:lnTo>
                <a:lnTo>
                  <a:pt x="1179" y="1115"/>
                </a:lnTo>
                <a:lnTo>
                  <a:pt x="1170" y="1117"/>
                </a:lnTo>
                <a:lnTo>
                  <a:pt x="1165" y="1119"/>
                </a:lnTo>
                <a:lnTo>
                  <a:pt x="1159" y="1122"/>
                </a:lnTo>
                <a:lnTo>
                  <a:pt x="1155" y="1127"/>
                </a:lnTo>
                <a:lnTo>
                  <a:pt x="1150" y="1132"/>
                </a:lnTo>
                <a:lnTo>
                  <a:pt x="1147" y="1139"/>
                </a:lnTo>
                <a:lnTo>
                  <a:pt x="1142" y="1149"/>
                </a:lnTo>
                <a:lnTo>
                  <a:pt x="1137" y="1154"/>
                </a:lnTo>
                <a:lnTo>
                  <a:pt x="1130" y="1157"/>
                </a:lnTo>
                <a:lnTo>
                  <a:pt x="1125" y="1157"/>
                </a:lnTo>
                <a:lnTo>
                  <a:pt x="1120" y="1156"/>
                </a:lnTo>
                <a:lnTo>
                  <a:pt x="1113" y="1151"/>
                </a:lnTo>
                <a:lnTo>
                  <a:pt x="1108" y="1146"/>
                </a:lnTo>
                <a:lnTo>
                  <a:pt x="1103" y="1139"/>
                </a:lnTo>
                <a:lnTo>
                  <a:pt x="1089" y="1129"/>
                </a:lnTo>
                <a:lnTo>
                  <a:pt x="1079" y="1122"/>
                </a:lnTo>
                <a:lnTo>
                  <a:pt x="1074" y="1120"/>
                </a:lnTo>
                <a:lnTo>
                  <a:pt x="1069" y="1120"/>
                </a:lnTo>
                <a:lnTo>
                  <a:pt x="1066" y="1120"/>
                </a:lnTo>
                <a:lnTo>
                  <a:pt x="1063" y="1122"/>
                </a:lnTo>
                <a:lnTo>
                  <a:pt x="1054" y="1127"/>
                </a:lnTo>
                <a:lnTo>
                  <a:pt x="1049" y="1136"/>
                </a:lnTo>
                <a:lnTo>
                  <a:pt x="1044" y="1146"/>
                </a:lnTo>
                <a:lnTo>
                  <a:pt x="1039" y="1159"/>
                </a:lnTo>
                <a:lnTo>
                  <a:pt x="1031" y="1186"/>
                </a:lnTo>
                <a:lnTo>
                  <a:pt x="1020" y="1213"/>
                </a:lnTo>
                <a:lnTo>
                  <a:pt x="1012" y="1240"/>
                </a:lnTo>
                <a:lnTo>
                  <a:pt x="1002" y="1267"/>
                </a:lnTo>
                <a:lnTo>
                  <a:pt x="997" y="1280"/>
                </a:lnTo>
                <a:lnTo>
                  <a:pt x="990" y="1292"/>
                </a:lnTo>
                <a:lnTo>
                  <a:pt x="985" y="1296"/>
                </a:lnTo>
                <a:lnTo>
                  <a:pt x="980" y="1299"/>
                </a:lnTo>
                <a:lnTo>
                  <a:pt x="973" y="1301"/>
                </a:lnTo>
                <a:lnTo>
                  <a:pt x="967" y="1302"/>
                </a:lnTo>
                <a:lnTo>
                  <a:pt x="951" y="1307"/>
                </a:lnTo>
                <a:lnTo>
                  <a:pt x="941" y="1312"/>
                </a:lnTo>
                <a:lnTo>
                  <a:pt x="936" y="1317"/>
                </a:lnTo>
                <a:lnTo>
                  <a:pt x="933" y="1321"/>
                </a:lnTo>
                <a:lnTo>
                  <a:pt x="933" y="1324"/>
                </a:lnTo>
                <a:lnTo>
                  <a:pt x="936" y="1328"/>
                </a:lnTo>
                <a:lnTo>
                  <a:pt x="943" y="1329"/>
                </a:lnTo>
                <a:lnTo>
                  <a:pt x="955" y="1331"/>
                </a:lnTo>
                <a:lnTo>
                  <a:pt x="963" y="1334"/>
                </a:lnTo>
                <a:lnTo>
                  <a:pt x="972" y="1339"/>
                </a:lnTo>
                <a:lnTo>
                  <a:pt x="978" y="1344"/>
                </a:lnTo>
                <a:lnTo>
                  <a:pt x="982" y="1349"/>
                </a:lnTo>
                <a:lnTo>
                  <a:pt x="983" y="1358"/>
                </a:lnTo>
                <a:lnTo>
                  <a:pt x="983" y="1366"/>
                </a:lnTo>
                <a:lnTo>
                  <a:pt x="980" y="1378"/>
                </a:lnTo>
                <a:lnTo>
                  <a:pt x="975" y="1390"/>
                </a:lnTo>
                <a:lnTo>
                  <a:pt x="968" y="1407"/>
                </a:lnTo>
                <a:lnTo>
                  <a:pt x="960" y="1420"/>
                </a:lnTo>
                <a:lnTo>
                  <a:pt x="957" y="1425"/>
                </a:lnTo>
                <a:lnTo>
                  <a:pt x="951" y="1430"/>
                </a:lnTo>
                <a:lnTo>
                  <a:pt x="946" y="1435"/>
                </a:lnTo>
                <a:lnTo>
                  <a:pt x="941" y="1437"/>
                </a:lnTo>
                <a:lnTo>
                  <a:pt x="936" y="1439"/>
                </a:lnTo>
                <a:lnTo>
                  <a:pt x="931" y="1444"/>
                </a:lnTo>
                <a:lnTo>
                  <a:pt x="930" y="1450"/>
                </a:lnTo>
                <a:lnTo>
                  <a:pt x="928" y="1461"/>
                </a:lnTo>
                <a:lnTo>
                  <a:pt x="925" y="1466"/>
                </a:lnTo>
                <a:lnTo>
                  <a:pt x="925" y="1471"/>
                </a:lnTo>
                <a:lnTo>
                  <a:pt x="925" y="1474"/>
                </a:lnTo>
                <a:lnTo>
                  <a:pt x="925" y="1477"/>
                </a:lnTo>
                <a:lnTo>
                  <a:pt x="928" y="1477"/>
                </a:lnTo>
                <a:lnTo>
                  <a:pt x="931" y="1477"/>
                </a:lnTo>
                <a:lnTo>
                  <a:pt x="935" y="1476"/>
                </a:lnTo>
                <a:lnTo>
                  <a:pt x="941" y="1474"/>
                </a:lnTo>
                <a:lnTo>
                  <a:pt x="948" y="1471"/>
                </a:lnTo>
                <a:lnTo>
                  <a:pt x="953" y="1469"/>
                </a:lnTo>
                <a:lnTo>
                  <a:pt x="958" y="1469"/>
                </a:lnTo>
                <a:lnTo>
                  <a:pt x="962" y="1472"/>
                </a:lnTo>
                <a:lnTo>
                  <a:pt x="965" y="1477"/>
                </a:lnTo>
                <a:lnTo>
                  <a:pt x="965" y="1482"/>
                </a:lnTo>
                <a:lnTo>
                  <a:pt x="963" y="1489"/>
                </a:lnTo>
                <a:lnTo>
                  <a:pt x="962" y="1496"/>
                </a:lnTo>
                <a:lnTo>
                  <a:pt x="951" y="1513"/>
                </a:lnTo>
                <a:lnTo>
                  <a:pt x="943" y="1530"/>
                </a:lnTo>
                <a:lnTo>
                  <a:pt x="935" y="1545"/>
                </a:lnTo>
                <a:lnTo>
                  <a:pt x="925" y="1558"/>
                </a:lnTo>
                <a:lnTo>
                  <a:pt x="930" y="1575"/>
                </a:lnTo>
                <a:lnTo>
                  <a:pt x="931" y="1583"/>
                </a:lnTo>
                <a:lnTo>
                  <a:pt x="931" y="1594"/>
                </a:lnTo>
                <a:lnTo>
                  <a:pt x="930" y="1609"/>
                </a:lnTo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12700" cap="flat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32777" name="Freeform 13"/>
          <p:cNvSpPr>
            <a:spLocks/>
          </p:cNvSpPr>
          <p:nvPr/>
        </p:nvSpPr>
        <p:spPr bwMode="auto">
          <a:xfrm>
            <a:off x="5572125" y="1576388"/>
            <a:ext cx="898525" cy="1057275"/>
          </a:xfrm>
          <a:custGeom>
            <a:avLst/>
            <a:gdLst>
              <a:gd name="T0" fmla="*/ 83867111 w 815"/>
              <a:gd name="T1" fmla="*/ 163697899 h 953"/>
              <a:gd name="T2" fmla="*/ 119115750 w 815"/>
              <a:gd name="T3" fmla="*/ 173543981 h 953"/>
              <a:gd name="T4" fmla="*/ 122762770 w 815"/>
              <a:gd name="T5" fmla="*/ 205545132 h 953"/>
              <a:gd name="T6" fmla="*/ 172597281 w 815"/>
              <a:gd name="T7" fmla="*/ 258469900 h 953"/>
              <a:gd name="T8" fmla="*/ 172597281 w 815"/>
              <a:gd name="T9" fmla="*/ 364319436 h 953"/>
              <a:gd name="T10" fmla="*/ 227293750 w 815"/>
              <a:gd name="T11" fmla="*/ 376627315 h 953"/>
              <a:gd name="T12" fmla="*/ 289282053 w 815"/>
              <a:gd name="T13" fmla="*/ 418474548 h 953"/>
              <a:gd name="T14" fmla="*/ 331823629 w 815"/>
              <a:gd name="T15" fmla="*/ 428320630 h 953"/>
              <a:gd name="T16" fmla="*/ 341547543 w 815"/>
              <a:gd name="T17" fmla="*/ 520631942 h 953"/>
              <a:gd name="T18" fmla="*/ 392598096 w 815"/>
              <a:gd name="T19" fmla="*/ 542785903 h 953"/>
              <a:gd name="T20" fmla="*/ 497127974 w 815"/>
              <a:gd name="T21" fmla="*/ 491092589 h 953"/>
              <a:gd name="T22" fmla="*/ 556686401 w 815"/>
              <a:gd name="T23" fmla="*/ 393858790 h 953"/>
              <a:gd name="T24" fmla="*/ 540885590 w 815"/>
              <a:gd name="T25" fmla="*/ 343395820 h 953"/>
              <a:gd name="T26" fmla="*/ 508067929 w 815"/>
              <a:gd name="T27" fmla="*/ 263392386 h 953"/>
              <a:gd name="T28" fmla="*/ 458233418 w 815"/>
              <a:gd name="T29" fmla="*/ 209237274 h 953"/>
              <a:gd name="T30" fmla="*/ 407182865 w 815"/>
              <a:gd name="T31" fmla="*/ 166158588 h 953"/>
              <a:gd name="T32" fmla="*/ 424199716 w 815"/>
              <a:gd name="T33" fmla="*/ 140312485 h 953"/>
              <a:gd name="T34" fmla="*/ 487404059 w 815"/>
              <a:gd name="T35" fmla="*/ 130465294 h 953"/>
              <a:gd name="T36" fmla="*/ 472819290 w 815"/>
              <a:gd name="T37" fmla="*/ 24615758 h 953"/>
              <a:gd name="T38" fmla="*/ 463095375 w 815"/>
              <a:gd name="T39" fmla="*/ 2461798 h 953"/>
              <a:gd name="T40" fmla="*/ 532376614 w 815"/>
              <a:gd name="T41" fmla="*/ 16000021 h 953"/>
              <a:gd name="T42" fmla="*/ 619890744 w 815"/>
              <a:gd name="T43" fmla="*/ 30769698 h 953"/>
              <a:gd name="T44" fmla="*/ 708620914 w 815"/>
              <a:gd name="T45" fmla="*/ 48001173 h 953"/>
              <a:gd name="T46" fmla="*/ 774256236 w 815"/>
              <a:gd name="T47" fmla="*/ 51694424 h 953"/>
              <a:gd name="T48" fmla="*/ 853261390 w 815"/>
              <a:gd name="T49" fmla="*/ 105849536 h 953"/>
              <a:gd name="T50" fmla="*/ 880002155 w 815"/>
              <a:gd name="T51" fmla="*/ 184621516 h 953"/>
              <a:gd name="T52" fmla="*/ 922543731 w 815"/>
              <a:gd name="T53" fmla="*/ 251084507 h 953"/>
              <a:gd name="T54" fmla="*/ 966300245 w 815"/>
              <a:gd name="T55" fmla="*/ 304009275 h 953"/>
              <a:gd name="T56" fmla="*/ 960223349 w 815"/>
              <a:gd name="T57" fmla="*/ 472629660 h 953"/>
              <a:gd name="T58" fmla="*/ 982102157 w 815"/>
              <a:gd name="T59" fmla="*/ 606788206 h 953"/>
              <a:gd name="T60" fmla="*/ 976024159 w 815"/>
              <a:gd name="T61" fmla="*/ 669559055 h 953"/>
              <a:gd name="T62" fmla="*/ 951714373 w 815"/>
              <a:gd name="T63" fmla="*/ 742177096 h 953"/>
              <a:gd name="T64" fmla="*/ 910388837 w 815"/>
              <a:gd name="T65" fmla="*/ 760638914 h 953"/>
              <a:gd name="T66" fmla="*/ 918896712 w 815"/>
              <a:gd name="T67" fmla="*/ 841872692 h 953"/>
              <a:gd name="T68" fmla="*/ 841106496 w 815"/>
              <a:gd name="T69" fmla="*/ 882488471 h 953"/>
              <a:gd name="T70" fmla="*/ 766963300 w 815"/>
              <a:gd name="T71" fmla="*/ 888643520 h 953"/>
              <a:gd name="T72" fmla="*/ 729283682 w 815"/>
              <a:gd name="T73" fmla="*/ 918182874 h 953"/>
              <a:gd name="T74" fmla="*/ 667294277 w 815"/>
              <a:gd name="T75" fmla="*/ 1057263906 h 953"/>
              <a:gd name="T76" fmla="*/ 642984490 w 815"/>
              <a:gd name="T77" fmla="*/ 1136034776 h 953"/>
              <a:gd name="T78" fmla="*/ 554255422 w 815"/>
              <a:gd name="T79" fmla="*/ 1145881967 h 953"/>
              <a:gd name="T80" fmla="*/ 446078524 w 815"/>
              <a:gd name="T81" fmla="*/ 1024031301 h 953"/>
              <a:gd name="T82" fmla="*/ 370719288 w 815"/>
              <a:gd name="T83" fmla="*/ 1025262754 h 953"/>
              <a:gd name="T84" fmla="*/ 286851074 w 815"/>
              <a:gd name="T85" fmla="*/ 978491926 h 953"/>
              <a:gd name="T86" fmla="*/ 227293750 w 815"/>
              <a:gd name="T87" fmla="*/ 984645866 h 953"/>
              <a:gd name="T88" fmla="*/ 167735324 w 815"/>
              <a:gd name="T89" fmla="*/ 955106512 h 953"/>
              <a:gd name="T90" fmla="*/ 113038855 w 815"/>
              <a:gd name="T91" fmla="*/ 903413197 h 953"/>
              <a:gd name="T92" fmla="*/ 61989405 w 815"/>
              <a:gd name="T93" fmla="*/ 827103015 h 953"/>
              <a:gd name="T94" fmla="*/ 71713320 w 815"/>
              <a:gd name="T95" fmla="*/ 745869238 h 953"/>
              <a:gd name="T96" fmla="*/ 100883962 w 815"/>
              <a:gd name="T97" fmla="*/ 691714125 h 953"/>
              <a:gd name="T98" fmla="*/ 24309787 w 815"/>
              <a:gd name="T99" fmla="*/ 688020874 h 953"/>
              <a:gd name="T100" fmla="*/ 29171744 w 815"/>
              <a:gd name="T101" fmla="*/ 606788206 h 953"/>
              <a:gd name="T102" fmla="*/ 68066301 w 815"/>
              <a:gd name="T103" fmla="*/ 551401640 h 953"/>
              <a:gd name="T104" fmla="*/ 44972554 w 815"/>
              <a:gd name="T105" fmla="*/ 461553235 h 953"/>
              <a:gd name="T106" fmla="*/ 2430979 w 815"/>
              <a:gd name="T107" fmla="*/ 400012730 h 953"/>
              <a:gd name="T108" fmla="*/ 57127448 w 815"/>
              <a:gd name="T109" fmla="*/ 316317154 h 953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815" h="953">
                <a:moveTo>
                  <a:pt x="20" y="197"/>
                </a:moveTo>
                <a:lnTo>
                  <a:pt x="31" y="185"/>
                </a:lnTo>
                <a:lnTo>
                  <a:pt x="42" y="172"/>
                </a:lnTo>
                <a:lnTo>
                  <a:pt x="52" y="158"/>
                </a:lnTo>
                <a:lnTo>
                  <a:pt x="64" y="143"/>
                </a:lnTo>
                <a:lnTo>
                  <a:pt x="66" y="138"/>
                </a:lnTo>
                <a:lnTo>
                  <a:pt x="69" y="133"/>
                </a:lnTo>
                <a:lnTo>
                  <a:pt x="73" y="131"/>
                </a:lnTo>
                <a:lnTo>
                  <a:pt x="76" y="129"/>
                </a:lnTo>
                <a:lnTo>
                  <a:pt x="79" y="129"/>
                </a:lnTo>
                <a:lnTo>
                  <a:pt x="83" y="129"/>
                </a:lnTo>
                <a:lnTo>
                  <a:pt x="86" y="131"/>
                </a:lnTo>
                <a:lnTo>
                  <a:pt x="91" y="135"/>
                </a:lnTo>
                <a:lnTo>
                  <a:pt x="98" y="141"/>
                </a:lnTo>
                <a:lnTo>
                  <a:pt x="105" y="148"/>
                </a:lnTo>
                <a:lnTo>
                  <a:pt x="111" y="150"/>
                </a:lnTo>
                <a:lnTo>
                  <a:pt x="118" y="151"/>
                </a:lnTo>
                <a:lnTo>
                  <a:pt x="118" y="155"/>
                </a:lnTo>
                <a:lnTo>
                  <a:pt x="118" y="160"/>
                </a:lnTo>
                <a:lnTo>
                  <a:pt x="110" y="163"/>
                </a:lnTo>
                <a:lnTo>
                  <a:pt x="101" y="167"/>
                </a:lnTo>
                <a:lnTo>
                  <a:pt x="115" y="178"/>
                </a:lnTo>
                <a:lnTo>
                  <a:pt x="128" y="192"/>
                </a:lnTo>
                <a:lnTo>
                  <a:pt x="133" y="193"/>
                </a:lnTo>
                <a:lnTo>
                  <a:pt x="138" y="197"/>
                </a:lnTo>
                <a:lnTo>
                  <a:pt x="140" y="200"/>
                </a:lnTo>
                <a:lnTo>
                  <a:pt x="142" y="205"/>
                </a:lnTo>
                <a:lnTo>
                  <a:pt x="142" y="210"/>
                </a:lnTo>
                <a:lnTo>
                  <a:pt x="142" y="217"/>
                </a:lnTo>
                <a:lnTo>
                  <a:pt x="142" y="234"/>
                </a:lnTo>
                <a:lnTo>
                  <a:pt x="142" y="252"/>
                </a:lnTo>
                <a:lnTo>
                  <a:pt x="142" y="269"/>
                </a:lnTo>
                <a:lnTo>
                  <a:pt x="142" y="288"/>
                </a:lnTo>
                <a:lnTo>
                  <a:pt x="142" y="293"/>
                </a:lnTo>
                <a:lnTo>
                  <a:pt x="142" y="296"/>
                </a:lnTo>
                <a:lnTo>
                  <a:pt x="145" y="301"/>
                </a:lnTo>
                <a:lnTo>
                  <a:pt x="148" y="303"/>
                </a:lnTo>
                <a:lnTo>
                  <a:pt x="152" y="305"/>
                </a:lnTo>
                <a:lnTo>
                  <a:pt x="157" y="306"/>
                </a:lnTo>
                <a:lnTo>
                  <a:pt x="164" y="306"/>
                </a:lnTo>
                <a:lnTo>
                  <a:pt x="170" y="305"/>
                </a:lnTo>
                <a:lnTo>
                  <a:pt x="187" y="306"/>
                </a:lnTo>
                <a:lnTo>
                  <a:pt x="202" y="310"/>
                </a:lnTo>
                <a:lnTo>
                  <a:pt x="209" y="313"/>
                </a:lnTo>
                <a:lnTo>
                  <a:pt x="216" y="316"/>
                </a:lnTo>
                <a:lnTo>
                  <a:pt x="221" y="320"/>
                </a:lnTo>
                <a:lnTo>
                  <a:pt x="228" y="327"/>
                </a:lnTo>
                <a:lnTo>
                  <a:pt x="233" y="335"/>
                </a:lnTo>
                <a:lnTo>
                  <a:pt x="238" y="340"/>
                </a:lnTo>
                <a:lnTo>
                  <a:pt x="244" y="342"/>
                </a:lnTo>
                <a:lnTo>
                  <a:pt x="251" y="342"/>
                </a:lnTo>
                <a:lnTo>
                  <a:pt x="258" y="340"/>
                </a:lnTo>
                <a:lnTo>
                  <a:pt x="263" y="342"/>
                </a:lnTo>
                <a:lnTo>
                  <a:pt x="268" y="342"/>
                </a:lnTo>
                <a:lnTo>
                  <a:pt x="271" y="345"/>
                </a:lnTo>
                <a:lnTo>
                  <a:pt x="273" y="348"/>
                </a:lnTo>
                <a:lnTo>
                  <a:pt x="275" y="355"/>
                </a:lnTo>
                <a:lnTo>
                  <a:pt x="276" y="360"/>
                </a:lnTo>
                <a:lnTo>
                  <a:pt x="276" y="369"/>
                </a:lnTo>
                <a:lnTo>
                  <a:pt x="275" y="391"/>
                </a:lnTo>
                <a:lnTo>
                  <a:pt x="276" y="409"/>
                </a:lnTo>
                <a:lnTo>
                  <a:pt x="278" y="416"/>
                </a:lnTo>
                <a:lnTo>
                  <a:pt x="281" y="423"/>
                </a:lnTo>
                <a:lnTo>
                  <a:pt x="285" y="426"/>
                </a:lnTo>
                <a:lnTo>
                  <a:pt x="290" y="428"/>
                </a:lnTo>
                <a:lnTo>
                  <a:pt x="295" y="433"/>
                </a:lnTo>
                <a:lnTo>
                  <a:pt x="300" y="436"/>
                </a:lnTo>
                <a:lnTo>
                  <a:pt x="305" y="439"/>
                </a:lnTo>
                <a:lnTo>
                  <a:pt x="312" y="441"/>
                </a:lnTo>
                <a:lnTo>
                  <a:pt x="323" y="441"/>
                </a:lnTo>
                <a:lnTo>
                  <a:pt x="339" y="439"/>
                </a:lnTo>
                <a:lnTo>
                  <a:pt x="352" y="434"/>
                </a:lnTo>
                <a:lnTo>
                  <a:pt x="366" y="428"/>
                </a:lnTo>
                <a:lnTo>
                  <a:pt x="379" y="421"/>
                </a:lnTo>
                <a:lnTo>
                  <a:pt x="389" y="414"/>
                </a:lnTo>
                <a:lnTo>
                  <a:pt x="401" y="407"/>
                </a:lnTo>
                <a:lnTo>
                  <a:pt x="409" y="399"/>
                </a:lnTo>
                <a:lnTo>
                  <a:pt x="418" y="391"/>
                </a:lnTo>
                <a:lnTo>
                  <a:pt x="426" y="380"/>
                </a:lnTo>
                <a:lnTo>
                  <a:pt x="443" y="360"/>
                </a:lnTo>
                <a:lnTo>
                  <a:pt x="460" y="342"/>
                </a:lnTo>
                <a:lnTo>
                  <a:pt x="460" y="333"/>
                </a:lnTo>
                <a:lnTo>
                  <a:pt x="460" y="325"/>
                </a:lnTo>
                <a:lnTo>
                  <a:pt x="458" y="320"/>
                </a:lnTo>
                <a:lnTo>
                  <a:pt x="456" y="315"/>
                </a:lnTo>
                <a:lnTo>
                  <a:pt x="450" y="308"/>
                </a:lnTo>
                <a:lnTo>
                  <a:pt x="443" y="303"/>
                </a:lnTo>
                <a:lnTo>
                  <a:pt x="445" y="298"/>
                </a:lnTo>
                <a:lnTo>
                  <a:pt x="446" y="293"/>
                </a:lnTo>
                <a:lnTo>
                  <a:pt x="446" y="286"/>
                </a:lnTo>
                <a:lnTo>
                  <a:pt x="445" y="279"/>
                </a:lnTo>
                <a:lnTo>
                  <a:pt x="441" y="263"/>
                </a:lnTo>
                <a:lnTo>
                  <a:pt x="433" y="241"/>
                </a:lnTo>
                <a:lnTo>
                  <a:pt x="428" y="241"/>
                </a:lnTo>
                <a:lnTo>
                  <a:pt x="421" y="241"/>
                </a:lnTo>
                <a:lnTo>
                  <a:pt x="423" y="229"/>
                </a:lnTo>
                <a:lnTo>
                  <a:pt x="423" y="217"/>
                </a:lnTo>
                <a:lnTo>
                  <a:pt x="418" y="214"/>
                </a:lnTo>
                <a:lnTo>
                  <a:pt x="411" y="209"/>
                </a:lnTo>
                <a:lnTo>
                  <a:pt x="409" y="197"/>
                </a:lnTo>
                <a:lnTo>
                  <a:pt x="406" y="185"/>
                </a:lnTo>
                <a:lnTo>
                  <a:pt x="403" y="177"/>
                </a:lnTo>
                <a:lnTo>
                  <a:pt x="398" y="170"/>
                </a:lnTo>
                <a:lnTo>
                  <a:pt x="387" y="168"/>
                </a:lnTo>
                <a:lnTo>
                  <a:pt x="377" y="170"/>
                </a:lnTo>
                <a:lnTo>
                  <a:pt x="369" y="173"/>
                </a:lnTo>
                <a:lnTo>
                  <a:pt x="359" y="180"/>
                </a:lnTo>
                <a:lnTo>
                  <a:pt x="350" y="173"/>
                </a:lnTo>
                <a:lnTo>
                  <a:pt x="345" y="167"/>
                </a:lnTo>
                <a:lnTo>
                  <a:pt x="344" y="156"/>
                </a:lnTo>
                <a:lnTo>
                  <a:pt x="345" y="146"/>
                </a:lnTo>
                <a:lnTo>
                  <a:pt x="335" y="135"/>
                </a:lnTo>
                <a:lnTo>
                  <a:pt x="330" y="126"/>
                </a:lnTo>
                <a:lnTo>
                  <a:pt x="325" y="118"/>
                </a:lnTo>
                <a:lnTo>
                  <a:pt x="325" y="113"/>
                </a:lnTo>
                <a:lnTo>
                  <a:pt x="327" y="109"/>
                </a:lnTo>
                <a:lnTo>
                  <a:pt x="332" y="109"/>
                </a:lnTo>
                <a:lnTo>
                  <a:pt x="339" y="111"/>
                </a:lnTo>
                <a:lnTo>
                  <a:pt x="349" y="114"/>
                </a:lnTo>
                <a:lnTo>
                  <a:pt x="364" y="123"/>
                </a:lnTo>
                <a:lnTo>
                  <a:pt x="379" y="131"/>
                </a:lnTo>
                <a:lnTo>
                  <a:pt x="389" y="131"/>
                </a:lnTo>
                <a:lnTo>
                  <a:pt x="398" y="128"/>
                </a:lnTo>
                <a:lnTo>
                  <a:pt x="401" y="124"/>
                </a:lnTo>
                <a:lnTo>
                  <a:pt x="403" y="119"/>
                </a:lnTo>
                <a:lnTo>
                  <a:pt x="401" y="106"/>
                </a:lnTo>
                <a:lnTo>
                  <a:pt x="394" y="91"/>
                </a:lnTo>
                <a:lnTo>
                  <a:pt x="392" y="76"/>
                </a:lnTo>
                <a:lnTo>
                  <a:pt x="392" y="60"/>
                </a:lnTo>
                <a:lnTo>
                  <a:pt x="392" y="45"/>
                </a:lnTo>
                <a:lnTo>
                  <a:pt x="391" y="30"/>
                </a:lnTo>
                <a:lnTo>
                  <a:pt x="391" y="25"/>
                </a:lnTo>
                <a:lnTo>
                  <a:pt x="389" y="20"/>
                </a:lnTo>
                <a:lnTo>
                  <a:pt x="387" y="18"/>
                </a:lnTo>
                <a:lnTo>
                  <a:pt x="386" y="15"/>
                </a:lnTo>
                <a:lnTo>
                  <a:pt x="379" y="13"/>
                </a:lnTo>
                <a:lnTo>
                  <a:pt x="371" y="13"/>
                </a:lnTo>
                <a:lnTo>
                  <a:pt x="374" y="7"/>
                </a:lnTo>
                <a:lnTo>
                  <a:pt x="376" y="3"/>
                </a:lnTo>
                <a:lnTo>
                  <a:pt x="381" y="2"/>
                </a:lnTo>
                <a:lnTo>
                  <a:pt x="384" y="0"/>
                </a:lnTo>
                <a:lnTo>
                  <a:pt x="389" y="2"/>
                </a:lnTo>
                <a:lnTo>
                  <a:pt x="396" y="5"/>
                </a:lnTo>
                <a:lnTo>
                  <a:pt x="403" y="8"/>
                </a:lnTo>
                <a:lnTo>
                  <a:pt x="409" y="15"/>
                </a:lnTo>
                <a:lnTo>
                  <a:pt x="424" y="12"/>
                </a:lnTo>
                <a:lnTo>
                  <a:pt x="438" y="13"/>
                </a:lnTo>
                <a:lnTo>
                  <a:pt x="448" y="15"/>
                </a:lnTo>
                <a:lnTo>
                  <a:pt x="456" y="20"/>
                </a:lnTo>
                <a:lnTo>
                  <a:pt x="470" y="18"/>
                </a:lnTo>
                <a:lnTo>
                  <a:pt x="485" y="18"/>
                </a:lnTo>
                <a:lnTo>
                  <a:pt x="493" y="20"/>
                </a:lnTo>
                <a:lnTo>
                  <a:pt x="502" y="22"/>
                </a:lnTo>
                <a:lnTo>
                  <a:pt x="510" y="25"/>
                </a:lnTo>
                <a:lnTo>
                  <a:pt x="520" y="30"/>
                </a:lnTo>
                <a:lnTo>
                  <a:pt x="541" y="30"/>
                </a:lnTo>
                <a:lnTo>
                  <a:pt x="557" y="30"/>
                </a:lnTo>
                <a:lnTo>
                  <a:pt x="566" y="30"/>
                </a:lnTo>
                <a:lnTo>
                  <a:pt x="573" y="32"/>
                </a:lnTo>
                <a:lnTo>
                  <a:pt x="578" y="35"/>
                </a:lnTo>
                <a:lnTo>
                  <a:pt x="583" y="39"/>
                </a:lnTo>
                <a:lnTo>
                  <a:pt x="598" y="40"/>
                </a:lnTo>
                <a:lnTo>
                  <a:pt x="611" y="40"/>
                </a:lnTo>
                <a:lnTo>
                  <a:pt x="616" y="40"/>
                </a:lnTo>
                <a:lnTo>
                  <a:pt x="623" y="39"/>
                </a:lnTo>
                <a:lnTo>
                  <a:pt x="628" y="35"/>
                </a:lnTo>
                <a:lnTo>
                  <a:pt x="633" y="32"/>
                </a:lnTo>
                <a:lnTo>
                  <a:pt x="637" y="42"/>
                </a:lnTo>
                <a:lnTo>
                  <a:pt x="640" y="52"/>
                </a:lnTo>
                <a:lnTo>
                  <a:pt x="648" y="59"/>
                </a:lnTo>
                <a:lnTo>
                  <a:pt x="658" y="64"/>
                </a:lnTo>
                <a:lnTo>
                  <a:pt x="670" y="69"/>
                </a:lnTo>
                <a:lnTo>
                  <a:pt x="684" y="72"/>
                </a:lnTo>
                <a:lnTo>
                  <a:pt x="694" y="81"/>
                </a:lnTo>
                <a:lnTo>
                  <a:pt x="702" y="86"/>
                </a:lnTo>
                <a:lnTo>
                  <a:pt x="711" y="98"/>
                </a:lnTo>
                <a:lnTo>
                  <a:pt x="717" y="108"/>
                </a:lnTo>
                <a:lnTo>
                  <a:pt x="722" y="118"/>
                </a:lnTo>
                <a:lnTo>
                  <a:pt x="724" y="128"/>
                </a:lnTo>
                <a:lnTo>
                  <a:pt x="726" y="136"/>
                </a:lnTo>
                <a:lnTo>
                  <a:pt x="726" y="143"/>
                </a:lnTo>
                <a:lnTo>
                  <a:pt x="724" y="150"/>
                </a:lnTo>
                <a:lnTo>
                  <a:pt x="719" y="155"/>
                </a:lnTo>
                <a:lnTo>
                  <a:pt x="732" y="165"/>
                </a:lnTo>
                <a:lnTo>
                  <a:pt x="743" y="175"/>
                </a:lnTo>
                <a:lnTo>
                  <a:pt x="749" y="182"/>
                </a:lnTo>
                <a:lnTo>
                  <a:pt x="753" y="187"/>
                </a:lnTo>
                <a:lnTo>
                  <a:pt x="756" y="195"/>
                </a:lnTo>
                <a:lnTo>
                  <a:pt x="759" y="204"/>
                </a:lnTo>
                <a:lnTo>
                  <a:pt x="764" y="210"/>
                </a:lnTo>
                <a:lnTo>
                  <a:pt x="770" y="217"/>
                </a:lnTo>
                <a:lnTo>
                  <a:pt x="773" y="220"/>
                </a:lnTo>
                <a:lnTo>
                  <a:pt x="778" y="220"/>
                </a:lnTo>
                <a:lnTo>
                  <a:pt x="785" y="220"/>
                </a:lnTo>
                <a:lnTo>
                  <a:pt x="791" y="219"/>
                </a:lnTo>
                <a:lnTo>
                  <a:pt x="795" y="247"/>
                </a:lnTo>
                <a:lnTo>
                  <a:pt x="798" y="278"/>
                </a:lnTo>
                <a:lnTo>
                  <a:pt x="802" y="306"/>
                </a:lnTo>
                <a:lnTo>
                  <a:pt x="807" y="337"/>
                </a:lnTo>
                <a:lnTo>
                  <a:pt x="798" y="350"/>
                </a:lnTo>
                <a:lnTo>
                  <a:pt x="793" y="364"/>
                </a:lnTo>
                <a:lnTo>
                  <a:pt x="790" y="374"/>
                </a:lnTo>
                <a:lnTo>
                  <a:pt x="790" y="384"/>
                </a:lnTo>
                <a:lnTo>
                  <a:pt x="800" y="385"/>
                </a:lnTo>
                <a:lnTo>
                  <a:pt x="810" y="387"/>
                </a:lnTo>
                <a:lnTo>
                  <a:pt x="805" y="409"/>
                </a:lnTo>
                <a:lnTo>
                  <a:pt x="800" y="433"/>
                </a:lnTo>
                <a:lnTo>
                  <a:pt x="807" y="455"/>
                </a:lnTo>
                <a:lnTo>
                  <a:pt x="815" y="476"/>
                </a:lnTo>
                <a:lnTo>
                  <a:pt x="808" y="493"/>
                </a:lnTo>
                <a:lnTo>
                  <a:pt x="802" y="510"/>
                </a:lnTo>
                <a:lnTo>
                  <a:pt x="807" y="519"/>
                </a:lnTo>
                <a:lnTo>
                  <a:pt x="812" y="529"/>
                </a:lnTo>
                <a:lnTo>
                  <a:pt x="812" y="535"/>
                </a:lnTo>
                <a:lnTo>
                  <a:pt x="812" y="540"/>
                </a:lnTo>
                <a:lnTo>
                  <a:pt x="807" y="542"/>
                </a:lnTo>
                <a:lnTo>
                  <a:pt x="803" y="544"/>
                </a:lnTo>
                <a:lnTo>
                  <a:pt x="802" y="554"/>
                </a:lnTo>
                <a:lnTo>
                  <a:pt x="800" y="564"/>
                </a:lnTo>
                <a:lnTo>
                  <a:pt x="796" y="574"/>
                </a:lnTo>
                <a:lnTo>
                  <a:pt x="795" y="584"/>
                </a:lnTo>
                <a:lnTo>
                  <a:pt x="791" y="593"/>
                </a:lnTo>
                <a:lnTo>
                  <a:pt x="788" y="598"/>
                </a:lnTo>
                <a:lnTo>
                  <a:pt x="783" y="603"/>
                </a:lnTo>
                <a:lnTo>
                  <a:pt x="778" y="606"/>
                </a:lnTo>
                <a:lnTo>
                  <a:pt x="773" y="608"/>
                </a:lnTo>
                <a:lnTo>
                  <a:pt x="768" y="608"/>
                </a:lnTo>
                <a:lnTo>
                  <a:pt x="761" y="606"/>
                </a:lnTo>
                <a:lnTo>
                  <a:pt x="756" y="608"/>
                </a:lnTo>
                <a:lnTo>
                  <a:pt x="753" y="613"/>
                </a:lnTo>
                <a:lnTo>
                  <a:pt x="749" y="618"/>
                </a:lnTo>
                <a:lnTo>
                  <a:pt x="748" y="626"/>
                </a:lnTo>
                <a:lnTo>
                  <a:pt x="748" y="636"/>
                </a:lnTo>
                <a:lnTo>
                  <a:pt x="748" y="650"/>
                </a:lnTo>
                <a:lnTo>
                  <a:pt x="751" y="665"/>
                </a:lnTo>
                <a:lnTo>
                  <a:pt x="754" y="672"/>
                </a:lnTo>
                <a:lnTo>
                  <a:pt x="756" y="678"/>
                </a:lnTo>
                <a:lnTo>
                  <a:pt x="756" y="684"/>
                </a:lnTo>
                <a:lnTo>
                  <a:pt x="754" y="689"/>
                </a:lnTo>
                <a:lnTo>
                  <a:pt x="751" y="694"/>
                </a:lnTo>
                <a:lnTo>
                  <a:pt x="746" y="699"/>
                </a:lnTo>
                <a:lnTo>
                  <a:pt x="739" y="704"/>
                </a:lnTo>
                <a:lnTo>
                  <a:pt x="731" y="707"/>
                </a:lnTo>
                <a:lnTo>
                  <a:pt x="711" y="710"/>
                </a:lnTo>
                <a:lnTo>
                  <a:pt x="692" y="717"/>
                </a:lnTo>
                <a:lnTo>
                  <a:pt x="675" y="724"/>
                </a:lnTo>
                <a:lnTo>
                  <a:pt x="662" y="734"/>
                </a:lnTo>
                <a:lnTo>
                  <a:pt x="653" y="737"/>
                </a:lnTo>
                <a:lnTo>
                  <a:pt x="647" y="737"/>
                </a:lnTo>
                <a:lnTo>
                  <a:pt x="640" y="734"/>
                </a:lnTo>
                <a:lnTo>
                  <a:pt x="635" y="727"/>
                </a:lnTo>
                <a:lnTo>
                  <a:pt x="631" y="722"/>
                </a:lnTo>
                <a:lnTo>
                  <a:pt x="630" y="719"/>
                </a:lnTo>
                <a:lnTo>
                  <a:pt x="626" y="719"/>
                </a:lnTo>
                <a:lnTo>
                  <a:pt x="621" y="721"/>
                </a:lnTo>
                <a:lnTo>
                  <a:pt x="618" y="724"/>
                </a:lnTo>
                <a:lnTo>
                  <a:pt x="613" y="729"/>
                </a:lnTo>
                <a:lnTo>
                  <a:pt x="606" y="737"/>
                </a:lnTo>
                <a:lnTo>
                  <a:pt x="600" y="746"/>
                </a:lnTo>
                <a:lnTo>
                  <a:pt x="601" y="766"/>
                </a:lnTo>
                <a:lnTo>
                  <a:pt x="603" y="788"/>
                </a:lnTo>
                <a:lnTo>
                  <a:pt x="588" y="810"/>
                </a:lnTo>
                <a:lnTo>
                  <a:pt x="573" y="833"/>
                </a:lnTo>
                <a:lnTo>
                  <a:pt x="566" y="844"/>
                </a:lnTo>
                <a:lnTo>
                  <a:pt x="557" y="852"/>
                </a:lnTo>
                <a:lnTo>
                  <a:pt x="549" y="859"/>
                </a:lnTo>
                <a:lnTo>
                  <a:pt x="539" y="864"/>
                </a:lnTo>
                <a:lnTo>
                  <a:pt x="519" y="877"/>
                </a:lnTo>
                <a:lnTo>
                  <a:pt x="505" y="887"/>
                </a:lnTo>
                <a:lnTo>
                  <a:pt x="519" y="901"/>
                </a:lnTo>
                <a:lnTo>
                  <a:pt x="525" y="913"/>
                </a:lnTo>
                <a:lnTo>
                  <a:pt x="527" y="918"/>
                </a:lnTo>
                <a:lnTo>
                  <a:pt x="529" y="923"/>
                </a:lnTo>
                <a:lnTo>
                  <a:pt x="527" y="928"/>
                </a:lnTo>
                <a:lnTo>
                  <a:pt x="525" y="931"/>
                </a:lnTo>
                <a:lnTo>
                  <a:pt x="519" y="938"/>
                </a:lnTo>
                <a:lnTo>
                  <a:pt x="510" y="945"/>
                </a:lnTo>
                <a:lnTo>
                  <a:pt x="497" y="948"/>
                </a:lnTo>
                <a:lnTo>
                  <a:pt x="483" y="953"/>
                </a:lnTo>
                <a:lnTo>
                  <a:pt x="456" y="931"/>
                </a:lnTo>
                <a:lnTo>
                  <a:pt x="429" y="909"/>
                </a:lnTo>
                <a:lnTo>
                  <a:pt x="403" y="887"/>
                </a:lnTo>
                <a:lnTo>
                  <a:pt x="376" y="865"/>
                </a:lnTo>
                <a:lnTo>
                  <a:pt x="376" y="854"/>
                </a:lnTo>
                <a:lnTo>
                  <a:pt x="374" y="845"/>
                </a:lnTo>
                <a:lnTo>
                  <a:pt x="371" y="837"/>
                </a:lnTo>
                <a:lnTo>
                  <a:pt x="367" y="832"/>
                </a:lnTo>
                <a:lnTo>
                  <a:pt x="362" y="828"/>
                </a:lnTo>
                <a:lnTo>
                  <a:pt x="355" y="827"/>
                </a:lnTo>
                <a:lnTo>
                  <a:pt x="349" y="827"/>
                </a:lnTo>
                <a:lnTo>
                  <a:pt x="342" y="830"/>
                </a:lnTo>
                <a:lnTo>
                  <a:pt x="330" y="832"/>
                </a:lnTo>
                <a:lnTo>
                  <a:pt x="318" y="833"/>
                </a:lnTo>
                <a:lnTo>
                  <a:pt x="305" y="833"/>
                </a:lnTo>
                <a:lnTo>
                  <a:pt x="293" y="830"/>
                </a:lnTo>
                <a:lnTo>
                  <a:pt x="280" y="827"/>
                </a:lnTo>
                <a:lnTo>
                  <a:pt x="266" y="820"/>
                </a:lnTo>
                <a:lnTo>
                  <a:pt x="251" y="810"/>
                </a:lnTo>
                <a:lnTo>
                  <a:pt x="238" y="798"/>
                </a:lnTo>
                <a:lnTo>
                  <a:pt x="236" y="796"/>
                </a:lnTo>
                <a:lnTo>
                  <a:pt x="236" y="795"/>
                </a:lnTo>
                <a:lnTo>
                  <a:pt x="234" y="793"/>
                </a:lnTo>
                <a:lnTo>
                  <a:pt x="231" y="793"/>
                </a:lnTo>
                <a:lnTo>
                  <a:pt x="224" y="793"/>
                </a:lnTo>
                <a:lnTo>
                  <a:pt x="212" y="795"/>
                </a:lnTo>
                <a:lnTo>
                  <a:pt x="201" y="800"/>
                </a:lnTo>
                <a:lnTo>
                  <a:pt x="190" y="800"/>
                </a:lnTo>
                <a:lnTo>
                  <a:pt x="187" y="800"/>
                </a:lnTo>
                <a:lnTo>
                  <a:pt x="182" y="798"/>
                </a:lnTo>
                <a:lnTo>
                  <a:pt x="179" y="795"/>
                </a:lnTo>
                <a:lnTo>
                  <a:pt x="177" y="793"/>
                </a:lnTo>
                <a:lnTo>
                  <a:pt x="167" y="790"/>
                </a:lnTo>
                <a:lnTo>
                  <a:pt x="157" y="786"/>
                </a:lnTo>
                <a:lnTo>
                  <a:pt x="147" y="783"/>
                </a:lnTo>
                <a:lnTo>
                  <a:pt x="138" y="776"/>
                </a:lnTo>
                <a:lnTo>
                  <a:pt x="130" y="769"/>
                </a:lnTo>
                <a:lnTo>
                  <a:pt x="123" y="761"/>
                </a:lnTo>
                <a:lnTo>
                  <a:pt x="115" y="753"/>
                </a:lnTo>
                <a:lnTo>
                  <a:pt x="108" y="741"/>
                </a:lnTo>
                <a:lnTo>
                  <a:pt x="101" y="741"/>
                </a:lnTo>
                <a:lnTo>
                  <a:pt x="98" y="737"/>
                </a:lnTo>
                <a:lnTo>
                  <a:pt x="93" y="734"/>
                </a:lnTo>
                <a:lnTo>
                  <a:pt x="89" y="731"/>
                </a:lnTo>
                <a:lnTo>
                  <a:pt x="83" y="719"/>
                </a:lnTo>
                <a:lnTo>
                  <a:pt x="76" y="705"/>
                </a:lnTo>
                <a:lnTo>
                  <a:pt x="69" y="697"/>
                </a:lnTo>
                <a:lnTo>
                  <a:pt x="61" y="689"/>
                </a:lnTo>
                <a:lnTo>
                  <a:pt x="56" y="680"/>
                </a:lnTo>
                <a:lnTo>
                  <a:pt x="51" y="672"/>
                </a:lnTo>
                <a:lnTo>
                  <a:pt x="49" y="662"/>
                </a:lnTo>
                <a:lnTo>
                  <a:pt x="47" y="650"/>
                </a:lnTo>
                <a:lnTo>
                  <a:pt x="51" y="638"/>
                </a:lnTo>
                <a:lnTo>
                  <a:pt x="56" y="625"/>
                </a:lnTo>
                <a:lnTo>
                  <a:pt x="56" y="618"/>
                </a:lnTo>
                <a:lnTo>
                  <a:pt x="57" y="611"/>
                </a:lnTo>
                <a:lnTo>
                  <a:pt x="59" y="606"/>
                </a:lnTo>
                <a:lnTo>
                  <a:pt x="64" y="599"/>
                </a:lnTo>
                <a:lnTo>
                  <a:pt x="73" y="588"/>
                </a:lnTo>
                <a:lnTo>
                  <a:pt x="84" y="574"/>
                </a:lnTo>
                <a:lnTo>
                  <a:pt x="88" y="569"/>
                </a:lnTo>
                <a:lnTo>
                  <a:pt x="88" y="566"/>
                </a:lnTo>
                <a:lnTo>
                  <a:pt x="86" y="564"/>
                </a:lnTo>
                <a:lnTo>
                  <a:pt x="83" y="562"/>
                </a:lnTo>
                <a:lnTo>
                  <a:pt x="69" y="564"/>
                </a:lnTo>
                <a:lnTo>
                  <a:pt x="54" y="567"/>
                </a:lnTo>
                <a:lnTo>
                  <a:pt x="46" y="567"/>
                </a:lnTo>
                <a:lnTo>
                  <a:pt x="37" y="567"/>
                </a:lnTo>
                <a:lnTo>
                  <a:pt x="31" y="566"/>
                </a:lnTo>
                <a:lnTo>
                  <a:pt x="26" y="564"/>
                </a:lnTo>
                <a:lnTo>
                  <a:pt x="20" y="559"/>
                </a:lnTo>
                <a:lnTo>
                  <a:pt x="19" y="551"/>
                </a:lnTo>
                <a:lnTo>
                  <a:pt x="20" y="540"/>
                </a:lnTo>
                <a:lnTo>
                  <a:pt x="22" y="527"/>
                </a:lnTo>
                <a:lnTo>
                  <a:pt x="22" y="519"/>
                </a:lnTo>
                <a:lnTo>
                  <a:pt x="22" y="510"/>
                </a:lnTo>
                <a:lnTo>
                  <a:pt x="22" y="502"/>
                </a:lnTo>
                <a:lnTo>
                  <a:pt x="24" y="493"/>
                </a:lnTo>
                <a:lnTo>
                  <a:pt x="27" y="485"/>
                </a:lnTo>
                <a:lnTo>
                  <a:pt x="31" y="476"/>
                </a:lnTo>
                <a:lnTo>
                  <a:pt x="36" y="468"/>
                </a:lnTo>
                <a:lnTo>
                  <a:pt x="42" y="460"/>
                </a:lnTo>
                <a:lnTo>
                  <a:pt x="47" y="456"/>
                </a:lnTo>
                <a:lnTo>
                  <a:pt x="51" y="453"/>
                </a:lnTo>
                <a:lnTo>
                  <a:pt x="56" y="448"/>
                </a:lnTo>
                <a:lnTo>
                  <a:pt x="57" y="443"/>
                </a:lnTo>
                <a:lnTo>
                  <a:pt x="59" y="436"/>
                </a:lnTo>
                <a:lnTo>
                  <a:pt x="59" y="428"/>
                </a:lnTo>
                <a:lnTo>
                  <a:pt x="57" y="419"/>
                </a:lnTo>
                <a:lnTo>
                  <a:pt x="54" y="407"/>
                </a:lnTo>
                <a:lnTo>
                  <a:pt x="46" y="392"/>
                </a:lnTo>
                <a:lnTo>
                  <a:pt x="37" y="375"/>
                </a:lnTo>
                <a:lnTo>
                  <a:pt x="27" y="359"/>
                </a:lnTo>
                <a:lnTo>
                  <a:pt x="19" y="342"/>
                </a:lnTo>
                <a:lnTo>
                  <a:pt x="10" y="342"/>
                </a:lnTo>
                <a:lnTo>
                  <a:pt x="4" y="340"/>
                </a:lnTo>
                <a:lnTo>
                  <a:pt x="0" y="337"/>
                </a:lnTo>
                <a:lnTo>
                  <a:pt x="0" y="332"/>
                </a:lnTo>
                <a:lnTo>
                  <a:pt x="2" y="325"/>
                </a:lnTo>
                <a:lnTo>
                  <a:pt x="7" y="316"/>
                </a:lnTo>
                <a:lnTo>
                  <a:pt x="15" y="308"/>
                </a:lnTo>
                <a:lnTo>
                  <a:pt x="26" y="296"/>
                </a:lnTo>
                <a:lnTo>
                  <a:pt x="34" y="286"/>
                </a:lnTo>
                <a:lnTo>
                  <a:pt x="41" y="276"/>
                </a:lnTo>
                <a:lnTo>
                  <a:pt x="44" y="268"/>
                </a:lnTo>
                <a:lnTo>
                  <a:pt x="47" y="257"/>
                </a:lnTo>
                <a:lnTo>
                  <a:pt x="47" y="247"/>
                </a:lnTo>
                <a:lnTo>
                  <a:pt x="46" y="239"/>
                </a:lnTo>
                <a:lnTo>
                  <a:pt x="42" y="231"/>
                </a:lnTo>
                <a:lnTo>
                  <a:pt x="36" y="222"/>
                </a:lnTo>
                <a:lnTo>
                  <a:pt x="27" y="209"/>
                </a:lnTo>
                <a:lnTo>
                  <a:pt x="20" y="197"/>
                </a:lnTo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9525">
            <a:solidFill>
              <a:schemeClr val="bg1"/>
            </a:solidFill>
            <a:prstDash val="solid"/>
            <a:round/>
            <a:headEnd/>
            <a:tailEnd/>
          </a:ln>
          <a:effectLst/>
          <a:extLst/>
        </p:spPr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84287" name="Freeform 14"/>
          <p:cNvSpPr>
            <a:spLocks/>
          </p:cNvSpPr>
          <p:nvPr/>
        </p:nvSpPr>
        <p:spPr bwMode="auto">
          <a:xfrm>
            <a:off x="5661025" y="1631950"/>
            <a:ext cx="209550" cy="160338"/>
          </a:xfrm>
          <a:custGeom>
            <a:avLst/>
            <a:gdLst>
              <a:gd name="T0" fmla="*/ 0 w 190"/>
              <a:gd name="T1" fmla="*/ 2147483647 h 144"/>
              <a:gd name="T2" fmla="*/ 2147483647 w 190"/>
              <a:gd name="T3" fmla="*/ 2147483647 h 144"/>
              <a:gd name="T4" fmla="*/ 2147483647 w 190"/>
              <a:gd name="T5" fmla="*/ 2147483647 h 144"/>
              <a:gd name="T6" fmla="*/ 2147483647 w 190"/>
              <a:gd name="T7" fmla="*/ 2147483647 h 144"/>
              <a:gd name="T8" fmla="*/ 2147483647 w 190"/>
              <a:gd name="T9" fmla="*/ 2147483647 h 144"/>
              <a:gd name="T10" fmla="*/ 2147483647 w 190"/>
              <a:gd name="T11" fmla="*/ 2147483647 h 144"/>
              <a:gd name="T12" fmla="*/ 2147483647 w 190"/>
              <a:gd name="T13" fmla="*/ 2147483647 h 144"/>
              <a:gd name="T14" fmla="*/ 2147483647 w 190"/>
              <a:gd name="T15" fmla="*/ 2147483647 h 144"/>
              <a:gd name="T16" fmla="*/ 2147483647 w 190"/>
              <a:gd name="T17" fmla="*/ 2147483647 h 144"/>
              <a:gd name="T18" fmla="*/ 2147483647 w 190"/>
              <a:gd name="T19" fmla="*/ 2147483647 h 144"/>
              <a:gd name="T20" fmla="*/ 2147483647 w 190"/>
              <a:gd name="T21" fmla="*/ 0 h 144"/>
              <a:gd name="T22" fmla="*/ 2147483647 w 190"/>
              <a:gd name="T23" fmla="*/ 2147483647 h 144"/>
              <a:gd name="T24" fmla="*/ 2147483647 w 190"/>
              <a:gd name="T25" fmla="*/ 2147483647 h 144"/>
              <a:gd name="T26" fmla="*/ 2147483647 w 190"/>
              <a:gd name="T27" fmla="*/ 2147483647 h 144"/>
              <a:gd name="T28" fmla="*/ 2147483647 w 190"/>
              <a:gd name="T29" fmla="*/ 2147483647 h 144"/>
              <a:gd name="T30" fmla="*/ 2147483647 w 190"/>
              <a:gd name="T31" fmla="*/ 2147483647 h 144"/>
              <a:gd name="T32" fmla="*/ 2147483647 w 190"/>
              <a:gd name="T33" fmla="*/ 2147483647 h 144"/>
              <a:gd name="T34" fmla="*/ 2147483647 w 190"/>
              <a:gd name="T35" fmla="*/ 2147483647 h 144"/>
              <a:gd name="T36" fmla="*/ 2147483647 w 190"/>
              <a:gd name="T37" fmla="*/ 2147483647 h 144"/>
              <a:gd name="T38" fmla="*/ 2147483647 w 190"/>
              <a:gd name="T39" fmla="*/ 2147483647 h 144"/>
              <a:gd name="T40" fmla="*/ 2147483647 w 190"/>
              <a:gd name="T41" fmla="*/ 2147483647 h 144"/>
              <a:gd name="T42" fmla="*/ 2147483647 w 190"/>
              <a:gd name="T43" fmla="*/ 2147483647 h 144"/>
              <a:gd name="T44" fmla="*/ 2147483647 w 190"/>
              <a:gd name="T45" fmla="*/ 2147483647 h 144"/>
              <a:gd name="T46" fmla="*/ 2147483647 w 190"/>
              <a:gd name="T47" fmla="*/ 2147483647 h 144"/>
              <a:gd name="T48" fmla="*/ 2147483647 w 190"/>
              <a:gd name="T49" fmla="*/ 2147483647 h 144"/>
              <a:gd name="T50" fmla="*/ 2147483647 w 190"/>
              <a:gd name="T51" fmla="*/ 2147483647 h 144"/>
              <a:gd name="T52" fmla="*/ 2147483647 w 190"/>
              <a:gd name="T53" fmla="*/ 2147483647 h 144"/>
              <a:gd name="T54" fmla="*/ 2147483647 w 190"/>
              <a:gd name="T55" fmla="*/ 2147483647 h 144"/>
              <a:gd name="T56" fmla="*/ 2147483647 w 190"/>
              <a:gd name="T57" fmla="*/ 2147483647 h 144"/>
              <a:gd name="T58" fmla="*/ 2147483647 w 190"/>
              <a:gd name="T59" fmla="*/ 2147483647 h 144"/>
              <a:gd name="T60" fmla="*/ 2147483647 w 190"/>
              <a:gd name="T61" fmla="*/ 2147483647 h 144"/>
              <a:gd name="T62" fmla="*/ 2147483647 w 190"/>
              <a:gd name="T63" fmla="*/ 2147483647 h 144"/>
              <a:gd name="T64" fmla="*/ 2147483647 w 190"/>
              <a:gd name="T65" fmla="*/ 2147483647 h 144"/>
              <a:gd name="T66" fmla="*/ 2147483647 w 190"/>
              <a:gd name="T67" fmla="*/ 2147483647 h 144"/>
              <a:gd name="T68" fmla="*/ 2147483647 w 190"/>
              <a:gd name="T69" fmla="*/ 2147483647 h 144"/>
              <a:gd name="T70" fmla="*/ 2147483647 w 190"/>
              <a:gd name="T71" fmla="*/ 2147483647 h 144"/>
              <a:gd name="T72" fmla="*/ 2147483647 w 190"/>
              <a:gd name="T73" fmla="*/ 2147483647 h 144"/>
              <a:gd name="T74" fmla="*/ 2147483647 w 190"/>
              <a:gd name="T75" fmla="*/ 2147483647 h 144"/>
              <a:gd name="T76" fmla="*/ 2147483647 w 190"/>
              <a:gd name="T77" fmla="*/ 2147483647 h 144"/>
              <a:gd name="T78" fmla="*/ 2147483647 w 190"/>
              <a:gd name="T79" fmla="*/ 2147483647 h 144"/>
              <a:gd name="T80" fmla="*/ 2147483647 w 190"/>
              <a:gd name="T81" fmla="*/ 2147483647 h 144"/>
              <a:gd name="T82" fmla="*/ 2147483647 w 190"/>
              <a:gd name="T83" fmla="*/ 2147483647 h 144"/>
              <a:gd name="T84" fmla="*/ 2147483647 w 190"/>
              <a:gd name="T85" fmla="*/ 2147483647 h 144"/>
              <a:gd name="T86" fmla="*/ 2147483647 w 190"/>
              <a:gd name="T87" fmla="*/ 2147483647 h 144"/>
              <a:gd name="T88" fmla="*/ 2147483647 w 190"/>
              <a:gd name="T89" fmla="*/ 2147483647 h 144"/>
              <a:gd name="T90" fmla="*/ 2147483647 w 190"/>
              <a:gd name="T91" fmla="*/ 2147483647 h 144"/>
              <a:gd name="T92" fmla="*/ 0 w 190"/>
              <a:gd name="T93" fmla="*/ 2147483647 h 144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w 190"/>
              <a:gd name="T142" fmla="*/ 0 h 144"/>
              <a:gd name="T143" fmla="*/ 190 w 190"/>
              <a:gd name="T144" fmla="*/ 144 h 144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T141" t="T142" r="T143" b="T144"/>
            <a:pathLst>
              <a:path w="190" h="144">
                <a:moveTo>
                  <a:pt x="0" y="67"/>
                </a:moveTo>
                <a:lnTo>
                  <a:pt x="7" y="49"/>
                </a:lnTo>
                <a:lnTo>
                  <a:pt x="15" y="33"/>
                </a:lnTo>
                <a:lnTo>
                  <a:pt x="20" y="27"/>
                </a:lnTo>
                <a:lnTo>
                  <a:pt x="25" y="22"/>
                </a:lnTo>
                <a:lnTo>
                  <a:pt x="30" y="17"/>
                </a:lnTo>
                <a:lnTo>
                  <a:pt x="35" y="13"/>
                </a:lnTo>
                <a:lnTo>
                  <a:pt x="59" y="10"/>
                </a:lnTo>
                <a:lnTo>
                  <a:pt x="77" y="6"/>
                </a:lnTo>
                <a:lnTo>
                  <a:pt x="79" y="3"/>
                </a:lnTo>
                <a:lnTo>
                  <a:pt x="79" y="0"/>
                </a:lnTo>
                <a:lnTo>
                  <a:pt x="89" y="3"/>
                </a:lnTo>
                <a:lnTo>
                  <a:pt x="98" y="6"/>
                </a:lnTo>
                <a:lnTo>
                  <a:pt x="106" y="13"/>
                </a:lnTo>
                <a:lnTo>
                  <a:pt x="116" y="23"/>
                </a:lnTo>
                <a:lnTo>
                  <a:pt x="131" y="28"/>
                </a:lnTo>
                <a:lnTo>
                  <a:pt x="147" y="33"/>
                </a:lnTo>
                <a:lnTo>
                  <a:pt x="162" y="38"/>
                </a:lnTo>
                <a:lnTo>
                  <a:pt x="177" y="43"/>
                </a:lnTo>
                <a:lnTo>
                  <a:pt x="184" y="49"/>
                </a:lnTo>
                <a:lnTo>
                  <a:pt x="189" y="54"/>
                </a:lnTo>
                <a:lnTo>
                  <a:pt x="190" y="60"/>
                </a:lnTo>
                <a:lnTo>
                  <a:pt x="189" y="67"/>
                </a:lnTo>
                <a:lnTo>
                  <a:pt x="187" y="72"/>
                </a:lnTo>
                <a:lnTo>
                  <a:pt x="184" y="77"/>
                </a:lnTo>
                <a:lnTo>
                  <a:pt x="178" y="79"/>
                </a:lnTo>
                <a:lnTo>
                  <a:pt x="173" y="77"/>
                </a:lnTo>
                <a:lnTo>
                  <a:pt x="172" y="99"/>
                </a:lnTo>
                <a:lnTo>
                  <a:pt x="170" y="119"/>
                </a:lnTo>
                <a:lnTo>
                  <a:pt x="172" y="126"/>
                </a:lnTo>
                <a:lnTo>
                  <a:pt x="172" y="133"/>
                </a:lnTo>
                <a:lnTo>
                  <a:pt x="170" y="138"/>
                </a:lnTo>
                <a:lnTo>
                  <a:pt x="167" y="141"/>
                </a:lnTo>
                <a:lnTo>
                  <a:pt x="162" y="143"/>
                </a:lnTo>
                <a:lnTo>
                  <a:pt x="155" y="144"/>
                </a:lnTo>
                <a:lnTo>
                  <a:pt x="147" y="144"/>
                </a:lnTo>
                <a:lnTo>
                  <a:pt x="136" y="144"/>
                </a:lnTo>
                <a:lnTo>
                  <a:pt x="121" y="143"/>
                </a:lnTo>
                <a:lnTo>
                  <a:pt x="106" y="139"/>
                </a:lnTo>
                <a:lnTo>
                  <a:pt x="91" y="134"/>
                </a:lnTo>
                <a:lnTo>
                  <a:pt x="77" y="128"/>
                </a:lnTo>
                <a:lnTo>
                  <a:pt x="66" y="119"/>
                </a:lnTo>
                <a:lnTo>
                  <a:pt x="54" y="111"/>
                </a:lnTo>
                <a:lnTo>
                  <a:pt x="44" y="99"/>
                </a:lnTo>
                <a:lnTo>
                  <a:pt x="35" y="86"/>
                </a:lnTo>
                <a:lnTo>
                  <a:pt x="17" y="75"/>
                </a:lnTo>
                <a:lnTo>
                  <a:pt x="0" y="67"/>
                </a:lnTo>
              </a:path>
            </a:pathLst>
          </a:custGeom>
          <a:solidFill>
            <a:srgbClr val="CCECFF"/>
          </a:solidFill>
          <a:ln w="3175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32779" name="Freeform 15"/>
          <p:cNvSpPr>
            <a:spLocks/>
          </p:cNvSpPr>
          <p:nvPr/>
        </p:nvSpPr>
        <p:spPr bwMode="auto">
          <a:xfrm>
            <a:off x="6345238" y="1585913"/>
            <a:ext cx="1263650" cy="835025"/>
          </a:xfrm>
          <a:custGeom>
            <a:avLst/>
            <a:gdLst>
              <a:gd name="T0" fmla="*/ 2431368 w 1146"/>
              <a:gd name="T1" fmla="*/ 31803946 h 755"/>
              <a:gd name="T2" fmla="*/ 86326261 w 1146"/>
              <a:gd name="T3" fmla="*/ 56268519 h 755"/>
              <a:gd name="T4" fmla="*/ 176300126 w 1146"/>
              <a:gd name="T5" fmla="*/ 41589775 h 755"/>
              <a:gd name="T6" fmla="*/ 294238587 w 1146"/>
              <a:gd name="T7" fmla="*/ 14678744 h 755"/>
              <a:gd name="T8" fmla="*/ 365974432 w 1146"/>
              <a:gd name="T9" fmla="*/ 4892915 h 755"/>
              <a:gd name="T10" fmla="*/ 430415068 w 1146"/>
              <a:gd name="T11" fmla="*/ 51375604 h 755"/>
              <a:gd name="T12" fmla="*/ 493640572 w 1146"/>
              <a:gd name="T13" fmla="*/ 80733093 h 755"/>
              <a:gd name="T14" fmla="*/ 583613334 w 1146"/>
              <a:gd name="T15" fmla="*/ 83179550 h 755"/>
              <a:gd name="T16" fmla="*/ 667508227 w 1146"/>
              <a:gd name="T17" fmla="*/ 119875304 h 755"/>
              <a:gd name="T18" fmla="*/ 753834487 w 1146"/>
              <a:gd name="T19" fmla="*/ 117428847 h 755"/>
              <a:gd name="T20" fmla="*/ 910680357 w 1146"/>
              <a:gd name="T21" fmla="*/ 216510370 h 755"/>
              <a:gd name="T22" fmla="*/ 1000654222 w 1146"/>
              <a:gd name="T23" fmla="*/ 270332431 h 755"/>
              <a:gd name="T24" fmla="*/ 1048073074 w 1146"/>
              <a:gd name="T25" fmla="*/ 272778889 h 755"/>
              <a:gd name="T26" fmla="*/ 1083332879 w 1146"/>
              <a:gd name="T27" fmla="*/ 272778889 h 755"/>
              <a:gd name="T28" fmla="*/ 1156284959 w 1146"/>
              <a:gd name="T29" fmla="*/ 319260472 h 755"/>
              <a:gd name="T30" fmla="*/ 1176954348 w 1146"/>
              <a:gd name="T31" fmla="*/ 373082534 h 755"/>
              <a:gd name="T32" fmla="*/ 1219509360 w 1146"/>
              <a:gd name="T33" fmla="*/ 385314821 h 755"/>
              <a:gd name="T34" fmla="*/ 1248690192 w 1146"/>
              <a:gd name="T35" fmla="*/ 396323879 h 755"/>
              <a:gd name="T36" fmla="*/ 1299756649 w 1146"/>
              <a:gd name="T37" fmla="*/ 424458138 h 755"/>
              <a:gd name="T38" fmla="*/ 1326506112 w 1146"/>
              <a:gd name="T39" fmla="*/ 439136883 h 755"/>
              <a:gd name="T40" fmla="*/ 1348391736 w 1146"/>
              <a:gd name="T41" fmla="*/ 453815627 h 755"/>
              <a:gd name="T42" fmla="*/ 1356902077 w 1146"/>
              <a:gd name="T43" fmla="*/ 468493265 h 755"/>
              <a:gd name="T44" fmla="*/ 1393378117 w 1146"/>
              <a:gd name="T45" fmla="*/ 552896043 h 755"/>
              <a:gd name="T46" fmla="*/ 1369061125 w 1146"/>
              <a:gd name="T47" fmla="*/ 592039361 h 755"/>
              <a:gd name="T48" fmla="*/ 1330153716 w 1146"/>
              <a:gd name="T49" fmla="*/ 598155504 h 755"/>
              <a:gd name="T50" fmla="*/ 1275439656 w 1146"/>
              <a:gd name="T51" fmla="*/ 544333443 h 755"/>
              <a:gd name="T52" fmla="*/ 1248690192 w 1146"/>
              <a:gd name="T53" fmla="*/ 466046807 h 755"/>
              <a:gd name="T54" fmla="*/ 1161148799 w 1146"/>
              <a:gd name="T55" fmla="*/ 466046807 h 755"/>
              <a:gd name="T56" fmla="*/ 1099139530 w 1146"/>
              <a:gd name="T57" fmla="*/ 492957838 h 755"/>
              <a:gd name="T58" fmla="*/ 1090628087 w 1146"/>
              <a:gd name="T59" fmla="*/ 581030303 h 755"/>
              <a:gd name="T60" fmla="*/ 1146558383 w 1146"/>
              <a:gd name="T61" fmla="*/ 637298822 h 755"/>
              <a:gd name="T62" fmla="*/ 1176954348 w 1146"/>
              <a:gd name="T63" fmla="*/ 659315832 h 755"/>
              <a:gd name="T64" fmla="*/ 1168444007 w 1146"/>
              <a:gd name="T65" fmla="*/ 713137894 h 755"/>
              <a:gd name="T66" fmla="*/ 1111298578 w 1146"/>
              <a:gd name="T67" fmla="*/ 722923723 h 755"/>
              <a:gd name="T68" fmla="*/ 982416202 w 1146"/>
              <a:gd name="T69" fmla="*/ 774299328 h 755"/>
              <a:gd name="T70" fmla="*/ 921623169 w 1146"/>
              <a:gd name="T71" fmla="*/ 833013198 h 755"/>
              <a:gd name="T72" fmla="*/ 855967400 w 1146"/>
              <a:gd name="T73" fmla="*/ 833013198 h 755"/>
              <a:gd name="T74" fmla="*/ 751403119 w 1146"/>
              <a:gd name="T75" fmla="*/ 839129341 h 755"/>
              <a:gd name="T76" fmla="*/ 661429254 w 1146"/>
              <a:gd name="T77" fmla="*/ 881942345 h 755"/>
              <a:gd name="T78" fmla="*/ 604283825 w 1146"/>
              <a:gd name="T79" fmla="*/ 894174632 h 755"/>
              <a:gd name="T80" fmla="*/ 538626953 w 1146"/>
              <a:gd name="T81" fmla="*/ 912523062 h 755"/>
              <a:gd name="T82" fmla="*/ 466891108 w 1146"/>
              <a:gd name="T83" fmla="*/ 914969519 h 755"/>
              <a:gd name="T84" fmla="*/ 385428687 w 1146"/>
              <a:gd name="T85" fmla="*/ 918639205 h 755"/>
              <a:gd name="T86" fmla="*/ 269921594 w 1146"/>
              <a:gd name="T87" fmla="*/ 873379744 h 755"/>
              <a:gd name="T88" fmla="*/ 262626386 w 1146"/>
              <a:gd name="T89" fmla="*/ 836682884 h 755"/>
              <a:gd name="T90" fmla="*/ 284512010 w 1146"/>
              <a:gd name="T91" fmla="*/ 793870986 h 755"/>
              <a:gd name="T92" fmla="*/ 237093158 w 1146"/>
              <a:gd name="T93" fmla="*/ 776745785 h 755"/>
              <a:gd name="T94" fmla="*/ 245604602 w 1146"/>
              <a:gd name="T95" fmla="*/ 698459150 h 755"/>
              <a:gd name="T96" fmla="*/ 192106777 w 1146"/>
              <a:gd name="T97" fmla="*/ 667878433 h 755"/>
              <a:gd name="T98" fmla="*/ 139824085 w 1146"/>
              <a:gd name="T99" fmla="*/ 618950392 h 755"/>
              <a:gd name="T100" fmla="*/ 137392717 w 1146"/>
              <a:gd name="T101" fmla="*/ 484395238 h 755"/>
              <a:gd name="T102" fmla="*/ 128881273 w 1146"/>
              <a:gd name="T103" fmla="*/ 412225852 h 755"/>
              <a:gd name="T104" fmla="*/ 113075724 w 1146"/>
              <a:gd name="T105" fmla="*/ 253207230 h 755"/>
              <a:gd name="T106" fmla="*/ 77814817 w 1146"/>
              <a:gd name="T107" fmla="*/ 222626513 h 755"/>
              <a:gd name="T108" fmla="*/ 38907409 w 1146"/>
              <a:gd name="T109" fmla="*/ 167581223 h 755"/>
              <a:gd name="T110" fmla="*/ 23101860 w 1146"/>
              <a:gd name="T111" fmla="*/ 103973331 h 755"/>
              <a:gd name="T112" fmla="*/ 29180832 w 1146"/>
              <a:gd name="T113" fmla="*/ 80733093 h 755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1146" h="755">
                <a:moveTo>
                  <a:pt x="25" y="59"/>
                </a:moveTo>
                <a:lnTo>
                  <a:pt x="14" y="47"/>
                </a:lnTo>
                <a:lnTo>
                  <a:pt x="2" y="34"/>
                </a:lnTo>
                <a:lnTo>
                  <a:pt x="0" y="31"/>
                </a:lnTo>
                <a:lnTo>
                  <a:pt x="0" y="27"/>
                </a:lnTo>
                <a:lnTo>
                  <a:pt x="2" y="26"/>
                </a:lnTo>
                <a:lnTo>
                  <a:pt x="3" y="22"/>
                </a:lnTo>
                <a:lnTo>
                  <a:pt x="12" y="19"/>
                </a:lnTo>
                <a:lnTo>
                  <a:pt x="24" y="17"/>
                </a:lnTo>
                <a:lnTo>
                  <a:pt x="39" y="37"/>
                </a:lnTo>
                <a:lnTo>
                  <a:pt x="54" y="56"/>
                </a:lnTo>
                <a:lnTo>
                  <a:pt x="71" y="46"/>
                </a:lnTo>
                <a:lnTo>
                  <a:pt x="86" y="34"/>
                </a:lnTo>
                <a:lnTo>
                  <a:pt x="94" y="32"/>
                </a:lnTo>
                <a:lnTo>
                  <a:pt x="104" y="31"/>
                </a:lnTo>
                <a:lnTo>
                  <a:pt x="113" y="32"/>
                </a:lnTo>
                <a:lnTo>
                  <a:pt x="123" y="34"/>
                </a:lnTo>
                <a:lnTo>
                  <a:pt x="145" y="34"/>
                </a:lnTo>
                <a:lnTo>
                  <a:pt x="168" y="32"/>
                </a:lnTo>
                <a:lnTo>
                  <a:pt x="192" y="32"/>
                </a:lnTo>
                <a:lnTo>
                  <a:pt x="214" y="31"/>
                </a:lnTo>
                <a:lnTo>
                  <a:pt x="222" y="22"/>
                </a:lnTo>
                <a:lnTo>
                  <a:pt x="231" y="17"/>
                </a:lnTo>
                <a:lnTo>
                  <a:pt x="242" y="12"/>
                </a:lnTo>
                <a:lnTo>
                  <a:pt x="258" y="7"/>
                </a:lnTo>
                <a:lnTo>
                  <a:pt x="264" y="4"/>
                </a:lnTo>
                <a:lnTo>
                  <a:pt x="273" y="0"/>
                </a:lnTo>
                <a:lnTo>
                  <a:pt x="281" y="0"/>
                </a:lnTo>
                <a:lnTo>
                  <a:pt x="293" y="2"/>
                </a:lnTo>
                <a:lnTo>
                  <a:pt x="301" y="4"/>
                </a:lnTo>
                <a:lnTo>
                  <a:pt x="310" y="5"/>
                </a:lnTo>
                <a:lnTo>
                  <a:pt x="317" y="10"/>
                </a:lnTo>
                <a:lnTo>
                  <a:pt x="322" y="17"/>
                </a:lnTo>
                <a:lnTo>
                  <a:pt x="332" y="27"/>
                </a:lnTo>
                <a:lnTo>
                  <a:pt x="342" y="36"/>
                </a:lnTo>
                <a:lnTo>
                  <a:pt x="354" y="42"/>
                </a:lnTo>
                <a:lnTo>
                  <a:pt x="365" y="46"/>
                </a:lnTo>
                <a:lnTo>
                  <a:pt x="374" y="53"/>
                </a:lnTo>
                <a:lnTo>
                  <a:pt x="381" y="58"/>
                </a:lnTo>
                <a:lnTo>
                  <a:pt x="389" y="61"/>
                </a:lnTo>
                <a:lnTo>
                  <a:pt x="397" y="64"/>
                </a:lnTo>
                <a:lnTo>
                  <a:pt x="406" y="66"/>
                </a:lnTo>
                <a:lnTo>
                  <a:pt x="414" y="68"/>
                </a:lnTo>
                <a:lnTo>
                  <a:pt x="421" y="68"/>
                </a:lnTo>
                <a:lnTo>
                  <a:pt x="429" y="68"/>
                </a:lnTo>
                <a:lnTo>
                  <a:pt x="453" y="64"/>
                </a:lnTo>
                <a:lnTo>
                  <a:pt x="471" y="66"/>
                </a:lnTo>
                <a:lnTo>
                  <a:pt x="480" y="68"/>
                </a:lnTo>
                <a:lnTo>
                  <a:pt x="488" y="69"/>
                </a:lnTo>
                <a:lnTo>
                  <a:pt x="495" y="74"/>
                </a:lnTo>
                <a:lnTo>
                  <a:pt x="500" y="79"/>
                </a:lnTo>
                <a:lnTo>
                  <a:pt x="517" y="88"/>
                </a:lnTo>
                <a:lnTo>
                  <a:pt x="534" y="95"/>
                </a:lnTo>
                <a:lnTo>
                  <a:pt x="549" y="98"/>
                </a:lnTo>
                <a:lnTo>
                  <a:pt x="564" y="98"/>
                </a:lnTo>
                <a:lnTo>
                  <a:pt x="571" y="93"/>
                </a:lnTo>
                <a:lnTo>
                  <a:pt x="579" y="90"/>
                </a:lnTo>
                <a:lnTo>
                  <a:pt x="588" y="88"/>
                </a:lnTo>
                <a:lnTo>
                  <a:pt x="598" y="90"/>
                </a:lnTo>
                <a:lnTo>
                  <a:pt x="620" y="96"/>
                </a:lnTo>
                <a:lnTo>
                  <a:pt x="641" y="106"/>
                </a:lnTo>
                <a:lnTo>
                  <a:pt x="668" y="120"/>
                </a:lnTo>
                <a:lnTo>
                  <a:pt x="694" y="133"/>
                </a:lnTo>
                <a:lnTo>
                  <a:pt x="715" y="150"/>
                </a:lnTo>
                <a:lnTo>
                  <a:pt x="736" y="167"/>
                </a:lnTo>
                <a:lnTo>
                  <a:pt x="749" y="177"/>
                </a:lnTo>
                <a:lnTo>
                  <a:pt x="764" y="189"/>
                </a:lnTo>
                <a:lnTo>
                  <a:pt x="778" y="199"/>
                </a:lnTo>
                <a:lnTo>
                  <a:pt x="791" y="209"/>
                </a:lnTo>
                <a:lnTo>
                  <a:pt x="806" y="212"/>
                </a:lnTo>
                <a:lnTo>
                  <a:pt x="818" y="218"/>
                </a:lnTo>
                <a:lnTo>
                  <a:pt x="823" y="221"/>
                </a:lnTo>
                <a:lnTo>
                  <a:pt x="827" y="224"/>
                </a:lnTo>
                <a:lnTo>
                  <a:pt x="830" y="229"/>
                </a:lnTo>
                <a:lnTo>
                  <a:pt x="832" y="234"/>
                </a:lnTo>
                <a:lnTo>
                  <a:pt x="842" y="233"/>
                </a:lnTo>
                <a:lnTo>
                  <a:pt x="854" y="228"/>
                </a:lnTo>
                <a:lnTo>
                  <a:pt x="862" y="223"/>
                </a:lnTo>
                <a:lnTo>
                  <a:pt x="870" y="218"/>
                </a:lnTo>
                <a:lnTo>
                  <a:pt x="874" y="216"/>
                </a:lnTo>
                <a:lnTo>
                  <a:pt x="877" y="214"/>
                </a:lnTo>
                <a:lnTo>
                  <a:pt x="880" y="214"/>
                </a:lnTo>
                <a:lnTo>
                  <a:pt x="884" y="216"/>
                </a:lnTo>
                <a:lnTo>
                  <a:pt x="891" y="223"/>
                </a:lnTo>
                <a:lnTo>
                  <a:pt x="899" y="234"/>
                </a:lnTo>
                <a:lnTo>
                  <a:pt x="916" y="243"/>
                </a:lnTo>
                <a:lnTo>
                  <a:pt x="924" y="248"/>
                </a:lnTo>
                <a:lnTo>
                  <a:pt x="934" y="253"/>
                </a:lnTo>
                <a:lnTo>
                  <a:pt x="944" y="256"/>
                </a:lnTo>
                <a:lnTo>
                  <a:pt x="951" y="261"/>
                </a:lnTo>
                <a:lnTo>
                  <a:pt x="958" y="266"/>
                </a:lnTo>
                <a:lnTo>
                  <a:pt x="961" y="273"/>
                </a:lnTo>
                <a:lnTo>
                  <a:pt x="965" y="280"/>
                </a:lnTo>
                <a:lnTo>
                  <a:pt x="966" y="287"/>
                </a:lnTo>
                <a:lnTo>
                  <a:pt x="966" y="293"/>
                </a:lnTo>
                <a:lnTo>
                  <a:pt x="968" y="305"/>
                </a:lnTo>
                <a:lnTo>
                  <a:pt x="971" y="314"/>
                </a:lnTo>
                <a:lnTo>
                  <a:pt x="973" y="315"/>
                </a:lnTo>
                <a:lnTo>
                  <a:pt x="978" y="317"/>
                </a:lnTo>
                <a:lnTo>
                  <a:pt x="983" y="317"/>
                </a:lnTo>
                <a:lnTo>
                  <a:pt x="990" y="315"/>
                </a:lnTo>
                <a:lnTo>
                  <a:pt x="1003" y="315"/>
                </a:lnTo>
                <a:lnTo>
                  <a:pt x="1012" y="317"/>
                </a:lnTo>
                <a:lnTo>
                  <a:pt x="1013" y="319"/>
                </a:lnTo>
                <a:lnTo>
                  <a:pt x="1015" y="320"/>
                </a:lnTo>
                <a:lnTo>
                  <a:pt x="1017" y="324"/>
                </a:lnTo>
                <a:lnTo>
                  <a:pt x="1015" y="327"/>
                </a:lnTo>
                <a:lnTo>
                  <a:pt x="1027" y="324"/>
                </a:lnTo>
                <a:lnTo>
                  <a:pt x="1037" y="322"/>
                </a:lnTo>
                <a:lnTo>
                  <a:pt x="1045" y="324"/>
                </a:lnTo>
                <a:lnTo>
                  <a:pt x="1052" y="327"/>
                </a:lnTo>
                <a:lnTo>
                  <a:pt x="1059" y="332"/>
                </a:lnTo>
                <a:lnTo>
                  <a:pt x="1064" y="339"/>
                </a:lnTo>
                <a:lnTo>
                  <a:pt x="1069" y="347"/>
                </a:lnTo>
                <a:lnTo>
                  <a:pt x="1074" y="357"/>
                </a:lnTo>
                <a:lnTo>
                  <a:pt x="1074" y="371"/>
                </a:lnTo>
                <a:lnTo>
                  <a:pt x="1074" y="383"/>
                </a:lnTo>
                <a:lnTo>
                  <a:pt x="1079" y="374"/>
                </a:lnTo>
                <a:lnTo>
                  <a:pt x="1086" y="366"/>
                </a:lnTo>
                <a:lnTo>
                  <a:pt x="1091" y="359"/>
                </a:lnTo>
                <a:lnTo>
                  <a:pt x="1099" y="354"/>
                </a:lnTo>
                <a:lnTo>
                  <a:pt x="1108" y="351"/>
                </a:lnTo>
                <a:lnTo>
                  <a:pt x="1113" y="352"/>
                </a:lnTo>
                <a:lnTo>
                  <a:pt x="1114" y="357"/>
                </a:lnTo>
                <a:lnTo>
                  <a:pt x="1114" y="366"/>
                </a:lnTo>
                <a:lnTo>
                  <a:pt x="1109" y="371"/>
                </a:lnTo>
                <a:lnTo>
                  <a:pt x="1103" y="378"/>
                </a:lnTo>
                <a:lnTo>
                  <a:pt x="1109" y="376"/>
                </a:lnTo>
                <a:lnTo>
                  <a:pt x="1116" y="376"/>
                </a:lnTo>
                <a:lnTo>
                  <a:pt x="1118" y="376"/>
                </a:lnTo>
                <a:lnTo>
                  <a:pt x="1118" y="378"/>
                </a:lnTo>
                <a:lnTo>
                  <a:pt x="1116" y="383"/>
                </a:lnTo>
                <a:lnTo>
                  <a:pt x="1113" y="386"/>
                </a:lnTo>
                <a:lnTo>
                  <a:pt x="1121" y="404"/>
                </a:lnTo>
                <a:lnTo>
                  <a:pt x="1131" y="425"/>
                </a:lnTo>
                <a:lnTo>
                  <a:pt x="1138" y="433"/>
                </a:lnTo>
                <a:lnTo>
                  <a:pt x="1145" y="442"/>
                </a:lnTo>
                <a:lnTo>
                  <a:pt x="1146" y="452"/>
                </a:lnTo>
                <a:lnTo>
                  <a:pt x="1146" y="462"/>
                </a:lnTo>
                <a:lnTo>
                  <a:pt x="1143" y="462"/>
                </a:lnTo>
                <a:lnTo>
                  <a:pt x="1138" y="463"/>
                </a:lnTo>
                <a:lnTo>
                  <a:pt x="1133" y="470"/>
                </a:lnTo>
                <a:lnTo>
                  <a:pt x="1130" y="477"/>
                </a:lnTo>
                <a:lnTo>
                  <a:pt x="1126" y="484"/>
                </a:lnTo>
                <a:lnTo>
                  <a:pt x="1123" y="490"/>
                </a:lnTo>
                <a:lnTo>
                  <a:pt x="1119" y="494"/>
                </a:lnTo>
                <a:lnTo>
                  <a:pt x="1114" y="494"/>
                </a:lnTo>
                <a:lnTo>
                  <a:pt x="1108" y="494"/>
                </a:lnTo>
                <a:lnTo>
                  <a:pt x="1101" y="492"/>
                </a:lnTo>
                <a:lnTo>
                  <a:pt x="1094" y="489"/>
                </a:lnTo>
                <a:lnTo>
                  <a:pt x="1086" y="484"/>
                </a:lnTo>
                <a:lnTo>
                  <a:pt x="1079" y="479"/>
                </a:lnTo>
                <a:lnTo>
                  <a:pt x="1071" y="472"/>
                </a:lnTo>
                <a:lnTo>
                  <a:pt x="1064" y="463"/>
                </a:lnTo>
                <a:lnTo>
                  <a:pt x="1056" y="455"/>
                </a:lnTo>
                <a:lnTo>
                  <a:pt x="1049" y="445"/>
                </a:lnTo>
                <a:lnTo>
                  <a:pt x="1044" y="435"/>
                </a:lnTo>
                <a:lnTo>
                  <a:pt x="1039" y="425"/>
                </a:lnTo>
                <a:lnTo>
                  <a:pt x="1034" y="413"/>
                </a:lnTo>
                <a:lnTo>
                  <a:pt x="1032" y="401"/>
                </a:lnTo>
                <a:lnTo>
                  <a:pt x="1030" y="388"/>
                </a:lnTo>
                <a:lnTo>
                  <a:pt x="1027" y="381"/>
                </a:lnTo>
                <a:lnTo>
                  <a:pt x="1020" y="378"/>
                </a:lnTo>
                <a:lnTo>
                  <a:pt x="1013" y="378"/>
                </a:lnTo>
                <a:lnTo>
                  <a:pt x="1007" y="379"/>
                </a:lnTo>
                <a:lnTo>
                  <a:pt x="988" y="381"/>
                </a:lnTo>
                <a:lnTo>
                  <a:pt x="971" y="381"/>
                </a:lnTo>
                <a:lnTo>
                  <a:pt x="955" y="381"/>
                </a:lnTo>
                <a:lnTo>
                  <a:pt x="936" y="383"/>
                </a:lnTo>
                <a:lnTo>
                  <a:pt x="926" y="383"/>
                </a:lnTo>
                <a:lnTo>
                  <a:pt x="917" y="384"/>
                </a:lnTo>
                <a:lnTo>
                  <a:pt x="912" y="389"/>
                </a:lnTo>
                <a:lnTo>
                  <a:pt x="907" y="394"/>
                </a:lnTo>
                <a:lnTo>
                  <a:pt x="904" y="403"/>
                </a:lnTo>
                <a:lnTo>
                  <a:pt x="901" y="411"/>
                </a:lnTo>
                <a:lnTo>
                  <a:pt x="899" y="421"/>
                </a:lnTo>
                <a:lnTo>
                  <a:pt x="899" y="431"/>
                </a:lnTo>
                <a:lnTo>
                  <a:pt x="897" y="445"/>
                </a:lnTo>
                <a:lnTo>
                  <a:pt x="897" y="460"/>
                </a:lnTo>
                <a:lnTo>
                  <a:pt x="897" y="475"/>
                </a:lnTo>
                <a:lnTo>
                  <a:pt x="897" y="490"/>
                </a:lnTo>
                <a:lnTo>
                  <a:pt x="907" y="500"/>
                </a:lnTo>
                <a:lnTo>
                  <a:pt x="919" y="511"/>
                </a:lnTo>
                <a:lnTo>
                  <a:pt x="926" y="516"/>
                </a:lnTo>
                <a:lnTo>
                  <a:pt x="933" y="519"/>
                </a:lnTo>
                <a:lnTo>
                  <a:pt x="943" y="521"/>
                </a:lnTo>
                <a:lnTo>
                  <a:pt x="953" y="522"/>
                </a:lnTo>
                <a:lnTo>
                  <a:pt x="963" y="526"/>
                </a:lnTo>
                <a:lnTo>
                  <a:pt x="968" y="531"/>
                </a:lnTo>
                <a:lnTo>
                  <a:pt x="970" y="532"/>
                </a:lnTo>
                <a:lnTo>
                  <a:pt x="970" y="536"/>
                </a:lnTo>
                <a:lnTo>
                  <a:pt x="968" y="539"/>
                </a:lnTo>
                <a:lnTo>
                  <a:pt x="965" y="543"/>
                </a:lnTo>
                <a:lnTo>
                  <a:pt x="960" y="556"/>
                </a:lnTo>
                <a:lnTo>
                  <a:pt x="955" y="568"/>
                </a:lnTo>
                <a:lnTo>
                  <a:pt x="960" y="575"/>
                </a:lnTo>
                <a:lnTo>
                  <a:pt x="961" y="580"/>
                </a:lnTo>
                <a:lnTo>
                  <a:pt x="961" y="583"/>
                </a:lnTo>
                <a:lnTo>
                  <a:pt x="960" y="586"/>
                </a:lnTo>
                <a:lnTo>
                  <a:pt x="956" y="588"/>
                </a:lnTo>
                <a:lnTo>
                  <a:pt x="951" y="590"/>
                </a:lnTo>
                <a:lnTo>
                  <a:pt x="946" y="588"/>
                </a:lnTo>
                <a:lnTo>
                  <a:pt x="941" y="586"/>
                </a:lnTo>
                <a:lnTo>
                  <a:pt x="914" y="591"/>
                </a:lnTo>
                <a:lnTo>
                  <a:pt x="887" y="600"/>
                </a:lnTo>
                <a:lnTo>
                  <a:pt x="862" y="610"/>
                </a:lnTo>
                <a:lnTo>
                  <a:pt x="835" y="620"/>
                </a:lnTo>
                <a:lnTo>
                  <a:pt x="825" y="623"/>
                </a:lnTo>
                <a:lnTo>
                  <a:pt x="816" y="628"/>
                </a:lnTo>
                <a:lnTo>
                  <a:pt x="808" y="633"/>
                </a:lnTo>
                <a:lnTo>
                  <a:pt x="801" y="640"/>
                </a:lnTo>
                <a:lnTo>
                  <a:pt x="788" y="652"/>
                </a:lnTo>
                <a:lnTo>
                  <a:pt x="778" y="664"/>
                </a:lnTo>
                <a:lnTo>
                  <a:pt x="771" y="672"/>
                </a:lnTo>
                <a:lnTo>
                  <a:pt x="764" y="677"/>
                </a:lnTo>
                <a:lnTo>
                  <a:pt x="758" y="681"/>
                </a:lnTo>
                <a:lnTo>
                  <a:pt x="751" y="682"/>
                </a:lnTo>
                <a:lnTo>
                  <a:pt x="744" y="682"/>
                </a:lnTo>
                <a:lnTo>
                  <a:pt x="736" y="682"/>
                </a:lnTo>
                <a:lnTo>
                  <a:pt x="729" y="681"/>
                </a:lnTo>
                <a:lnTo>
                  <a:pt x="721" y="677"/>
                </a:lnTo>
                <a:lnTo>
                  <a:pt x="704" y="681"/>
                </a:lnTo>
                <a:lnTo>
                  <a:pt x="687" y="682"/>
                </a:lnTo>
                <a:lnTo>
                  <a:pt x="672" y="681"/>
                </a:lnTo>
                <a:lnTo>
                  <a:pt x="658" y="677"/>
                </a:lnTo>
                <a:lnTo>
                  <a:pt x="641" y="679"/>
                </a:lnTo>
                <a:lnTo>
                  <a:pt x="628" y="682"/>
                </a:lnTo>
                <a:lnTo>
                  <a:pt x="618" y="686"/>
                </a:lnTo>
                <a:lnTo>
                  <a:pt x="606" y="692"/>
                </a:lnTo>
                <a:lnTo>
                  <a:pt x="594" y="701"/>
                </a:lnTo>
                <a:lnTo>
                  <a:pt x="583" y="706"/>
                </a:lnTo>
                <a:lnTo>
                  <a:pt x="569" y="709"/>
                </a:lnTo>
                <a:lnTo>
                  <a:pt x="556" y="711"/>
                </a:lnTo>
                <a:lnTo>
                  <a:pt x="544" y="721"/>
                </a:lnTo>
                <a:lnTo>
                  <a:pt x="534" y="731"/>
                </a:lnTo>
                <a:lnTo>
                  <a:pt x="525" y="736"/>
                </a:lnTo>
                <a:lnTo>
                  <a:pt x="519" y="738"/>
                </a:lnTo>
                <a:lnTo>
                  <a:pt x="510" y="738"/>
                </a:lnTo>
                <a:lnTo>
                  <a:pt x="502" y="735"/>
                </a:lnTo>
                <a:lnTo>
                  <a:pt x="497" y="731"/>
                </a:lnTo>
                <a:lnTo>
                  <a:pt x="492" y="731"/>
                </a:lnTo>
                <a:lnTo>
                  <a:pt x="485" y="731"/>
                </a:lnTo>
                <a:lnTo>
                  <a:pt x="478" y="731"/>
                </a:lnTo>
                <a:lnTo>
                  <a:pt x="465" y="736"/>
                </a:lnTo>
                <a:lnTo>
                  <a:pt x="450" y="741"/>
                </a:lnTo>
                <a:lnTo>
                  <a:pt x="443" y="746"/>
                </a:lnTo>
                <a:lnTo>
                  <a:pt x="436" y="750"/>
                </a:lnTo>
                <a:lnTo>
                  <a:pt x="429" y="751"/>
                </a:lnTo>
                <a:lnTo>
                  <a:pt x="423" y="753"/>
                </a:lnTo>
                <a:lnTo>
                  <a:pt x="407" y="753"/>
                </a:lnTo>
                <a:lnTo>
                  <a:pt x="394" y="751"/>
                </a:lnTo>
                <a:lnTo>
                  <a:pt x="384" y="748"/>
                </a:lnTo>
                <a:lnTo>
                  <a:pt x="375" y="748"/>
                </a:lnTo>
                <a:lnTo>
                  <a:pt x="365" y="750"/>
                </a:lnTo>
                <a:lnTo>
                  <a:pt x="357" y="751"/>
                </a:lnTo>
                <a:lnTo>
                  <a:pt x="343" y="755"/>
                </a:lnTo>
                <a:lnTo>
                  <a:pt x="330" y="755"/>
                </a:lnTo>
                <a:lnTo>
                  <a:pt x="317" y="751"/>
                </a:lnTo>
                <a:lnTo>
                  <a:pt x="305" y="745"/>
                </a:lnTo>
                <a:lnTo>
                  <a:pt x="286" y="738"/>
                </a:lnTo>
                <a:lnTo>
                  <a:pt x="269" y="731"/>
                </a:lnTo>
                <a:lnTo>
                  <a:pt x="251" y="724"/>
                </a:lnTo>
                <a:lnTo>
                  <a:pt x="234" y="718"/>
                </a:lnTo>
                <a:lnTo>
                  <a:pt x="222" y="714"/>
                </a:lnTo>
                <a:lnTo>
                  <a:pt x="214" y="709"/>
                </a:lnTo>
                <a:lnTo>
                  <a:pt x="209" y="706"/>
                </a:lnTo>
                <a:lnTo>
                  <a:pt x="207" y="701"/>
                </a:lnTo>
                <a:lnTo>
                  <a:pt x="207" y="696"/>
                </a:lnTo>
                <a:lnTo>
                  <a:pt x="210" y="689"/>
                </a:lnTo>
                <a:lnTo>
                  <a:pt x="216" y="684"/>
                </a:lnTo>
                <a:lnTo>
                  <a:pt x="222" y="677"/>
                </a:lnTo>
                <a:lnTo>
                  <a:pt x="237" y="665"/>
                </a:lnTo>
                <a:lnTo>
                  <a:pt x="244" y="655"/>
                </a:lnTo>
                <a:lnTo>
                  <a:pt x="244" y="652"/>
                </a:lnTo>
                <a:lnTo>
                  <a:pt x="241" y="650"/>
                </a:lnTo>
                <a:lnTo>
                  <a:pt x="234" y="649"/>
                </a:lnTo>
                <a:lnTo>
                  <a:pt x="222" y="649"/>
                </a:lnTo>
                <a:lnTo>
                  <a:pt x="214" y="649"/>
                </a:lnTo>
                <a:lnTo>
                  <a:pt x="207" y="647"/>
                </a:lnTo>
                <a:lnTo>
                  <a:pt x="202" y="645"/>
                </a:lnTo>
                <a:lnTo>
                  <a:pt x="197" y="640"/>
                </a:lnTo>
                <a:lnTo>
                  <a:pt x="195" y="635"/>
                </a:lnTo>
                <a:lnTo>
                  <a:pt x="194" y="628"/>
                </a:lnTo>
                <a:lnTo>
                  <a:pt x="195" y="618"/>
                </a:lnTo>
                <a:lnTo>
                  <a:pt x="199" y="608"/>
                </a:lnTo>
                <a:lnTo>
                  <a:pt x="202" y="595"/>
                </a:lnTo>
                <a:lnTo>
                  <a:pt x="204" y="581"/>
                </a:lnTo>
                <a:lnTo>
                  <a:pt x="202" y="571"/>
                </a:lnTo>
                <a:lnTo>
                  <a:pt x="200" y="564"/>
                </a:lnTo>
                <a:lnTo>
                  <a:pt x="195" y="558"/>
                </a:lnTo>
                <a:lnTo>
                  <a:pt x="190" y="553"/>
                </a:lnTo>
                <a:lnTo>
                  <a:pt x="182" y="549"/>
                </a:lnTo>
                <a:lnTo>
                  <a:pt x="172" y="549"/>
                </a:lnTo>
                <a:lnTo>
                  <a:pt x="158" y="546"/>
                </a:lnTo>
                <a:lnTo>
                  <a:pt x="145" y="541"/>
                </a:lnTo>
                <a:lnTo>
                  <a:pt x="131" y="534"/>
                </a:lnTo>
                <a:lnTo>
                  <a:pt x="120" y="526"/>
                </a:lnTo>
                <a:lnTo>
                  <a:pt x="120" y="521"/>
                </a:lnTo>
                <a:lnTo>
                  <a:pt x="120" y="516"/>
                </a:lnTo>
                <a:lnTo>
                  <a:pt x="115" y="506"/>
                </a:lnTo>
                <a:lnTo>
                  <a:pt x="110" y="497"/>
                </a:lnTo>
                <a:lnTo>
                  <a:pt x="116" y="480"/>
                </a:lnTo>
                <a:lnTo>
                  <a:pt x="123" y="463"/>
                </a:lnTo>
                <a:lnTo>
                  <a:pt x="115" y="442"/>
                </a:lnTo>
                <a:lnTo>
                  <a:pt x="108" y="420"/>
                </a:lnTo>
                <a:lnTo>
                  <a:pt x="113" y="396"/>
                </a:lnTo>
                <a:lnTo>
                  <a:pt x="118" y="374"/>
                </a:lnTo>
                <a:lnTo>
                  <a:pt x="108" y="372"/>
                </a:lnTo>
                <a:lnTo>
                  <a:pt x="98" y="371"/>
                </a:lnTo>
                <a:lnTo>
                  <a:pt x="98" y="361"/>
                </a:lnTo>
                <a:lnTo>
                  <a:pt x="101" y="351"/>
                </a:lnTo>
                <a:lnTo>
                  <a:pt x="106" y="337"/>
                </a:lnTo>
                <a:lnTo>
                  <a:pt x="115" y="324"/>
                </a:lnTo>
                <a:lnTo>
                  <a:pt x="110" y="293"/>
                </a:lnTo>
                <a:lnTo>
                  <a:pt x="106" y="265"/>
                </a:lnTo>
                <a:lnTo>
                  <a:pt x="103" y="234"/>
                </a:lnTo>
                <a:lnTo>
                  <a:pt x="99" y="206"/>
                </a:lnTo>
                <a:lnTo>
                  <a:pt x="93" y="207"/>
                </a:lnTo>
                <a:lnTo>
                  <a:pt x="86" y="207"/>
                </a:lnTo>
                <a:lnTo>
                  <a:pt x="81" y="207"/>
                </a:lnTo>
                <a:lnTo>
                  <a:pt x="78" y="204"/>
                </a:lnTo>
                <a:lnTo>
                  <a:pt x="72" y="197"/>
                </a:lnTo>
                <a:lnTo>
                  <a:pt x="67" y="191"/>
                </a:lnTo>
                <a:lnTo>
                  <a:pt x="64" y="182"/>
                </a:lnTo>
                <a:lnTo>
                  <a:pt x="61" y="174"/>
                </a:lnTo>
                <a:lnTo>
                  <a:pt x="57" y="169"/>
                </a:lnTo>
                <a:lnTo>
                  <a:pt x="51" y="162"/>
                </a:lnTo>
                <a:lnTo>
                  <a:pt x="40" y="152"/>
                </a:lnTo>
                <a:lnTo>
                  <a:pt x="27" y="142"/>
                </a:lnTo>
                <a:lnTo>
                  <a:pt x="32" y="137"/>
                </a:lnTo>
                <a:lnTo>
                  <a:pt x="34" y="130"/>
                </a:lnTo>
                <a:lnTo>
                  <a:pt x="35" y="123"/>
                </a:lnTo>
                <a:lnTo>
                  <a:pt x="34" y="115"/>
                </a:lnTo>
                <a:lnTo>
                  <a:pt x="30" y="106"/>
                </a:lnTo>
                <a:lnTo>
                  <a:pt x="25" y="96"/>
                </a:lnTo>
                <a:lnTo>
                  <a:pt x="19" y="85"/>
                </a:lnTo>
                <a:lnTo>
                  <a:pt x="10" y="73"/>
                </a:lnTo>
                <a:lnTo>
                  <a:pt x="12" y="74"/>
                </a:lnTo>
                <a:lnTo>
                  <a:pt x="17" y="73"/>
                </a:lnTo>
                <a:lnTo>
                  <a:pt x="20" y="73"/>
                </a:lnTo>
                <a:lnTo>
                  <a:pt x="22" y="69"/>
                </a:lnTo>
                <a:lnTo>
                  <a:pt x="24" y="66"/>
                </a:lnTo>
                <a:lnTo>
                  <a:pt x="25" y="59"/>
                </a:lnTo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9525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32780" name="Freeform 16"/>
          <p:cNvSpPr>
            <a:spLocks/>
          </p:cNvSpPr>
          <p:nvPr/>
        </p:nvSpPr>
        <p:spPr bwMode="auto">
          <a:xfrm>
            <a:off x="6791325" y="1997075"/>
            <a:ext cx="1274763" cy="1217613"/>
          </a:xfrm>
          <a:custGeom>
            <a:avLst/>
            <a:gdLst>
              <a:gd name="T0" fmla="*/ 1171034123 w 1156"/>
              <a:gd name="T1" fmla="*/ 1020685722 h 1098"/>
              <a:gd name="T2" fmla="*/ 1033623273 w 1156"/>
              <a:gd name="T3" fmla="*/ 1084632583 h 1098"/>
              <a:gd name="T4" fmla="*/ 976469561 w 1156"/>
              <a:gd name="T5" fmla="*/ 1036672160 h 1098"/>
              <a:gd name="T6" fmla="*/ 916884315 w 1156"/>
              <a:gd name="T7" fmla="*/ 969035864 h 1098"/>
              <a:gd name="T8" fmla="*/ 910803828 w 1156"/>
              <a:gd name="T9" fmla="*/ 900170867 h 1098"/>
              <a:gd name="T10" fmla="*/ 920532166 w 1156"/>
              <a:gd name="T11" fmla="*/ 853440255 h 1098"/>
              <a:gd name="T12" fmla="*/ 898643956 w 1156"/>
              <a:gd name="T13" fmla="*/ 751372570 h 1098"/>
              <a:gd name="T14" fmla="*/ 859730603 w 1156"/>
              <a:gd name="T15" fmla="*/ 853440255 h 1098"/>
              <a:gd name="T16" fmla="*/ 797713824 w 1156"/>
              <a:gd name="T17" fmla="*/ 815318322 h 1098"/>
              <a:gd name="T18" fmla="*/ 794065973 w 1156"/>
              <a:gd name="T19" fmla="*/ 881724806 h 1098"/>
              <a:gd name="T20" fmla="*/ 740560111 w 1156"/>
              <a:gd name="T21" fmla="*/ 894021810 h 1098"/>
              <a:gd name="T22" fmla="*/ 767313593 w 1156"/>
              <a:gd name="T23" fmla="*/ 1024375155 h 1098"/>
              <a:gd name="T24" fmla="*/ 853651218 w 1156"/>
              <a:gd name="T25" fmla="*/ 1099389210 h 1098"/>
              <a:gd name="T26" fmla="*/ 809873695 w 1156"/>
              <a:gd name="T27" fmla="*/ 1269093190 h 1098"/>
              <a:gd name="T28" fmla="*/ 701647861 w 1156"/>
              <a:gd name="T29" fmla="*/ 1317053613 h 1098"/>
              <a:gd name="T30" fmla="*/ 629901641 w 1156"/>
              <a:gd name="T31" fmla="*/ 1318283424 h 1098"/>
              <a:gd name="T32" fmla="*/ 560588057 w 1156"/>
              <a:gd name="T33" fmla="*/ 1271552812 h 1098"/>
              <a:gd name="T34" fmla="*/ 497354960 w 1156"/>
              <a:gd name="T35" fmla="*/ 1302295877 h 1098"/>
              <a:gd name="T36" fmla="*/ 434121863 w 1156"/>
              <a:gd name="T37" fmla="*/ 1200228192 h 1098"/>
              <a:gd name="T38" fmla="*/ 550859718 w 1156"/>
              <a:gd name="T39" fmla="*/ 977644544 h 1098"/>
              <a:gd name="T40" fmla="*/ 485195088 w 1156"/>
              <a:gd name="T41" fmla="*/ 871886316 h 1098"/>
              <a:gd name="T42" fmla="*/ 453578540 w 1156"/>
              <a:gd name="T43" fmla="*/ 735385023 h 1098"/>
              <a:gd name="T44" fmla="*/ 389129125 w 1156"/>
              <a:gd name="T45" fmla="*/ 780885824 h 1098"/>
              <a:gd name="T46" fmla="*/ 374536617 w 1156"/>
              <a:gd name="T47" fmla="*/ 687425709 h 1098"/>
              <a:gd name="T48" fmla="*/ 299142546 w 1156"/>
              <a:gd name="T49" fmla="*/ 697263090 h 1098"/>
              <a:gd name="T50" fmla="*/ 186052542 w 1156"/>
              <a:gd name="T51" fmla="*/ 670209459 h 1098"/>
              <a:gd name="T52" fmla="*/ 132546681 w 1156"/>
              <a:gd name="T53" fmla="*/ 641924908 h 1098"/>
              <a:gd name="T54" fmla="*/ 81473456 w 1156"/>
              <a:gd name="T55" fmla="*/ 596425217 h 1098"/>
              <a:gd name="T56" fmla="*/ 54721076 w 1156"/>
              <a:gd name="T57" fmla="*/ 494356423 h 1098"/>
              <a:gd name="T58" fmla="*/ 1216318 w 1156"/>
              <a:gd name="T59" fmla="*/ 509113049 h 1098"/>
              <a:gd name="T60" fmla="*/ 81473456 w 1156"/>
              <a:gd name="T61" fmla="*/ 448855622 h 1098"/>
              <a:gd name="T62" fmla="*/ 192131926 w 1156"/>
              <a:gd name="T63" fmla="*/ 421800882 h 1098"/>
              <a:gd name="T64" fmla="*/ 376968151 w 1156"/>
              <a:gd name="T65" fmla="*/ 382449138 h 1098"/>
              <a:gd name="T66" fmla="*/ 482762452 w 1156"/>
              <a:gd name="T67" fmla="*/ 328340768 h 1098"/>
              <a:gd name="T68" fmla="*/ 667598676 w 1156"/>
              <a:gd name="T69" fmla="*/ 270542963 h 1098"/>
              <a:gd name="T70" fmla="*/ 671246527 w 1156"/>
              <a:gd name="T71" fmla="*/ 196758720 h 1098"/>
              <a:gd name="T72" fmla="*/ 593420923 w 1156"/>
              <a:gd name="T73" fmla="*/ 79933299 h 1098"/>
              <a:gd name="T74" fmla="*/ 701647861 w 1156"/>
              <a:gd name="T75" fmla="*/ 18446061 h 1098"/>
              <a:gd name="T76" fmla="*/ 784337634 w 1156"/>
              <a:gd name="T77" fmla="*/ 109446553 h 1098"/>
              <a:gd name="T78" fmla="*/ 869458941 w 1156"/>
              <a:gd name="T79" fmla="*/ 145109972 h 1098"/>
              <a:gd name="T80" fmla="*/ 853651218 w 1156"/>
              <a:gd name="T81" fmla="*/ 24595117 h 1098"/>
              <a:gd name="T82" fmla="*/ 898643956 w 1156"/>
              <a:gd name="T83" fmla="*/ 0 h 1098"/>
              <a:gd name="T84" fmla="*/ 949717182 w 1156"/>
              <a:gd name="T85" fmla="*/ 20905683 h 1098"/>
              <a:gd name="T86" fmla="*/ 991062068 w 1156"/>
              <a:gd name="T87" fmla="*/ 79933299 h 1098"/>
              <a:gd name="T88" fmla="*/ 1057943016 w 1156"/>
              <a:gd name="T89" fmla="*/ 105758228 h 1098"/>
              <a:gd name="T90" fmla="*/ 1126041385 w 1156"/>
              <a:gd name="T91" fmla="*/ 142650349 h 1098"/>
              <a:gd name="T92" fmla="*/ 1102936857 w 1156"/>
              <a:gd name="T93" fmla="*/ 175853037 h 1098"/>
              <a:gd name="T94" fmla="*/ 1183193995 w 1156"/>
              <a:gd name="T95" fmla="*/ 197988531 h 1098"/>
              <a:gd name="T96" fmla="*/ 1144281744 w 1156"/>
              <a:gd name="T97" fmla="*/ 145109972 h 1098"/>
              <a:gd name="T98" fmla="*/ 1248859728 w 1156"/>
              <a:gd name="T99" fmla="*/ 145109972 h 1098"/>
              <a:gd name="T100" fmla="*/ 1276828425 w 1156"/>
              <a:gd name="T101" fmla="*/ 279151642 h 1098"/>
              <a:gd name="T102" fmla="*/ 1336413670 w 1156"/>
              <a:gd name="T103" fmla="*/ 218894215 h 1098"/>
              <a:gd name="T104" fmla="*/ 1405727254 w 1156"/>
              <a:gd name="T105" fmla="*/ 397206874 h 1098"/>
              <a:gd name="T106" fmla="*/ 1320604845 w 1156"/>
              <a:gd name="T107" fmla="*/ 426720128 h 1098"/>
              <a:gd name="T108" fmla="*/ 1267100086 w 1156"/>
              <a:gd name="T109" fmla="*/ 485747744 h 1098"/>
              <a:gd name="T110" fmla="*/ 1197786502 w 1156"/>
              <a:gd name="T111" fmla="*/ 539856114 h 1098"/>
              <a:gd name="T112" fmla="*/ 1138201257 w 1156"/>
              <a:gd name="T113" fmla="*/ 742763891 h 1098"/>
              <a:gd name="T114" fmla="*/ 1231835687 w 1156"/>
              <a:gd name="T115" fmla="*/ 794412639 h 1098"/>
              <a:gd name="T116" fmla="*/ 1256155430 w 1156"/>
              <a:gd name="T117" fmla="*/ 900170867 h 1098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1156" h="1098">
                <a:moveTo>
                  <a:pt x="1027" y="803"/>
                </a:moveTo>
                <a:lnTo>
                  <a:pt x="1018" y="803"/>
                </a:lnTo>
                <a:lnTo>
                  <a:pt x="1010" y="803"/>
                </a:lnTo>
                <a:lnTo>
                  <a:pt x="1001" y="800"/>
                </a:lnTo>
                <a:lnTo>
                  <a:pt x="993" y="800"/>
                </a:lnTo>
                <a:lnTo>
                  <a:pt x="986" y="801"/>
                </a:lnTo>
                <a:lnTo>
                  <a:pt x="979" y="805"/>
                </a:lnTo>
                <a:lnTo>
                  <a:pt x="974" y="810"/>
                </a:lnTo>
                <a:lnTo>
                  <a:pt x="971" y="815"/>
                </a:lnTo>
                <a:lnTo>
                  <a:pt x="966" y="822"/>
                </a:lnTo>
                <a:lnTo>
                  <a:pt x="963" y="830"/>
                </a:lnTo>
                <a:lnTo>
                  <a:pt x="961" y="837"/>
                </a:lnTo>
                <a:lnTo>
                  <a:pt x="958" y="843"/>
                </a:lnTo>
                <a:lnTo>
                  <a:pt x="954" y="848"/>
                </a:lnTo>
                <a:lnTo>
                  <a:pt x="951" y="854"/>
                </a:lnTo>
                <a:lnTo>
                  <a:pt x="946" y="859"/>
                </a:lnTo>
                <a:lnTo>
                  <a:pt x="941" y="862"/>
                </a:lnTo>
                <a:lnTo>
                  <a:pt x="934" y="864"/>
                </a:lnTo>
                <a:lnTo>
                  <a:pt x="926" y="865"/>
                </a:lnTo>
                <a:lnTo>
                  <a:pt x="900" y="872"/>
                </a:lnTo>
                <a:lnTo>
                  <a:pt x="875" y="877"/>
                </a:lnTo>
                <a:lnTo>
                  <a:pt x="850" y="882"/>
                </a:lnTo>
                <a:lnTo>
                  <a:pt x="826" y="889"/>
                </a:lnTo>
                <a:lnTo>
                  <a:pt x="818" y="889"/>
                </a:lnTo>
                <a:lnTo>
                  <a:pt x="813" y="889"/>
                </a:lnTo>
                <a:lnTo>
                  <a:pt x="808" y="887"/>
                </a:lnTo>
                <a:lnTo>
                  <a:pt x="804" y="886"/>
                </a:lnTo>
                <a:lnTo>
                  <a:pt x="801" y="882"/>
                </a:lnTo>
                <a:lnTo>
                  <a:pt x="799" y="879"/>
                </a:lnTo>
                <a:lnTo>
                  <a:pt x="799" y="874"/>
                </a:lnTo>
                <a:lnTo>
                  <a:pt x="801" y="869"/>
                </a:lnTo>
                <a:lnTo>
                  <a:pt x="801" y="855"/>
                </a:lnTo>
                <a:lnTo>
                  <a:pt x="803" y="843"/>
                </a:lnTo>
                <a:lnTo>
                  <a:pt x="803" y="830"/>
                </a:lnTo>
                <a:lnTo>
                  <a:pt x="803" y="818"/>
                </a:lnTo>
                <a:lnTo>
                  <a:pt x="798" y="810"/>
                </a:lnTo>
                <a:lnTo>
                  <a:pt x="793" y="805"/>
                </a:lnTo>
                <a:lnTo>
                  <a:pt x="788" y="805"/>
                </a:lnTo>
                <a:lnTo>
                  <a:pt x="783" y="806"/>
                </a:lnTo>
                <a:lnTo>
                  <a:pt x="777" y="808"/>
                </a:lnTo>
                <a:lnTo>
                  <a:pt x="774" y="808"/>
                </a:lnTo>
                <a:lnTo>
                  <a:pt x="769" y="803"/>
                </a:lnTo>
                <a:lnTo>
                  <a:pt x="764" y="796"/>
                </a:lnTo>
                <a:lnTo>
                  <a:pt x="754" y="788"/>
                </a:lnTo>
                <a:lnTo>
                  <a:pt x="745" y="779"/>
                </a:lnTo>
                <a:lnTo>
                  <a:pt x="737" y="771"/>
                </a:lnTo>
                <a:lnTo>
                  <a:pt x="730" y="763"/>
                </a:lnTo>
                <a:lnTo>
                  <a:pt x="720" y="744"/>
                </a:lnTo>
                <a:lnTo>
                  <a:pt x="714" y="727"/>
                </a:lnTo>
                <a:lnTo>
                  <a:pt x="720" y="734"/>
                </a:lnTo>
                <a:lnTo>
                  <a:pt x="729" y="741"/>
                </a:lnTo>
                <a:lnTo>
                  <a:pt x="734" y="742"/>
                </a:lnTo>
                <a:lnTo>
                  <a:pt x="739" y="742"/>
                </a:lnTo>
                <a:lnTo>
                  <a:pt x="744" y="739"/>
                </a:lnTo>
                <a:lnTo>
                  <a:pt x="749" y="732"/>
                </a:lnTo>
                <a:lnTo>
                  <a:pt x="745" y="731"/>
                </a:lnTo>
                <a:lnTo>
                  <a:pt x="744" y="729"/>
                </a:lnTo>
                <a:lnTo>
                  <a:pt x="745" y="726"/>
                </a:lnTo>
                <a:lnTo>
                  <a:pt x="749" y="722"/>
                </a:lnTo>
                <a:lnTo>
                  <a:pt x="744" y="719"/>
                </a:lnTo>
                <a:lnTo>
                  <a:pt x="740" y="715"/>
                </a:lnTo>
                <a:lnTo>
                  <a:pt x="739" y="714"/>
                </a:lnTo>
                <a:lnTo>
                  <a:pt x="739" y="712"/>
                </a:lnTo>
                <a:lnTo>
                  <a:pt x="744" y="707"/>
                </a:lnTo>
                <a:lnTo>
                  <a:pt x="747" y="704"/>
                </a:lnTo>
                <a:lnTo>
                  <a:pt x="757" y="694"/>
                </a:lnTo>
                <a:lnTo>
                  <a:pt x="766" y="682"/>
                </a:lnTo>
                <a:lnTo>
                  <a:pt x="762" y="680"/>
                </a:lnTo>
                <a:lnTo>
                  <a:pt x="757" y="680"/>
                </a:lnTo>
                <a:lnTo>
                  <a:pt x="759" y="670"/>
                </a:lnTo>
                <a:lnTo>
                  <a:pt x="759" y="660"/>
                </a:lnTo>
                <a:lnTo>
                  <a:pt x="757" y="657"/>
                </a:lnTo>
                <a:lnTo>
                  <a:pt x="754" y="655"/>
                </a:lnTo>
                <a:lnTo>
                  <a:pt x="752" y="633"/>
                </a:lnTo>
                <a:lnTo>
                  <a:pt x="749" y="611"/>
                </a:lnTo>
                <a:lnTo>
                  <a:pt x="744" y="609"/>
                </a:lnTo>
                <a:lnTo>
                  <a:pt x="739" y="611"/>
                </a:lnTo>
                <a:lnTo>
                  <a:pt x="735" y="614"/>
                </a:lnTo>
                <a:lnTo>
                  <a:pt x="734" y="621"/>
                </a:lnTo>
                <a:lnTo>
                  <a:pt x="730" y="635"/>
                </a:lnTo>
                <a:lnTo>
                  <a:pt x="727" y="648"/>
                </a:lnTo>
                <a:lnTo>
                  <a:pt x="725" y="655"/>
                </a:lnTo>
                <a:lnTo>
                  <a:pt x="727" y="662"/>
                </a:lnTo>
                <a:lnTo>
                  <a:pt x="727" y="670"/>
                </a:lnTo>
                <a:lnTo>
                  <a:pt x="729" y="677"/>
                </a:lnTo>
                <a:lnTo>
                  <a:pt x="720" y="685"/>
                </a:lnTo>
                <a:lnTo>
                  <a:pt x="712" y="692"/>
                </a:lnTo>
                <a:lnTo>
                  <a:pt x="707" y="694"/>
                </a:lnTo>
                <a:lnTo>
                  <a:pt x="702" y="694"/>
                </a:lnTo>
                <a:lnTo>
                  <a:pt x="698" y="694"/>
                </a:lnTo>
                <a:lnTo>
                  <a:pt x="695" y="692"/>
                </a:lnTo>
                <a:lnTo>
                  <a:pt x="692" y="690"/>
                </a:lnTo>
                <a:lnTo>
                  <a:pt x="690" y="687"/>
                </a:lnTo>
                <a:lnTo>
                  <a:pt x="688" y="683"/>
                </a:lnTo>
                <a:lnTo>
                  <a:pt x="688" y="678"/>
                </a:lnTo>
                <a:lnTo>
                  <a:pt x="678" y="672"/>
                </a:lnTo>
                <a:lnTo>
                  <a:pt x="670" y="667"/>
                </a:lnTo>
                <a:lnTo>
                  <a:pt x="663" y="665"/>
                </a:lnTo>
                <a:lnTo>
                  <a:pt x="656" y="663"/>
                </a:lnTo>
                <a:lnTo>
                  <a:pt x="648" y="657"/>
                </a:lnTo>
                <a:lnTo>
                  <a:pt x="639" y="650"/>
                </a:lnTo>
                <a:lnTo>
                  <a:pt x="636" y="651"/>
                </a:lnTo>
                <a:lnTo>
                  <a:pt x="633" y="655"/>
                </a:lnTo>
                <a:lnTo>
                  <a:pt x="646" y="670"/>
                </a:lnTo>
                <a:lnTo>
                  <a:pt x="666" y="687"/>
                </a:lnTo>
                <a:lnTo>
                  <a:pt x="666" y="695"/>
                </a:lnTo>
                <a:lnTo>
                  <a:pt x="665" y="702"/>
                </a:lnTo>
                <a:lnTo>
                  <a:pt x="663" y="709"/>
                </a:lnTo>
                <a:lnTo>
                  <a:pt x="658" y="712"/>
                </a:lnTo>
                <a:lnTo>
                  <a:pt x="653" y="717"/>
                </a:lnTo>
                <a:lnTo>
                  <a:pt x="648" y="719"/>
                </a:lnTo>
                <a:lnTo>
                  <a:pt x="639" y="719"/>
                </a:lnTo>
                <a:lnTo>
                  <a:pt x="631" y="719"/>
                </a:lnTo>
                <a:lnTo>
                  <a:pt x="626" y="712"/>
                </a:lnTo>
                <a:lnTo>
                  <a:pt x="623" y="705"/>
                </a:lnTo>
                <a:lnTo>
                  <a:pt x="618" y="705"/>
                </a:lnTo>
                <a:lnTo>
                  <a:pt x="614" y="704"/>
                </a:lnTo>
                <a:lnTo>
                  <a:pt x="609" y="709"/>
                </a:lnTo>
                <a:lnTo>
                  <a:pt x="607" y="715"/>
                </a:lnTo>
                <a:lnTo>
                  <a:pt x="607" y="721"/>
                </a:lnTo>
                <a:lnTo>
                  <a:pt x="609" y="727"/>
                </a:lnTo>
                <a:lnTo>
                  <a:pt x="607" y="742"/>
                </a:lnTo>
                <a:lnTo>
                  <a:pt x="607" y="756"/>
                </a:lnTo>
                <a:lnTo>
                  <a:pt x="607" y="768"/>
                </a:lnTo>
                <a:lnTo>
                  <a:pt x="609" y="781"/>
                </a:lnTo>
                <a:lnTo>
                  <a:pt x="611" y="791"/>
                </a:lnTo>
                <a:lnTo>
                  <a:pt x="616" y="801"/>
                </a:lnTo>
                <a:lnTo>
                  <a:pt x="621" y="810"/>
                </a:lnTo>
                <a:lnTo>
                  <a:pt x="626" y="818"/>
                </a:lnTo>
                <a:lnTo>
                  <a:pt x="626" y="827"/>
                </a:lnTo>
                <a:lnTo>
                  <a:pt x="626" y="835"/>
                </a:lnTo>
                <a:lnTo>
                  <a:pt x="631" y="833"/>
                </a:lnTo>
                <a:lnTo>
                  <a:pt x="636" y="832"/>
                </a:lnTo>
                <a:lnTo>
                  <a:pt x="658" y="847"/>
                </a:lnTo>
                <a:lnTo>
                  <a:pt x="678" y="860"/>
                </a:lnTo>
                <a:lnTo>
                  <a:pt x="690" y="862"/>
                </a:lnTo>
                <a:lnTo>
                  <a:pt x="700" y="862"/>
                </a:lnTo>
                <a:lnTo>
                  <a:pt x="700" y="870"/>
                </a:lnTo>
                <a:lnTo>
                  <a:pt x="700" y="879"/>
                </a:lnTo>
                <a:lnTo>
                  <a:pt x="693" y="880"/>
                </a:lnTo>
                <a:lnTo>
                  <a:pt x="685" y="882"/>
                </a:lnTo>
                <a:lnTo>
                  <a:pt x="693" y="889"/>
                </a:lnTo>
                <a:lnTo>
                  <a:pt x="702" y="894"/>
                </a:lnTo>
                <a:lnTo>
                  <a:pt x="690" y="919"/>
                </a:lnTo>
                <a:lnTo>
                  <a:pt x="678" y="943"/>
                </a:lnTo>
                <a:lnTo>
                  <a:pt x="682" y="955"/>
                </a:lnTo>
                <a:lnTo>
                  <a:pt x="683" y="966"/>
                </a:lnTo>
                <a:lnTo>
                  <a:pt x="683" y="976"/>
                </a:lnTo>
                <a:lnTo>
                  <a:pt x="683" y="987"/>
                </a:lnTo>
                <a:lnTo>
                  <a:pt x="682" y="1007"/>
                </a:lnTo>
                <a:lnTo>
                  <a:pt x="676" y="1027"/>
                </a:lnTo>
                <a:lnTo>
                  <a:pt x="673" y="1027"/>
                </a:lnTo>
                <a:lnTo>
                  <a:pt x="670" y="1029"/>
                </a:lnTo>
                <a:lnTo>
                  <a:pt x="666" y="1032"/>
                </a:lnTo>
                <a:lnTo>
                  <a:pt x="661" y="1037"/>
                </a:lnTo>
                <a:lnTo>
                  <a:pt x="655" y="1049"/>
                </a:lnTo>
                <a:lnTo>
                  <a:pt x="646" y="1062"/>
                </a:lnTo>
                <a:lnTo>
                  <a:pt x="636" y="1069"/>
                </a:lnTo>
                <a:lnTo>
                  <a:pt x="629" y="1078"/>
                </a:lnTo>
                <a:lnTo>
                  <a:pt x="623" y="1088"/>
                </a:lnTo>
                <a:lnTo>
                  <a:pt x="616" y="1098"/>
                </a:lnTo>
                <a:lnTo>
                  <a:pt x="604" y="1089"/>
                </a:lnTo>
                <a:lnTo>
                  <a:pt x="592" y="1083"/>
                </a:lnTo>
                <a:lnTo>
                  <a:pt x="586" y="1076"/>
                </a:lnTo>
                <a:lnTo>
                  <a:pt x="577" y="1071"/>
                </a:lnTo>
                <a:lnTo>
                  <a:pt x="570" y="1067"/>
                </a:lnTo>
                <a:lnTo>
                  <a:pt x="564" y="1066"/>
                </a:lnTo>
                <a:lnTo>
                  <a:pt x="559" y="1066"/>
                </a:lnTo>
                <a:lnTo>
                  <a:pt x="554" y="1066"/>
                </a:lnTo>
                <a:lnTo>
                  <a:pt x="547" y="1066"/>
                </a:lnTo>
                <a:lnTo>
                  <a:pt x="542" y="1067"/>
                </a:lnTo>
                <a:lnTo>
                  <a:pt x="537" y="1071"/>
                </a:lnTo>
                <a:lnTo>
                  <a:pt x="532" y="1072"/>
                </a:lnTo>
                <a:lnTo>
                  <a:pt x="527" y="1074"/>
                </a:lnTo>
                <a:lnTo>
                  <a:pt x="522" y="1072"/>
                </a:lnTo>
                <a:lnTo>
                  <a:pt x="518" y="1072"/>
                </a:lnTo>
                <a:lnTo>
                  <a:pt x="513" y="1069"/>
                </a:lnTo>
                <a:lnTo>
                  <a:pt x="510" y="1066"/>
                </a:lnTo>
                <a:lnTo>
                  <a:pt x="505" y="1062"/>
                </a:lnTo>
                <a:lnTo>
                  <a:pt x="493" y="1051"/>
                </a:lnTo>
                <a:lnTo>
                  <a:pt x="483" y="1040"/>
                </a:lnTo>
                <a:lnTo>
                  <a:pt x="478" y="1037"/>
                </a:lnTo>
                <a:lnTo>
                  <a:pt x="474" y="1034"/>
                </a:lnTo>
                <a:lnTo>
                  <a:pt x="471" y="1032"/>
                </a:lnTo>
                <a:lnTo>
                  <a:pt x="468" y="1032"/>
                </a:lnTo>
                <a:lnTo>
                  <a:pt x="464" y="1032"/>
                </a:lnTo>
                <a:lnTo>
                  <a:pt x="461" y="1034"/>
                </a:lnTo>
                <a:lnTo>
                  <a:pt x="458" y="1037"/>
                </a:lnTo>
                <a:lnTo>
                  <a:pt x="454" y="1040"/>
                </a:lnTo>
                <a:lnTo>
                  <a:pt x="448" y="1052"/>
                </a:lnTo>
                <a:lnTo>
                  <a:pt x="441" y="1064"/>
                </a:lnTo>
                <a:lnTo>
                  <a:pt x="434" y="1071"/>
                </a:lnTo>
                <a:lnTo>
                  <a:pt x="427" y="1074"/>
                </a:lnTo>
                <a:lnTo>
                  <a:pt x="424" y="1072"/>
                </a:lnTo>
                <a:lnTo>
                  <a:pt x="421" y="1071"/>
                </a:lnTo>
                <a:lnTo>
                  <a:pt x="417" y="1067"/>
                </a:lnTo>
                <a:lnTo>
                  <a:pt x="416" y="1062"/>
                </a:lnTo>
                <a:lnTo>
                  <a:pt x="409" y="1059"/>
                </a:lnTo>
                <a:lnTo>
                  <a:pt x="400" y="1056"/>
                </a:lnTo>
                <a:lnTo>
                  <a:pt x="394" y="1054"/>
                </a:lnTo>
                <a:lnTo>
                  <a:pt x="385" y="1052"/>
                </a:lnTo>
                <a:lnTo>
                  <a:pt x="367" y="1052"/>
                </a:lnTo>
                <a:lnTo>
                  <a:pt x="348" y="1054"/>
                </a:lnTo>
                <a:lnTo>
                  <a:pt x="347" y="1037"/>
                </a:lnTo>
                <a:lnTo>
                  <a:pt x="347" y="1022"/>
                </a:lnTo>
                <a:lnTo>
                  <a:pt x="348" y="1008"/>
                </a:lnTo>
                <a:lnTo>
                  <a:pt x="350" y="997"/>
                </a:lnTo>
                <a:lnTo>
                  <a:pt x="353" y="985"/>
                </a:lnTo>
                <a:lnTo>
                  <a:pt x="357" y="976"/>
                </a:lnTo>
                <a:lnTo>
                  <a:pt x="362" y="968"/>
                </a:lnTo>
                <a:lnTo>
                  <a:pt x="367" y="961"/>
                </a:lnTo>
                <a:lnTo>
                  <a:pt x="377" y="936"/>
                </a:lnTo>
                <a:lnTo>
                  <a:pt x="385" y="916"/>
                </a:lnTo>
                <a:lnTo>
                  <a:pt x="395" y="899"/>
                </a:lnTo>
                <a:lnTo>
                  <a:pt x="404" y="887"/>
                </a:lnTo>
                <a:lnTo>
                  <a:pt x="417" y="867"/>
                </a:lnTo>
                <a:lnTo>
                  <a:pt x="429" y="847"/>
                </a:lnTo>
                <a:lnTo>
                  <a:pt x="439" y="825"/>
                </a:lnTo>
                <a:lnTo>
                  <a:pt x="448" y="800"/>
                </a:lnTo>
                <a:lnTo>
                  <a:pt x="453" y="795"/>
                </a:lnTo>
                <a:lnTo>
                  <a:pt x="454" y="788"/>
                </a:lnTo>
                <a:lnTo>
                  <a:pt x="453" y="783"/>
                </a:lnTo>
                <a:lnTo>
                  <a:pt x="451" y="776"/>
                </a:lnTo>
                <a:lnTo>
                  <a:pt x="446" y="769"/>
                </a:lnTo>
                <a:lnTo>
                  <a:pt x="439" y="763"/>
                </a:lnTo>
                <a:lnTo>
                  <a:pt x="432" y="756"/>
                </a:lnTo>
                <a:lnTo>
                  <a:pt x="422" y="749"/>
                </a:lnTo>
                <a:lnTo>
                  <a:pt x="412" y="739"/>
                </a:lnTo>
                <a:lnTo>
                  <a:pt x="405" y="729"/>
                </a:lnTo>
                <a:lnTo>
                  <a:pt x="400" y="719"/>
                </a:lnTo>
                <a:lnTo>
                  <a:pt x="399" y="709"/>
                </a:lnTo>
                <a:lnTo>
                  <a:pt x="394" y="700"/>
                </a:lnTo>
                <a:lnTo>
                  <a:pt x="390" y="694"/>
                </a:lnTo>
                <a:lnTo>
                  <a:pt x="387" y="687"/>
                </a:lnTo>
                <a:lnTo>
                  <a:pt x="385" y="678"/>
                </a:lnTo>
                <a:lnTo>
                  <a:pt x="385" y="665"/>
                </a:lnTo>
                <a:lnTo>
                  <a:pt x="387" y="650"/>
                </a:lnTo>
                <a:lnTo>
                  <a:pt x="385" y="631"/>
                </a:lnTo>
                <a:lnTo>
                  <a:pt x="382" y="613"/>
                </a:lnTo>
                <a:lnTo>
                  <a:pt x="379" y="606"/>
                </a:lnTo>
                <a:lnTo>
                  <a:pt x="377" y="601"/>
                </a:lnTo>
                <a:lnTo>
                  <a:pt x="373" y="598"/>
                </a:lnTo>
                <a:lnTo>
                  <a:pt x="370" y="596"/>
                </a:lnTo>
                <a:lnTo>
                  <a:pt x="367" y="596"/>
                </a:lnTo>
                <a:lnTo>
                  <a:pt x="363" y="598"/>
                </a:lnTo>
                <a:lnTo>
                  <a:pt x="358" y="601"/>
                </a:lnTo>
                <a:lnTo>
                  <a:pt x="355" y="606"/>
                </a:lnTo>
                <a:lnTo>
                  <a:pt x="347" y="616"/>
                </a:lnTo>
                <a:lnTo>
                  <a:pt x="340" y="628"/>
                </a:lnTo>
                <a:lnTo>
                  <a:pt x="333" y="633"/>
                </a:lnTo>
                <a:lnTo>
                  <a:pt x="328" y="636"/>
                </a:lnTo>
                <a:lnTo>
                  <a:pt x="323" y="636"/>
                </a:lnTo>
                <a:lnTo>
                  <a:pt x="320" y="635"/>
                </a:lnTo>
                <a:lnTo>
                  <a:pt x="320" y="630"/>
                </a:lnTo>
                <a:lnTo>
                  <a:pt x="320" y="623"/>
                </a:lnTo>
                <a:lnTo>
                  <a:pt x="321" y="614"/>
                </a:lnTo>
                <a:lnTo>
                  <a:pt x="323" y="603"/>
                </a:lnTo>
                <a:lnTo>
                  <a:pt x="326" y="596"/>
                </a:lnTo>
                <a:lnTo>
                  <a:pt x="326" y="589"/>
                </a:lnTo>
                <a:lnTo>
                  <a:pt x="325" y="582"/>
                </a:lnTo>
                <a:lnTo>
                  <a:pt x="323" y="576"/>
                </a:lnTo>
                <a:lnTo>
                  <a:pt x="320" y="571"/>
                </a:lnTo>
                <a:lnTo>
                  <a:pt x="315" y="564"/>
                </a:lnTo>
                <a:lnTo>
                  <a:pt x="308" y="559"/>
                </a:lnTo>
                <a:lnTo>
                  <a:pt x="301" y="554"/>
                </a:lnTo>
                <a:lnTo>
                  <a:pt x="294" y="547"/>
                </a:lnTo>
                <a:lnTo>
                  <a:pt x="288" y="544"/>
                </a:lnTo>
                <a:lnTo>
                  <a:pt x="281" y="542"/>
                </a:lnTo>
                <a:lnTo>
                  <a:pt x="276" y="542"/>
                </a:lnTo>
                <a:lnTo>
                  <a:pt x="271" y="544"/>
                </a:lnTo>
                <a:lnTo>
                  <a:pt x="267" y="547"/>
                </a:lnTo>
                <a:lnTo>
                  <a:pt x="262" y="550"/>
                </a:lnTo>
                <a:lnTo>
                  <a:pt x="259" y="555"/>
                </a:lnTo>
                <a:lnTo>
                  <a:pt x="254" y="562"/>
                </a:lnTo>
                <a:lnTo>
                  <a:pt x="246" y="567"/>
                </a:lnTo>
                <a:lnTo>
                  <a:pt x="237" y="571"/>
                </a:lnTo>
                <a:lnTo>
                  <a:pt x="225" y="574"/>
                </a:lnTo>
                <a:lnTo>
                  <a:pt x="215" y="576"/>
                </a:lnTo>
                <a:lnTo>
                  <a:pt x="207" y="576"/>
                </a:lnTo>
                <a:lnTo>
                  <a:pt x="198" y="576"/>
                </a:lnTo>
                <a:lnTo>
                  <a:pt x="190" y="572"/>
                </a:lnTo>
                <a:lnTo>
                  <a:pt x="182" y="569"/>
                </a:lnTo>
                <a:lnTo>
                  <a:pt x="173" y="564"/>
                </a:lnTo>
                <a:lnTo>
                  <a:pt x="165" y="557"/>
                </a:lnTo>
                <a:lnTo>
                  <a:pt x="156" y="550"/>
                </a:lnTo>
                <a:lnTo>
                  <a:pt x="153" y="545"/>
                </a:lnTo>
                <a:lnTo>
                  <a:pt x="148" y="542"/>
                </a:lnTo>
                <a:lnTo>
                  <a:pt x="143" y="540"/>
                </a:lnTo>
                <a:lnTo>
                  <a:pt x="134" y="540"/>
                </a:lnTo>
                <a:lnTo>
                  <a:pt x="128" y="540"/>
                </a:lnTo>
                <a:lnTo>
                  <a:pt x="123" y="540"/>
                </a:lnTo>
                <a:lnTo>
                  <a:pt x="119" y="540"/>
                </a:lnTo>
                <a:lnTo>
                  <a:pt x="116" y="539"/>
                </a:lnTo>
                <a:lnTo>
                  <a:pt x="113" y="535"/>
                </a:lnTo>
                <a:lnTo>
                  <a:pt x="111" y="532"/>
                </a:lnTo>
                <a:lnTo>
                  <a:pt x="109" y="527"/>
                </a:lnTo>
                <a:lnTo>
                  <a:pt x="109" y="522"/>
                </a:lnTo>
                <a:lnTo>
                  <a:pt x="109" y="517"/>
                </a:lnTo>
                <a:lnTo>
                  <a:pt x="109" y="512"/>
                </a:lnTo>
                <a:lnTo>
                  <a:pt x="108" y="508"/>
                </a:lnTo>
                <a:lnTo>
                  <a:pt x="106" y="505"/>
                </a:lnTo>
                <a:lnTo>
                  <a:pt x="101" y="502"/>
                </a:lnTo>
                <a:lnTo>
                  <a:pt x="92" y="498"/>
                </a:lnTo>
                <a:lnTo>
                  <a:pt x="87" y="498"/>
                </a:lnTo>
                <a:lnTo>
                  <a:pt x="81" y="497"/>
                </a:lnTo>
                <a:lnTo>
                  <a:pt x="76" y="495"/>
                </a:lnTo>
                <a:lnTo>
                  <a:pt x="71" y="490"/>
                </a:lnTo>
                <a:lnTo>
                  <a:pt x="67" y="485"/>
                </a:lnTo>
                <a:lnTo>
                  <a:pt x="64" y="478"/>
                </a:lnTo>
                <a:lnTo>
                  <a:pt x="62" y="470"/>
                </a:lnTo>
                <a:lnTo>
                  <a:pt x="60" y="459"/>
                </a:lnTo>
                <a:lnTo>
                  <a:pt x="60" y="449"/>
                </a:lnTo>
                <a:lnTo>
                  <a:pt x="60" y="439"/>
                </a:lnTo>
                <a:lnTo>
                  <a:pt x="57" y="431"/>
                </a:lnTo>
                <a:lnTo>
                  <a:pt x="54" y="419"/>
                </a:lnTo>
                <a:lnTo>
                  <a:pt x="47" y="414"/>
                </a:lnTo>
                <a:lnTo>
                  <a:pt x="44" y="411"/>
                </a:lnTo>
                <a:lnTo>
                  <a:pt x="44" y="406"/>
                </a:lnTo>
                <a:lnTo>
                  <a:pt x="45" y="402"/>
                </a:lnTo>
                <a:lnTo>
                  <a:pt x="40" y="399"/>
                </a:lnTo>
                <a:lnTo>
                  <a:pt x="37" y="397"/>
                </a:lnTo>
                <a:lnTo>
                  <a:pt x="32" y="397"/>
                </a:lnTo>
                <a:lnTo>
                  <a:pt x="28" y="399"/>
                </a:lnTo>
                <a:lnTo>
                  <a:pt x="23" y="406"/>
                </a:lnTo>
                <a:lnTo>
                  <a:pt x="18" y="412"/>
                </a:lnTo>
                <a:lnTo>
                  <a:pt x="15" y="416"/>
                </a:lnTo>
                <a:lnTo>
                  <a:pt x="10" y="417"/>
                </a:lnTo>
                <a:lnTo>
                  <a:pt x="7" y="419"/>
                </a:lnTo>
                <a:lnTo>
                  <a:pt x="3" y="417"/>
                </a:lnTo>
                <a:lnTo>
                  <a:pt x="1" y="414"/>
                </a:lnTo>
                <a:lnTo>
                  <a:pt x="0" y="411"/>
                </a:lnTo>
                <a:lnTo>
                  <a:pt x="0" y="406"/>
                </a:lnTo>
                <a:lnTo>
                  <a:pt x="3" y="399"/>
                </a:lnTo>
                <a:lnTo>
                  <a:pt x="3" y="394"/>
                </a:lnTo>
                <a:lnTo>
                  <a:pt x="3" y="387"/>
                </a:lnTo>
                <a:lnTo>
                  <a:pt x="12" y="387"/>
                </a:lnTo>
                <a:lnTo>
                  <a:pt x="22" y="385"/>
                </a:lnTo>
                <a:lnTo>
                  <a:pt x="30" y="380"/>
                </a:lnTo>
                <a:lnTo>
                  <a:pt x="39" y="375"/>
                </a:lnTo>
                <a:lnTo>
                  <a:pt x="54" y="370"/>
                </a:lnTo>
                <a:lnTo>
                  <a:pt x="67" y="365"/>
                </a:lnTo>
                <a:lnTo>
                  <a:pt x="74" y="365"/>
                </a:lnTo>
                <a:lnTo>
                  <a:pt x="81" y="365"/>
                </a:lnTo>
                <a:lnTo>
                  <a:pt x="86" y="365"/>
                </a:lnTo>
                <a:lnTo>
                  <a:pt x="91" y="369"/>
                </a:lnTo>
                <a:lnTo>
                  <a:pt x="99" y="372"/>
                </a:lnTo>
                <a:lnTo>
                  <a:pt x="108" y="372"/>
                </a:lnTo>
                <a:lnTo>
                  <a:pt x="114" y="370"/>
                </a:lnTo>
                <a:lnTo>
                  <a:pt x="123" y="365"/>
                </a:lnTo>
                <a:lnTo>
                  <a:pt x="133" y="355"/>
                </a:lnTo>
                <a:lnTo>
                  <a:pt x="145" y="345"/>
                </a:lnTo>
                <a:lnTo>
                  <a:pt x="158" y="343"/>
                </a:lnTo>
                <a:lnTo>
                  <a:pt x="172" y="340"/>
                </a:lnTo>
                <a:lnTo>
                  <a:pt x="183" y="335"/>
                </a:lnTo>
                <a:lnTo>
                  <a:pt x="195" y="326"/>
                </a:lnTo>
                <a:lnTo>
                  <a:pt x="207" y="320"/>
                </a:lnTo>
                <a:lnTo>
                  <a:pt x="217" y="316"/>
                </a:lnTo>
                <a:lnTo>
                  <a:pt x="230" y="313"/>
                </a:lnTo>
                <a:lnTo>
                  <a:pt x="247" y="311"/>
                </a:lnTo>
                <a:lnTo>
                  <a:pt x="261" y="315"/>
                </a:lnTo>
                <a:lnTo>
                  <a:pt x="276" y="316"/>
                </a:lnTo>
                <a:lnTo>
                  <a:pt x="293" y="315"/>
                </a:lnTo>
                <a:lnTo>
                  <a:pt x="310" y="311"/>
                </a:lnTo>
                <a:lnTo>
                  <a:pt x="318" y="315"/>
                </a:lnTo>
                <a:lnTo>
                  <a:pt x="325" y="316"/>
                </a:lnTo>
                <a:lnTo>
                  <a:pt x="333" y="316"/>
                </a:lnTo>
                <a:lnTo>
                  <a:pt x="340" y="316"/>
                </a:lnTo>
                <a:lnTo>
                  <a:pt x="347" y="315"/>
                </a:lnTo>
                <a:lnTo>
                  <a:pt x="353" y="311"/>
                </a:lnTo>
                <a:lnTo>
                  <a:pt x="360" y="306"/>
                </a:lnTo>
                <a:lnTo>
                  <a:pt x="367" y="298"/>
                </a:lnTo>
                <a:lnTo>
                  <a:pt x="377" y="286"/>
                </a:lnTo>
                <a:lnTo>
                  <a:pt x="390" y="274"/>
                </a:lnTo>
                <a:lnTo>
                  <a:pt x="397" y="267"/>
                </a:lnTo>
                <a:lnTo>
                  <a:pt x="405" y="262"/>
                </a:lnTo>
                <a:lnTo>
                  <a:pt x="414" y="257"/>
                </a:lnTo>
                <a:lnTo>
                  <a:pt x="424" y="254"/>
                </a:lnTo>
                <a:lnTo>
                  <a:pt x="451" y="244"/>
                </a:lnTo>
                <a:lnTo>
                  <a:pt x="476" y="234"/>
                </a:lnTo>
                <a:lnTo>
                  <a:pt x="503" y="225"/>
                </a:lnTo>
                <a:lnTo>
                  <a:pt x="530" y="220"/>
                </a:lnTo>
                <a:lnTo>
                  <a:pt x="535" y="222"/>
                </a:lnTo>
                <a:lnTo>
                  <a:pt x="540" y="224"/>
                </a:lnTo>
                <a:lnTo>
                  <a:pt x="545" y="222"/>
                </a:lnTo>
                <a:lnTo>
                  <a:pt x="549" y="220"/>
                </a:lnTo>
                <a:lnTo>
                  <a:pt x="550" y="217"/>
                </a:lnTo>
                <a:lnTo>
                  <a:pt x="550" y="214"/>
                </a:lnTo>
                <a:lnTo>
                  <a:pt x="549" y="209"/>
                </a:lnTo>
                <a:lnTo>
                  <a:pt x="544" y="202"/>
                </a:lnTo>
                <a:lnTo>
                  <a:pt x="549" y="190"/>
                </a:lnTo>
                <a:lnTo>
                  <a:pt x="554" y="177"/>
                </a:lnTo>
                <a:lnTo>
                  <a:pt x="557" y="173"/>
                </a:lnTo>
                <a:lnTo>
                  <a:pt x="559" y="170"/>
                </a:lnTo>
                <a:lnTo>
                  <a:pt x="559" y="166"/>
                </a:lnTo>
                <a:lnTo>
                  <a:pt x="557" y="165"/>
                </a:lnTo>
                <a:lnTo>
                  <a:pt x="552" y="160"/>
                </a:lnTo>
                <a:lnTo>
                  <a:pt x="542" y="156"/>
                </a:lnTo>
                <a:lnTo>
                  <a:pt x="532" y="155"/>
                </a:lnTo>
                <a:lnTo>
                  <a:pt x="522" y="153"/>
                </a:lnTo>
                <a:lnTo>
                  <a:pt x="515" y="150"/>
                </a:lnTo>
                <a:lnTo>
                  <a:pt x="508" y="145"/>
                </a:lnTo>
                <a:lnTo>
                  <a:pt x="496" y="134"/>
                </a:lnTo>
                <a:lnTo>
                  <a:pt x="486" y="124"/>
                </a:lnTo>
                <a:lnTo>
                  <a:pt x="486" y="109"/>
                </a:lnTo>
                <a:lnTo>
                  <a:pt x="486" y="94"/>
                </a:lnTo>
                <a:lnTo>
                  <a:pt x="486" y="79"/>
                </a:lnTo>
                <a:lnTo>
                  <a:pt x="488" y="65"/>
                </a:lnTo>
                <a:lnTo>
                  <a:pt x="488" y="55"/>
                </a:lnTo>
                <a:lnTo>
                  <a:pt x="490" y="45"/>
                </a:lnTo>
                <a:lnTo>
                  <a:pt x="493" y="37"/>
                </a:lnTo>
                <a:lnTo>
                  <a:pt x="496" y="28"/>
                </a:lnTo>
                <a:lnTo>
                  <a:pt x="501" y="23"/>
                </a:lnTo>
                <a:lnTo>
                  <a:pt x="506" y="18"/>
                </a:lnTo>
                <a:lnTo>
                  <a:pt x="515" y="17"/>
                </a:lnTo>
                <a:lnTo>
                  <a:pt x="525" y="17"/>
                </a:lnTo>
                <a:lnTo>
                  <a:pt x="544" y="15"/>
                </a:lnTo>
                <a:lnTo>
                  <a:pt x="560" y="15"/>
                </a:lnTo>
                <a:lnTo>
                  <a:pt x="577" y="15"/>
                </a:lnTo>
                <a:lnTo>
                  <a:pt x="596" y="13"/>
                </a:lnTo>
                <a:lnTo>
                  <a:pt x="602" y="12"/>
                </a:lnTo>
                <a:lnTo>
                  <a:pt x="609" y="12"/>
                </a:lnTo>
                <a:lnTo>
                  <a:pt x="616" y="15"/>
                </a:lnTo>
                <a:lnTo>
                  <a:pt x="619" y="22"/>
                </a:lnTo>
                <a:lnTo>
                  <a:pt x="621" y="35"/>
                </a:lnTo>
                <a:lnTo>
                  <a:pt x="623" y="47"/>
                </a:lnTo>
                <a:lnTo>
                  <a:pt x="628" y="59"/>
                </a:lnTo>
                <a:lnTo>
                  <a:pt x="633" y="69"/>
                </a:lnTo>
                <a:lnTo>
                  <a:pt x="638" y="79"/>
                </a:lnTo>
                <a:lnTo>
                  <a:pt x="645" y="89"/>
                </a:lnTo>
                <a:lnTo>
                  <a:pt x="653" y="97"/>
                </a:lnTo>
                <a:lnTo>
                  <a:pt x="660" y="106"/>
                </a:lnTo>
                <a:lnTo>
                  <a:pt x="668" y="113"/>
                </a:lnTo>
                <a:lnTo>
                  <a:pt x="675" y="118"/>
                </a:lnTo>
                <a:lnTo>
                  <a:pt x="683" y="123"/>
                </a:lnTo>
                <a:lnTo>
                  <a:pt x="690" y="126"/>
                </a:lnTo>
                <a:lnTo>
                  <a:pt x="697" y="128"/>
                </a:lnTo>
                <a:lnTo>
                  <a:pt x="703" y="128"/>
                </a:lnTo>
                <a:lnTo>
                  <a:pt x="708" y="128"/>
                </a:lnTo>
                <a:lnTo>
                  <a:pt x="712" y="124"/>
                </a:lnTo>
                <a:lnTo>
                  <a:pt x="715" y="118"/>
                </a:lnTo>
                <a:lnTo>
                  <a:pt x="719" y="111"/>
                </a:lnTo>
                <a:lnTo>
                  <a:pt x="722" y="104"/>
                </a:lnTo>
                <a:lnTo>
                  <a:pt x="727" y="97"/>
                </a:lnTo>
                <a:lnTo>
                  <a:pt x="732" y="96"/>
                </a:lnTo>
                <a:lnTo>
                  <a:pt x="735" y="96"/>
                </a:lnTo>
                <a:lnTo>
                  <a:pt x="735" y="86"/>
                </a:lnTo>
                <a:lnTo>
                  <a:pt x="734" y="76"/>
                </a:lnTo>
                <a:lnTo>
                  <a:pt x="727" y="67"/>
                </a:lnTo>
                <a:lnTo>
                  <a:pt x="720" y="59"/>
                </a:lnTo>
                <a:lnTo>
                  <a:pt x="710" y="38"/>
                </a:lnTo>
                <a:lnTo>
                  <a:pt x="702" y="20"/>
                </a:lnTo>
                <a:lnTo>
                  <a:pt x="705" y="17"/>
                </a:lnTo>
                <a:lnTo>
                  <a:pt x="707" y="12"/>
                </a:lnTo>
                <a:lnTo>
                  <a:pt x="707" y="17"/>
                </a:lnTo>
                <a:lnTo>
                  <a:pt x="708" y="22"/>
                </a:lnTo>
                <a:lnTo>
                  <a:pt x="717" y="20"/>
                </a:lnTo>
                <a:lnTo>
                  <a:pt x="727" y="18"/>
                </a:lnTo>
                <a:lnTo>
                  <a:pt x="727" y="12"/>
                </a:lnTo>
                <a:lnTo>
                  <a:pt x="729" y="6"/>
                </a:lnTo>
                <a:lnTo>
                  <a:pt x="732" y="3"/>
                </a:lnTo>
                <a:lnTo>
                  <a:pt x="735" y="1"/>
                </a:lnTo>
                <a:lnTo>
                  <a:pt x="739" y="0"/>
                </a:lnTo>
                <a:lnTo>
                  <a:pt x="744" y="1"/>
                </a:lnTo>
                <a:lnTo>
                  <a:pt x="751" y="5"/>
                </a:lnTo>
                <a:lnTo>
                  <a:pt x="759" y="10"/>
                </a:lnTo>
                <a:lnTo>
                  <a:pt x="764" y="23"/>
                </a:lnTo>
                <a:lnTo>
                  <a:pt x="769" y="33"/>
                </a:lnTo>
                <a:lnTo>
                  <a:pt x="772" y="37"/>
                </a:lnTo>
                <a:lnTo>
                  <a:pt x="774" y="37"/>
                </a:lnTo>
                <a:lnTo>
                  <a:pt x="777" y="33"/>
                </a:lnTo>
                <a:lnTo>
                  <a:pt x="779" y="27"/>
                </a:lnTo>
                <a:lnTo>
                  <a:pt x="779" y="20"/>
                </a:lnTo>
                <a:lnTo>
                  <a:pt x="781" y="17"/>
                </a:lnTo>
                <a:lnTo>
                  <a:pt x="784" y="17"/>
                </a:lnTo>
                <a:lnTo>
                  <a:pt x="791" y="20"/>
                </a:lnTo>
                <a:lnTo>
                  <a:pt x="806" y="30"/>
                </a:lnTo>
                <a:lnTo>
                  <a:pt x="823" y="44"/>
                </a:lnTo>
                <a:lnTo>
                  <a:pt x="821" y="49"/>
                </a:lnTo>
                <a:lnTo>
                  <a:pt x="820" y="54"/>
                </a:lnTo>
                <a:lnTo>
                  <a:pt x="820" y="55"/>
                </a:lnTo>
                <a:lnTo>
                  <a:pt x="820" y="57"/>
                </a:lnTo>
                <a:lnTo>
                  <a:pt x="821" y="59"/>
                </a:lnTo>
                <a:lnTo>
                  <a:pt x="825" y="60"/>
                </a:lnTo>
                <a:lnTo>
                  <a:pt x="815" y="65"/>
                </a:lnTo>
                <a:lnTo>
                  <a:pt x="804" y="69"/>
                </a:lnTo>
                <a:lnTo>
                  <a:pt x="816" y="69"/>
                </a:lnTo>
                <a:lnTo>
                  <a:pt x="828" y="69"/>
                </a:lnTo>
                <a:lnTo>
                  <a:pt x="831" y="74"/>
                </a:lnTo>
                <a:lnTo>
                  <a:pt x="836" y="76"/>
                </a:lnTo>
                <a:lnTo>
                  <a:pt x="845" y="76"/>
                </a:lnTo>
                <a:lnTo>
                  <a:pt x="855" y="76"/>
                </a:lnTo>
                <a:lnTo>
                  <a:pt x="857" y="79"/>
                </a:lnTo>
                <a:lnTo>
                  <a:pt x="860" y="82"/>
                </a:lnTo>
                <a:lnTo>
                  <a:pt x="863" y="84"/>
                </a:lnTo>
                <a:lnTo>
                  <a:pt x="870" y="86"/>
                </a:lnTo>
                <a:lnTo>
                  <a:pt x="884" y="76"/>
                </a:lnTo>
                <a:lnTo>
                  <a:pt x="899" y="67"/>
                </a:lnTo>
                <a:lnTo>
                  <a:pt x="916" y="74"/>
                </a:lnTo>
                <a:lnTo>
                  <a:pt x="932" y="79"/>
                </a:lnTo>
                <a:lnTo>
                  <a:pt x="926" y="84"/>
                </a:lnTo>
                <a:lnTo>
                  <a:pt x="922" y="89"/>
                </a:lnTo>
                <a:lnTo>
                  <a:pt x="919" y="92"/>
                </a:lnTo>
                <a:lnTo>
                  <a:pt x="917" y="97"/>
                </a:lnTo>
                <a:lnTo>
                  <a:pt x="919" y="104"/>
                </a:lnTo>
                <a:lnTo>
                  <a:pt x="921" y="109"/>
                </a:lnTo>
                <a:lnTo>
                  <a:pt x="926" y="116"/>
                </a:lnTo>
                <a:lnTo>
                  <a:pt x="934" y="123"/>
                </a:lnTo>
                <a:lnTo>
                  <a:pt x="919" y="124"/>
                </a:lnTo>
                <a:lnTo>
                  <a:pt x="904" y="128"/>
                </a:lnTo>
                <a:lnTo>
                  <a:pt x="899" y="133"/>
                </a:lnTo>
                <a:lnTo>
                  <a:pt x="894" y="136"/>
                </a:lnTo>
                <a:lnTo>
                  <a:pt x="892" y="143"/>
                </a:lnTo>
                <a:lnTo>
                  <a:pt x="892" y="150"/>
                </a:lnTo>
                <a:lnTo>
                  <a:pt x="895" y="146"/>
                </a:lnTo>
                <a:lnTo>
                  <a:pt x="900" y="143"/>
                </a:lnTo>
                <a:lnTo>
                  <a:pt x="904" y="143"/>
                </a:lnTo>
                <a:lnTo>
                  <a:pt x="907" y="143"/>
                </a:lnTo>
                <a:lnTo>
                  <a:pt x="910" y="143"/>
                </a:lnTo>
                <a:lnTo>
                  <a:pt x="914" y="146"/>
                </a:lnTo>
                <a:lnTo>
                  <a:pt x="917" y="148"/>
                </a:lnTo>
                <a:lnTo>
                  <a:pt x="921" y="153"/>
                </a:lnTo>
                <a:lnTo>
                  <a:pt x="929" y="153"/>
                </a:lnTo>
                <a:lnTo>
                  <a:pt x="939" y="153"/>
                </a:lnTo>
                <a:lnTo>
                  <a:pt x="947" y="150"/>
                </a:lnTo>
                <a:lnTo>
                  <a:pt x="958" y="145"/>
                </a:lnTo>
                <a:lnTo>
                  <a:pt x="959" y="155"/>
                </a:lnTo>
                <a:lnTo>
                  <a:pt x="963" y="163"/>
                </a:lnTo>
                <a:lnTo>
                  <a:pt x="973" y="161"/>
                </a:lnTo>
                <a:lnTo>
                  <a:pt x="983" y="160"/>
                </a:lnTo>
                <a:lnTo>
                  <a:pt x="985" y="155"/>
                </a:lnTo>
                <a:lnTo>
                  <a:pt x="985" y="150"/>
                </a:lnTo>
                <a:lnTo>
                  <a:pt x="985" y="146"/>
                </a:lnTo>
                <a:lnTo>
                  <a:pt x="983" y="143"/>
                </a:lnTo>
                <a:lnTo>
                  <a:pt x="979" y="140"/>
                </a:lnTo>
                <a:lnTo>
                  <a:pt x="976" y="138"/>
                </a:lnTo>
                <a:lnTo>
                  <a:pt x="971" y="136"/>
                </a:lnTo>
                <a:lnTo>
                  <a:pt x="964" y="136"/>
                </a:lnTo>
                <a:lnTo>
                  <a:pt x="953" y="128"/>
                </a:lnTo>
                <a:lnTo>
                  <a:pt x="941" y="118"/>
                </a:lnTo>
                <a:lnTo>
                  <a:pt x="942" y="109"/>
                </a:lnTo>
                <a:lnTo>
                  <a:pt x="946" y="101"/>
                </a:lnTo>
                <a:lnTo>
                  <a:pt x="951" y="97"/>
                </a:lnTo>
                <a:lnTo>
                  <a:pt x="959" y="94"/>
                </a:lnTo>
                <a:lnTo>
                  <a:pt x="971" y="99"/>
                </a:lnTo>
                <a:lnTo>
                  <a:pt x="985" y="104"/>
                </a:lnTo>
                <a:lnTo>
                  <a:pt x="996" y="108"/>
                </a:lnTo>
                <a:lnTo>
                  <a:pt x="1010" y="113"/>
                </a:lnTo>
                <a:lnTo>
                  <a:pt x="1020" y="113"/>
                </a:lnTo>
                <a:lnTo>
                  <a:pt x="1028" y="113"/>
                </a:lnTo>
                <a:lnTo>
                  <a:pt x="1027" y="118"/>
                </a:lnTo>
                <a:lnTo>
                  <a:pt x="1023" y="124"/>
                </a:lnTo>
                <a:lnTo>
                  <a:pt x="1037" y="140"/>
                </a:lnTo>
                <a:lnTo>
                  <a:pt x="1050" y="156"/>
                </a:lnTo>
                <a:lnTo>
                  <a:pt x="1055" y="161"/>
                </a:lnTo>
                <a:lnTo>
                  <a:pt x="1062" y="165"/>
                </a:lnTo>
                <a:lnTo>
                  <a:pt x="1059" y="170"/>
                </a:lnTo>
                <a:lnTo>
                  <a:pt x="1054" y="175"/>
                </a:lnTo>
                <a:lnTo>
                  <a:pt x="1055" y="190"/>
                </a:lnTo>
                <a:lnTo>
                  <a:pt x="1054" y="204"/>
                </a:lnTo>
                <a:lnTo>
                  <a:pt x="1050" y="217"/>
                </a:lnTo>
                <a:lnTo>
                  <a:pt x="1050" y="227"/>
                </a:lnTo>
                <a:lnTo>
                  <a:pt x="1055" y="219"/>
                </a:lnTo>
                <a:lnTo>
                  <a:pt x="1062" y="212"/>
                </a:lnTo>
                <a:lnTo>
                  <a:pt x="1065" y="209"/>
                </a:lnTo>
                <a:lnTo>
                  <a:pt x="1069" y="207"/>
                </a:lnTo>
                <a:lnTo>
                  <a:pt x="1072" y="205"/>
                </a:lnTo>
                <a:lnTo>
                  <a:pt x="1077" y="205"/>
                </a:lnTo>
                <a:lnTo>
                  <a:pt x="1080" y="188"/>
                </a:lnTo>
                <a:lnTo>
                  <a:pt x="1084" y="172"/>
                </a:lnTo>
                <a:lnTo>
                  <a:pt x="1089" y="173"/>
                </a:lnTo>
                <a:lnTo>
                  <a:pt x="1094" y="175"/>
                </a:lnTo>
                <a:lnTo>
                  <a:pt x="1099" y="178"/>
                </a:lnTo>
                <a:lnTo>
                  <a:pt x="1102" y="182"/>
                </a:lnTo>
                <a:lnTo>
                  <a:pt x="1109" y="192"/>
                </a:lnTo>
                <a:lnTo>
                  <a:pt x="1116" y="205"/>
                </a:lnTo>
                <a:lnTo>
                  <a:pt x="1112" y="224"/>
                </a:lnTo>
                <a:lnTo>
                  <a:pt x="1111" y="241"/>
                </a:lnTo>
                <a:lnTo>
                  <a:pt x="1112" y="256"/>
                </a:lnTo>
                <a:lnTo>
                  <a:pt x="1118" y="271"/>
                </a:lnTo>
                <a:lnTo>
                  <a:pt x="1123" y="286"/>
                </a:lnTo>
                <a:lnTo>
                  <a:pt x="1133" y="299"/>
                </a:lnTo>
                <a:lnTo>
                  <a:pt x="1143" y="311"/>
                </a:lnTo>
                <a:lnTo>
                  <a:pt x="1156" y="323"/>
                </a:lnTo>
                <a:lnTo>
                  <a:pt x="1156" y="325"/>
                </a:lnTo>
                <a:lnTo>
                  <a:pt x="1131" y="325"/>
                </a:lnTo>
                <a:lnTo>
                  <a:pt x="1107" y="325"/>
                </a:lnTo>
                <a:lnTo>
                  <a:pt x="1104" y="335"/>
                </a:lnTo>
                <a:lnTo>
                  <a:pt x="1101" y="343"/>
                </a:lnTo>
                <a:lnTo>
                  <a:pt x="1097" y="347"/>
                </a:lnTo>
                <a:lnTo>
                  <a:pt x="1096" y="348"/>
                </a:lnTo>
                <a:lnTo>
                  <a:pt x="1092" y="350"/>
                </a:lnTo>
                <a:lnTo>
                  <a:pt x="1091" y="350"/>
                </a:lnTo>
                <a:lnTo>
                  <a:pt x="1086" y="347"/>
                </a:lnTo>
                <a:lnTo>
                  <a:pt x="1080" y="342"/>
                </a:lnTo>
                <a:lnTo>
                  <a:pt x="1075" y="338"/>
                </a:lnTo>
                <a:lnTo>
                  <a:pt x="1072" y="337"/>
                </a:lnTo>
                <a:lnTo>
                  <a:pt x="1069" y="338"/>
                </a:lnTo>
                <a:lnTo>
                  <a:pt x="1067" y="340"/>
                </a:lnTo>
                <a:lnTo>
                  <a:pt x="1064" y="347"/>
                </a:lnTo>
                <a:lnTo>
                  <a:pt x="1064" y="360"/>
                </a:lnTo>
                <a:lnTo>
                  <a:pt x="1059" y="370"/>
                </a:lnTo>
                <a:lnTo>
                  <a:pt x="1054" y="380"/>
                </a:lnTo>
                <a:lnTo>
                  <a:pt x="1048" y="389"/>
                </a:lnTo>
                <a:lnTo>
                  <a:pt x="1042" y="395"/>
                </a:lnTo>
                <a:lnTo>
                  <a:pt x="1035" y="401"/>
                </a:lnTo>
                <a:lnTo>
                  <a:pt x="1027" y="406"/>
                </a:lnTo>
                <a:lnTo>
                  <a:pt x="1017" y="409"/>
                </a:lnTo>
                <a:lnTo>
                  <a:pt x="1008" y="411"/>
                </a:lnTo>
                <a:lnTo>
                  <a:pt x="1001" y="409"/>
                </a:lnTo>
                <a:lnTo>
                  <a:pt x="996" y="409"/>
                </a:lnTo>
                <a:lnTo>
                  <a:pt x="993" y="409"/>
                </a:lnTo>
                <a:lnTo>
                  <a:pt x="990" y="412"/>
                </a:lnTo>
                <a:lnTo>
                  <a:pt x="988" y="417"/>
                </a:lnTo>
                <a:lnTo>
                  <a:pt x="988" y="424"/>
                </a:lnTo>
                <a:lnTo>
                  <a:pt x="985" y="439"/>
                </a:lnTo>
                <a:lnTo>
                  <a:pt x="983" y="453"/>
                </a:lnTo>
                <a:lnTo>
                  <a:pt x="974" y="473"/>
                </a:lnTo>
                <a:lnTo>
                  <a:pt x="964" y="495"/>
                </a:lnTo>
                <a:lnTo>
                  <a:pt x="946" y="513"/>
                </a:lnTo>
                <a:lnTo>
                  <a:pt x="926" y="539"/>
                </a:lnTo>
                <a:lnTo>
                  <a:pt x="919" y="545"/>
                </a:lnTo>
                <a:lnTo>
                  <a:pt x="916" y="552"/>
                </a:lnTo>
                <a:lnTo>
                  <a:pt x="914" y="562"/>
                </a:lnTo>
                <a:lnTo>
                  <a:pt x="916" y="572"/>
                </a:lnTo>
                <a:lnTo>
                  <a:pt x="926" y="587"/>
                </a:lnTo>
                <a:lnTo>
                  <a:pt x="936" y="604"/>
                </a:lnTo>
                <a:lnTo>
                  <a:pt x="946" y="603"/>
                </a:lnTo>
                <a:lnTo>
                  <a:pt x="954" y="603"/>
                </a:lnTo>
                <a:lnTo>
                  <a:pt x="963" y="603"/>
                </a:lnTo>
                <a:lnTo>
                  <a:pt x="971" y="606"/>
                </a:lnTo>
                <a:lnTo>
                  <a:pt x="978" y="609"/>
                </a:lnTo>
                <a:lnTo>
                  <a:pt x="985" y="614"/>
                </a:lnTo>
                <a:lnTo>
                  <a:pt x="990" y="619"/>
                </a:lnTo>
                <a:lnTo>
                  <a:pt x="996" y="626"/>
                </a:lnTo>
                <a:lnTo>
                  <a:pt x="1005" y="633"/>
                </a:lnTo>
                <a:lnTo>
                  <a:pt x="1010" y="640"/>
                </a:lnTo>
                <a:lnTo>
                  <a:pt x="1013" y="646"/>
                </a:lnTo>
                <a:lnTo>
                  <a:pt x="1015" y="655"/>
                </a:lnTo>
                <a:lnTo>
                  <a:pt x="1017" y="668"/>
                </a:lnTo>
                <a:lnTo>
                  <a:pt x="1015" y="682"/>
                </a:lnTo>
                <a:lnTo>
                  <a:pt x="1013" y="695"/>
                </a:lnTo>
                <a:lnTo>
                  <a:pt x="1015" y="702"/>
                </a:lnTo>
                <a:lnTo>
                  <a:pt x="1018" y="702"/>
                </a:lnTo>
                <a:lnTo>
                  <a:pt x="1022" y="704"/>
                </a:lnTo>
                <a:lnTo>
                  <a:pt x="1027" y="709"/>
                </a:lnTo>
                <a:lnTo>
                  <a:pt x="1030" y="715"/>
                </a:lnTo>
                <a:lnTo>
                  <a:pt x="1033" y="724"/>
                </a:lnTo>
                <a:lnTo>
                  <a:pt x="1033" y="732"/>
                </a:lnTo>
                <a:lnTo>
                  <a:pt x="1033" y="749"/>
                </a:lnTo>
                <a:lnTo>
                  <a:pt x="1032" y="768"/>
                </a:lnTo>
                <a:lnTo>
                  <a:pt x="1030" y="786"/>
                </a:lnTo>
                <a:lnTo>
                  <a:pt x="1027" y="803"/>
                </a:lnTo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32781" name="Freeform 17"/>
          <p:cNvSpPr>
            <a:spLocks/>
          </p:cNvSpPr>
          <p:nvPr/>
        </p:nvSpPr>
        <p:spPr bwMode="auto">
          <a:xfrm>
            <a:off x="5348288" y="2173288"/>
            <a:ext cx="2124075" cy="2185987"/>
          </a:xfrm>
          <a:custGeom>
            <a:avLst/>
            <a:gdLst>
              <a:gd name="T0" fmla="*/ 1353509751 w 1927"/>
              <a:gd name="T1" fmla="*/ 224870665 h 1972"/>
              <a:gd name="T2" fmla="*/ 1330424903 w 1927"/>
              <a:gd name="T3" fmla="*/ 133939370 h 1972"/>
              <a:gd name="T4" fmla="*/ 1239300212 w 1927"/>
              <a:gd name="T5" fmla="*/ 1229341 h 1972"/>
              <a:gd name="T6" fmla="*/ 1161539446 w 1927"/>
              <a:gd name="T7" fmla="*/ 106906071 h 1972"/>
              <a:gd name="T8" fmla="*/ 1038824788 w 1927"/>
              <a:gd name="T9" fmla="*/ 243303014 h 1972"/>
              <a:gd name="T10" fmla="*/ 919755339 w 1927"/>
              <a:gd name="T11" fmla="*/ 393216051 h 1972"/>
              <a:gd name="T12" fmla="*/ 838350467 w 1927"/>
              <a:gd name="T13" fmla="*/ 512409985 h 1972"/>
              <a:gd name="T14" fmla="*/ 823769635 w 1927"/>
              <a:gd name="T15" fmla="*/ 593510990 h 1972"/>
              <a:gd name="T16" fmla="*/ 635444538 w 1927"/>
              <a:gd name="T17" fmla="*/ 638976637 h 1972"/>
              <a:gd name="T18" fmla="*/ 464129677 w 1927"/>
              <a:gd name="T19" fmla="*/ 808550255 h 1972"/>
              <a:gd name="T20" fmla="*/ 279449788 w 1927"/>
              <a:gd name="T21" fmla="*/ 881050310 h 1972"/>
              <a:gd name="T22" fmla="*/ 156735131 w 1927"/>
              <a:gd name="T23" fmla="*/ 881050310 h 1972"/>
              <a:gd name="T24" fmla="*/ 9719820 w 1927"/>
              <a:gd name="T25" fmla="*/ 1119437070 h 1972"/>
              <a:gd name="T26" fmla="*/ 25515354 w 1927"/>
              <a:gd name="T27" fmla="*/ 1259519817 h 1972"/>
              <a:gd name="T28" fmla="*/ 44954995 w 1927"/>
              <a:gd name="T29" fmla="*/ 1304985464 h 1972"/>
              <a:gd name="T30" fmla="*/ 34020473 w 1927"/>
              <a:gd name="T31" fmla="*/ 1479475336 h 1972"/>
              <a:gd name="T32" fmla="*/ 138510192 w 1927"/>
              <a:gd name="T33" fmla="*/ 1537228847 h 1972"/>
              <a:gd name="T34" fmla="*/ 303750441 w 1927"/>
              <a:gd name="T35" fmla="*/ 1531085470 h 1972"/>
              <a:gd name="T36" fmla="*/ 500579554 w 1927"/>
              <a:gd name="T37" fmla="*/ 1640448005 h 1972"/>
              <a:gd name="T38" fmla="*/ 606285078 w 1927"/>
              <a:gd name="T39" fmla="*/ 1769472230 h 1972"/>
              <a:gd name="T40" fmla="*/ 676755427 w 1927"/>
              <a:gd name="T41" fmla="*/ 1912013658 h 1972"/>
              <a:gd name="T42" fmla="*/ 524880206 w 1927"/>
              <a:gd name="T43" fmla="*/ 2124595351 h 1972"/>
              <a:gd name="T44" fmla="*/ 698624471 w 1927"/>
              <a:gd name="T45" fmla="*/ 2147483647 h 1972"/>
              <a:gd name="T46" fmla="*/ 809189905 w 1927"/>
              <a:gd name="T47" fmla="*/ 2147483647 h 1972"/>
              <a:gd name="T48" fmla="*/ 981719467 w 1927"/>
              <a:gd name="T49" fmla="*/ 2147483647 h 1972"/>
              <a:gd name="T50" fmla="*/ 1179765487 w 1927"/>
              <a:gd name="T51" fmla="*/ 2147483647 h 1972"/>
              <a:gd name="T52" fmla="*/ 1308554757 w 1927"/>
              <a:gd name="T53" fmla="*/ 2147483647 h 1972"/>
              <a:gd name="T54" fmla="*/ 1317059875 w 1927"/>
              <a:gd name="T55" fmla="*/ 2118451974 h 1972"/>
              <a:gd name="T56" fmla="*/ 1363229571 w 1927"/>
              <a:gd name="T57" fmla="*/ 2087731762 h 1972"/>
              <a:gd name="T58" fmla="*/ 1433699921 w 1927"/>
              <a:gd name="T59" fmla="*/ 2058240891 h 1972"/>
              <a:gd name="T60" fmla="*/ 1518750000 w 1927"/>
              <a:gd name="T61" fmla="*/ 2060698463 h 1972"/>
              <a:gd name="T62" fmla="*/ 1682774444 w 1927"/>
              <a:gd name="T63" fmla="*/ 2017690388 h 1972"/>
              <a:gd name="T64" fmla="*/ 1769040328 w 1927"/>
              <a:gd name="T65" fmla="*/ 1939046956 h 1972"/>
              <a:gd name="T66" fmla="*/ 1821284637 w 1927"/>
              <a:gd name="T67" fmla="*/ 1990657090 h 1972"/>
              <a:gd name="T68" fmla="*/ 1931850070 w 1927"/>
              <a:gd name="T69" fmla="*/ 2015232816 h 1972"/>
              <a:gd name="T70" fmla="*/ 2048490116 w 1927"/>
              <a:gd name="T71" fmla="*/ 1955021733 h 1972"/>
              <a:gd name="T72" fmla="*/ 2042414402 w 1927"/>
              <a:gd name="T73" fmla="*/ 1743667163 h 1972"/>
              <a:gd name="T74" fmla="*/ 1934279474 w 1927"/>
              <a:gd name="T75" fmla="*/ 1724006582 h 1972"/>
              <a:gd name="T76" fmla="*/ 2026619970 w 1927"/>
              <a:gd name="T77" fmla="*/ 1594982357 h 1972"/>
              <a:gd name="T78" fmla="*/ 1987739587 w 1927"/>
              <a:gd name="T79" fmla="*/ 1367655229 h 1972"/>
              <a:gd name="T80" fmla="*/ 1899045402 w 1927"/>
              <a:gd name="T81" fmla="*/ 1379943092 h 1972"/>
              <a:gd name="T82" fmla="*/ 1799414490 w 1927"/>
              <a:gd name="T83" fmla="*/ 1371341033 h 1972"/>
              <a:gd name="T84" fmla="*/ 1809135413 w 1927"/>
              <a:gd name="T85" fmla="*/ 1291469369 h 1972"/>
              <a:gd name="T86" fmla="*/ 1916054536 w 1927"/>
              <a:gd name="T87" fmla="*/ 1234944091 h 1972"/>
              <a:gd name="T88" fmla="*/ 1801844996 w 1927"/>
              <a:gd name="T89" fmla="*/ 1222656228 h 1972"/>
              <a:gd name="T90" fmla="*/ 1891754986 w 1927"/>
              <a:gd name="T91" fmla="*/ 1199308734 h 1972"/>
              <a:gd name="T92" fmla="*/ 2009609734 w 1927"/>
              <a:gd name="T93" fmla="*/ 1309901718 h 1972"/>
              <a:gd name="T94" fmla="*/ 2105595437 w 1927"/>
              <a:gd name="T95" fmla="*/ 1316045095 h 1972"/>
              <a:gd name="T96" fmla="*/ 2147483647 w 1927"/>
              <a:gd name="T97" fmla="*/ 1344307735 h 1972"/>
              <a:gd name="T98" fmla="*/ 2147483647 w 1927"/>
              <a:gd name="T99" fmla="*/ 1167360290 h 1972"/>
              <a:gd name="T100" fmla="*/ 2147483647 w 1927"/>
              <a:gd name="T101" fmla="*/ 1116979497 h 1972"/>
              <a:gd name="T102" fmla="*/ 2108024841 w 1927"/>
              <a:gd name="T103" fmla="*/ 1120666410 h 1972"/>
              <a:gd name="T104" fmla="*/ 2038770296 w 1927"/>
              <a:gd name="T105" fmla="*/ 984269468 h 1972"/>
              <a:gd name="T106" fmla="*/ 2093445111 w 1927"/>
              <a:gd name="T107" fmla="*/ 711475583 h 1972"/>
              <a:gd name="T108" fmla="*/ 2033910386 w 1927"/>
              <a:gd name="T109" fmla="*/ 538215052 h 1972"/>
              <a:gd name="T110" fmla="*/ 1981664975 w 1927"/>
              <a:gd name="T111" fmla="*/ 505037267 h 1972"/>
              <a:gd name="T112" fmla="*/ 1844369485 w 1927"/>
              <a:gd name="T113" fmla="*/ 511180645 h 1972"/>
              <a:gd name="T114" fmla="*/ 1725300035 w 1927"/>
              <a:gd name="T115" fmla="*/ 450969562 h 1972"/>
              <a:gd name="T116" fmla="*/ 1665765310 w 1927"/>
              <a:gd name="T117" fmla="*/ 342835258 h 1972"/>
              <a:gd name="T118" fmla="*/ 1594080259 w 1927"/>
              <a:gd name="T119" fmla="*/ 312115046 h 1972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1927" h="1972">
                <a:moveTo>
                  <a:pt x="1314" y="227"/>
                </a:moveTo>
                <a:lnTo>
                  <a:pt x="1304" y="227"/>
                </a:lnTo>
                <a:lnTo>
                  <a:pt x="1294" y="225"/>
                </a:lnTo>
                <a:lnTo>
                  <a:pt x="1284" y="222"/>
                </a:lnTo>
                <a:lnTo>
                  <a:pt x="1275" y="222"/>
                </a:lnTo>
                <a:lnTo>
                  <a:pt x="1265" y="224"/>
                </a:lnTo>
                <a:lnTo>
                  <a:pt x="1257" y="225"/>
                </a:lnTo>
                <a:lnTo>
                  <a:pt x="1243" y="229"/>
                </a:lnTo>
                <a:lnTo>
                  <a:pt x="1230" y="229"/>
                </a:lnTo>
                <a:lnTo>
                  <a:pt x="1217" y="225"/>
                </a:lnTo>
                <a:lnTo>
                  <a:pt x="1205" y="219"/>
                </a:lnTo>
                <a:lnTo>
                  <a:pt x="1186" y="212"/>
                </a:lnTo>
                <a:lnTo>
                  <a:pt x="1169" y="205"/>
                </a:lnTo>
                <a:lnTo>
                  <a:pt x="1151" y="198"/>
                </a:lnTo>
                <a:lnTo>
                  <a:pt x="1134" y="192"/>
                </a:lnTo>
                <a:lnTo>
                  <a:pt x="1122" y="188"/>
                </a:lnTo>
                <a:lnTo>
                  <a:pt x="1114" y="183"/>
                </a:lnTo>
                <a:lnTo>
                  <a:pt x="1109" y="180"/>
                </a:lnTo>
                <a:lnTo>
                  <a:pt x="1107" y="175"/>
                </a:lnTo>
                <a:lnTo>
                  <a:pt x="1107" y="170"/>
                </a:lnTo>
                <a:lnTo>
                  <a:pt x="1110" y="163"/>
                </a:lnTo>
                <a:lnTo>
                  <a:pt x="1116" y="158"/>
                </a:lnTo>
                <a:lnTo>
                  <a:pt x="1122" y="151"/>
                </a:lnTo>
                <a:lnTo>
                  <a:pt x="1137" y="139"/>
                </a:lnTo>
                <a:lnTo>
                  <a:pt x="1144" y="129"/>
                </a:lnTo>
                <a:lnTo>
                  <a:pt x="1144" y="126"/>
                </a:lnTo>
                <a:lnTo>
                  <a:pt x="1141" y="124"/>
                </a:lnTo>
                <a:lnTo>
                  <a:pt x="1134" y="123"/>
                </a:lnTo>
                <a:lnTo>
                  <a:pt x="1122" y="123"/>
                </a:lnTo>
                <a:lnTo>
                  <a:pt x="1114" y="123"/>
                </a:lnTo>
                <a:lnTo>
                  <a:pt x="1107" y="121"/>
                </a:lnTo>
                <a:lnTo>
                  <a:pt x="1102" y="119"/>
                </a:lnTo>
                <a:lnTo>
                  <a:pt x="1097" y="114"/>
                </a:lnTo>
                <a:lnTo>
                  <a:pt x="1095" y="109"/>
                </a:lnTo>
                <a:lnTo>
                  <a:pt x="1094" y="102"/>
                </a:lnTo>
                <a:lnTo>
                  <a:pt x="1095" y="92"/>
                </a:lnTo>
                <a:lnTo>
                  <a:pt x="1099" y="82"/>
                </a:lnTo>
                <a:lnTo>
                  <a:pt x="1102" y="69"/>
                </a:lnTo>
                <a:lnTo>
                  <a:pt x="1104" y="55"/>
                </a:lnTo>
                <a:lnTo>
                  <a:pt x="1102" y="45"/>
                </a:lnTo>
                <a:lnTo>
                  <a:pt x="1100" y="38"/>
                </a:lnTo>
                <a:lnTo>
                  <a:pt x="1095" y="32"/>
                </a:lnTo>
                <a:lnTo>
                  <a:pt x="1090" y="27"/>
                </a:lnTo>
                <a:lnTo>
                  <a:pt x="1082" y="23"/>
                </a:lnTo>
                <a:lnTo>
                  <a:pt x="1072" y="23"/>
                </a:lnTo>
                <a:lnTo>
                  <a:pt x="1058" y="20"/>
                </a:lnTo>
                <a:lnTo>
                  <a:pt x="1045" y="15"/>
                </a:lnTo>
                <a:lnTo>
                  <a:pt x="1031" y="8"/>
                </a:lnTo>
                <a:lnTo>
                  <a:pt x="1020" y="0"/>
                </a:lnTo>
                <a:lnTo>
                  <a:pt x="1020" y="1"/>
                </a:lnTo>
                <a:lnTo>
                  <a:pt x="1015" y="3"/>
                </a:lnTo>
                <a:lnTo>
                  <a:pt x="1011" y="5"/>
                </a:lnTo>
                <a:lnTo>
                  <a:pt x="1010" y="15"/>
                </a:lnTo>
                <a:lnTo>
                  <a:pt x="1008" y="25"/>
                </a:lnTo>
                <a:lnTo>
                  <a:pt x="1004" y="35"/>
                </a:lnTo>
                <a:lnTo>
                  <a:pt x="1003" y="45"/>
                </a:lnTo>
                <a:lnTo>
                  <a:pt x="999" y="54"/>
                </a:lnTo>
                <a:lnTo>
                  <a:pt x="996" y="59"/>
                </a:lnTo>
                <a:lnTo>
                  <a:pt x="991" y="64"/>
                </a:lnTo>
                <a:lnTo>
                  <a:pt x="986" y="67"/>
                </a:lnTo>
                <a:lnTo>
                  <a:pt x="981" y="69"/>
                </a:lnTo>
                <a:lnTo>
                  <a:pt x="976" y="69"/>
                </a:lnTo>
                <a:lnTo>
                  <a:pt x="969" y="67"/>
                </a:lnTo>
                <a:lnTo>
                  <a:pt x="964" y="69"/>
                </a:lnTo>
                <a:lnTo>
                  <a:pt x="961" y="74"/>
                </a:lnTo>
                <a:lnTo>
                  <a:pt x="957" y="79"/>
                </a:lnTo>
                <a:lnTo>
                  <a:pt x="956" y="87"/>
                </a:lnTo>
                <a:lnTo>
                  <a:pt x="956" y="97"/>
                </a:lnTo>
                <a:lnTo>
                  <a:pt x="956" y="111"/>
                </a:lnTo>
                <a:lnTo>
                  <a:pt x="959" y="126"/>
                </a:lnTo>
                <a:lnTo>
                  <a:pt x="962" y="133"/>
                </a:lnTo>
                <a:lnTo>
                  <a:pt x="964" y="139"/>
                </a:lnTo>
                <a:lnTo>
                  <a:pt x="964" y="145"/>
                </a:lnTo>
                <a:lnTo>
                  <a:pt x="962" y="150"/>
                </a:lnTo>
                <a:lnTo>
                  <a:pt x="959" y="155"/>
                </a:lnTo>
                <a:lnTo>
                  <a:pt x="954" y="160"/>
                </a:lnTo>
                <a:lnTo>
                  <a:pt x="947" y="165"/>
                </a:lnTo>
                <a:lnTo>
                  <a:pt x="939" y="168"/>
                </a:lnTo>
                <a:lnTo>
                  <a:pt x="919" y="171"/>
                </a:lnTo>
                <a:lnTo>
                  <a:pt x="900" y="178"/>
                </a:lnTo>
                <a:lnTo>
                  <a:pt x="883" y="185"/>
                </a:lnTo>
                <a:lnTo>
                  <a:pt x="870" y="195"/>
                </a:lnTo>
                <a:lnTo>
                  <a:pt x="861" y="198"/>
                </a:lnTo>
                <a:lnTo>
                  <a:pt x="855" y="198"/>
                </a:lnTo>
                <a:lnTo>
                  <a:pt x="848" y="195"/>
                </a:lnTo>
                <a:lnTo>
                  <a:pt x="843" y="188"/>
                </a:lnTo>
                <a:lnTo>
                  <a:pt x="839" y="183"/>
                </a:lnTo>
                <a:lnTo>
                  <a:pt x="838" y="180"/>
                </a:lnTo>
                <a:lnTo>
                  <a:pt x="834" y="180"/>
                </a:lnTo>
                <a:lnTo>
                  <a:pt x="829" y="182"/>
                </a:lnTo>
                <a:lnTo>
                  <a:pt x="826" y="185"/>
                </a:lnTo>
                <a:lnTo>
                  <a:pt x="821" y="190"/>
                </a:lnTo>
                <a:lnTo>
                  <a:pt x="814" y="198"/>
                </a:lnTo>
                <a:lnTo>
                  <a:pt x="808" y="207"/>
                </a:lnTo>
                <a:lnTo>
                  <a:pt x="809" y="227"/>
                </a:lnTo>
                <a:lnTo>
                  <a:pt x="811" y="249"/>
                </a:lnTo>
                <a:lnTo>
                  <a:pt x="796" y="271"/>
                </a:lnTo>
                <a:lnTo>
                  <a:pt x="781" y="294"/>
                </a:lnTo>
                <a:lnTo>
                  <a:pt x="774" y="305"/>
                </a:lnTo>
                <a:lnTo>
                  <a:pt x="765" y="313"/>
                </a:lnTo>
                <a:lnTo>
                  <a:pt x="757" y="320"/>
                </a:lnTo>
                <a:lnTo>
                  <a:pt x="747" y="325"/>
                </a:lnTo>
                <a:lnTo>
                  <a:pt x="727" y="338"/>
                </a:lnTo>
                <a:lnTo>
                  <a:pt x="713" y="348"/>
                </a:lnTo>
                <a:lnTo>
                  <a:pt x="727" y="362"/>
                </a:lnTo>
                <a:lnTo>
                  <a:pt x="733" y="374"/>
                </a:lnTo>
                <a:lnTo>
                  <a:pt x="735" y="379"/>
                </a:lnTo>
                <a:lnTo>
                  <a:pt x="737" y="384"/>
                </a:lnTo>
                <a:lnTo>
                  <a:pt x="735" y="389"/>
                </a:lnTo>
                <a:lnTo>
                  <a:pt x="733" y="392"/>
                </a:lnTo>
                <a:lnTo>
                  <a:pt x="727" y="399"/>
                </a:lnTo>
                <a:lnTo>
                  <a:pt x="718" y="406"/>
                </a:lnTo>
                <a:lnTo>
                  <a:pt x="705" y="409"/>
                </a:lnTo>
                <a:lnTo>
                  <a:pt x="691" y="414"/>
                </a:lnTo>
                <a:lnTo>
                  <a:pt x="691" y="412"/>
                </a:lnTo>
                <a:lnTo>
                  <a:pt x="690" y="412"/>
                </a:lnTo>
                <a:lnTo>
                  <a:pt x="690" y="414"/>
                </a:lnTo>
                <a:lnTo>
                  <a:pt x="690" y="417"/>
                </a:lnTo>
                <a:lnTo>
                  <a:pt x="675" y="427"/>
                </a:lnTo>
                <a:lnTo>
                  <a:pt x="661" y="434"/>
                </a:lnTo>
                <a:lnTo>
                  <a:pt x="648" y="438"/>
                </a:lnTo>
                <a:lnTo>
                  <a:pt x="634" y="439"/>
                </a:lnTo>
                <a:lnTo>
                  <a:pt x="629" y="444"/>
                </a:lnTo>
                <a:lnTo>
                  <a:pt x="626" y="449"/>
                </a:lnTo>
                <a:lnTo>
                  <a:pt x="624" y="454"/>
                </a:lnTo>
                <a:lnTo>
                  <a:pt x="624" y="458"/>
                </a:lnTo>
                <a:lnTo>
                  <a:pt x="626" y="461"/>
                </a:lnTo>
                <a:lnTo>
                  <a:pt x="629" y="465"/>
                </a:lnTo>
                <a:lnTo>
                  <a:pt x="636" y="468"/>
                </a:lnTo>
                <a:lnTo>
                  <a:pt x="643" y="470"/>
                </a:lnTo>
                <a:lnTo>
                  <a:pt x="653" y="473"/>
                </a:lnTo>
                <a:lnTo>
                  <a:pt x="663" y="476"/>
                </a:lnTo>
                <a:lnTo>
                  <a:pt x="671" y="478"/>
                </a:lnTo>
                <a:lnTo>
                  <a:pt x="676" y="480"/>
                </a:lnTo>
                <a:lnTo>
                  <a:pt x="678" y="483"/>
                </a:lnTo>
                <a:lnTo>
                  <a:pt x="678" y="485"/>
                </a:lnTo>
                <a:lnTo>
                  <a:pt x="676" y="486"/>
                </a:lnTo>
                <a:lnTo>
                  <a:pt x="671" y="490"/>
                </a:lnTo>
                <a:lnTo>
                  <a:pt x="663" y="493"/>
                </a:lnTo>
                <a:lnTo>
                  <a:pt x="653" y="495"/>
                </a:lnTo>
                <a:lnTo>
                  <a:pt x="643" y="495"/>
                </a:lnTo>
                <a:lnTo>
                  <a:pt x="631" y="495"/>
                </a:lnTo>
                <a:lnTo>
                  <a:pt x="621" y="497"/>
                </a:lnTo>
                <a:lnTo>
                  <a:pt x="609" y="502"/>
                </a:lnTo>
                <a:lnTo>
                  <a:pt x="599" y="505"/>
                </a:lnTo>
                <a:lnTo>
                  <a:pt x="589" y="508"/>
                </a:lnTo>
                <a:lnTo>
                  <a:pt x="568" y="510"/>
                </a:lnTo>
                <a:lnTo>
                  <a:pt x="548" y="512"/>
                </a:lnTo>
                <a:lnTo>
                  <a:pt x="542" y="512"/>
                </a:lnTo>
                <a:lnTo>
                  <a:pt x="536" y="513"/>
                </a:lnTo>
                <a:lnTo>
                  <a:pt x="530" y="515"/>
                </a:lnTo>
                <a:lnTo>
                  <a:pt x="523" y="520"/>
                </a:lnTo>
                <a:lnTo>
                  <a:pt x="506" y="532"/>
                </a:lnTo>
                <a:lnTo>
                  <a:pt x="488" y="544"/>
                </a:lnTo>
                <a:lnTo>
                  <a:pt x="469" y="555"/>
                </a:lnTo>
                <a:lnTo>
                  <a:pt x="452" y="566"/>
                </a:lnTo>
                <a:lnTo>
                  <a:pt x="456" y="577"/>
                </a:lnTo>
                <a:lnTo>
                  <a:pt x="457" y="587"/>
                </a:lnTo>
                <a:lnTo>
                  <a:pt x="457" y="596"/>
                </a:lnTo>
                <a:lnTo>
                  <a:pt x="456" y="604"/>
                </a:lnTo>
                <a:lnTo>
                  <a:pt x="454" y="611"/>
                </a:lnTo>
                <a:lnTo>
                  <a:pt x="451" y="618"/>
                </a:lnTo>
                <a:lnTo>
                  <a:pt x="447" y="623"/>
                </a:lnTo>
                <a:lnTo>
                  <a:pt x="442" y="628"/>
                </a:lnTo>
                <a:lnTo>
                  <a:pt x="432" y="636"/>
                </a:lnTo>
                <a:lnTo>
                  <a:pt x="419" y="645"/>
                </a:lnTo>
                <a:lnTo>
                  <a:pt x="405" y="650"/>
                </a:lnTo>
                <a:lnTo>
                  <a:pt x="390" y="656"/>
                </a:lnTo>
                <a:lnTo>
                  <a:pt x="382" y="658"/>
                </a:lnTo>
                <a:lnTo>
                  <a:pt x="373" y="662"/>
                </a:lnTo>
                <a:lnTo>
                  <a:pt x="366" y="667"/>
                </a:lnTo>
                <a:lnTo>
                  <a:pt x="358" y="672"/>
                </a:lnTo>
                <a:lnTo>
                  <a:pt x="346" y="682"/>
                </a:lnTo>
                <a:lnTo>
                  <a:pt x="335" y="695"/>
                </a:lnTo>
                <a:lnTo>
                  <a:pt x="328" y="700"/>
                </a:lnTo>
                <a:lnTo>
                  <a:pt x="321" y="705"/>
                </a:lnTo>
                <a:lnTo>
                  <a:pt x="313" y="709"/>
                </a:lnTo>
                <a:lnTo>
                  <a:pt x="306" y="710"/>
                </a:lnTo>
                <a:lnTo>
                  <a:pt x="289" y="710"/>
                </a:lnTo>
                <a:lnTo>
                  <a:pt x="274" y="709"/>
                </a:lnTo>
                <a:lnTo>
                  <a:pt x="262" y="707"/>
                </a:lnTo>
                <a:lnTo>
                  <a:pt x="254" y="705"/>
                </a:lnTo>
                <a:lnTo>
                  <a:pt x="245" y="707"/>
                </a:lnTo>
                <a:lnTo>
                  <a:pt x="240" y="709"/>
                </a:lnTo>
                <a:lnTo>
                  <a:pt x="234" y="712"/>
                </a:lnTo>
                <a:lnTo>
                  <a:pt x="230" y="717"/>
                </a:lnTo>
                <a:lnTo>
                  <a:pt x="225" y="722"/>
                </a:lnTo>
                <a:lnTo>
                  <a:pt x="222" y="729"/>
                </a:lnTo>
                <a:lnTo>
                  <a:pt x="217" y="739"/>
                </a:lnTo>
                <a:lnTo>
                  <a:pt x="212" y="744"/>
                </a:lnTo>
                <a:lnTo>
                  <a:pt x="205" y="747"/>
                </a:lnTo>
                <a:lnTo>
                  <a:pt x="200" y="747"/>
                </a:lnTo>
                <a:lnTo>
                  <a:pt x="195" y="746"/>
                </a:lnTo>
                <a:lnTo>
                  <a:pt x="188" y="741"/>
                </a:lnTo>
                <a:lnTo>
                  <a:pt x="183" y="736"/>
                </a:lnTo>
                <a:lnTo>
                  <a:pt x="178" y="729"/>
                </a:lnTo>
                <a:lnTo>
                  <a:pt x="164" y="719"/>
                </a:lnTo>
                <a:lnTo>
                  <a:pt x="154" y="712"/>
                </a:lnTo>
                <a:lnTo>
                  <a:pt x="149" y="710"/>
                </a:lnTo>
                <a:lnTo>
                  <a:pt x="144" y="710"/>
                </a:lnTo>
                <a:lnTo>
                  <a:pt x="141" y="710"/>
                </a:lnTo>
                <a:lnTo>
                  <a:pt x="138" y="712"/>
                </a:lnTo>
                <a:lnTo>
                  <a:pt x="129" y="717"/>
                </a:lnTo>
                <a:lnTo>
                  <a:pt x="124" y="726"/>
                </a:lnTo>
                <a:lnTo>
                  <a:pt x="119" y="736"/>
                </a:lnTo>
                <a:lnTo>
                  <a:pt x="114" y="749"/>
                </a:lnTo>
                <a:lnTo>
                  <a:pt x="106" y="776"/>
                </a:lnTo>
                <a:lnTo>
                  <a:pt x="95" y="803"/>
                </a:lnTo>
                <a:lnTo>
                  <a:pt x="87" y="830"/>
                </a:lnTo>
                <a:lnTo>
                  <a:pt x="77" y="857"/>
                </a:lnTo>
                <a:lnTo>
                  <a:pt x="72" y="870"/>
                </a:lnTo>
                <a:lnTo>
                  <a:pt x="65" y="882"/>
                </a:lnTo>
                <a:lnTo>
                  <a:pt x="60" y="886"/>
                </a:lnTo>
                <a:lnTo>
                  <a:pt x="55" y="889"/>
                </a:lnTo>
                <a:lnTo>
                  <a:pt x="48" y="891"/>
                </a:lnTo>
                <a:lnTo>
                  <a:pt x="42" y="892"/>
                </a:lnTo>
                <a:lnTo>
                  <a:pt x="26" y="897"/>
                </a:lnTo>
                <a:lnTo>
                  <a:pt x="16" y="902"/>
                </a:lnTo>
                <a:lnTo>
                  <a:pt x="11" y="907"/>
                </a:lnTo>
                <a:lnTo>
                  <a:pt x="8" y="911"/>
                </a:lnTo>
                <a:lnTo>
                  <a:pt x="8" y="914"/>
                </a:lnTo>
                <a:lnTo>
                  <a:pt x="11" y="918"/>
                </a:lnTo>
                <a:lnTo>
                  <a:pt x="18" y="919"/>
                </a:lnTo>
                <a:lnTo>
                  <a:pt x="30" y="921"/>
                </a:lnTo>
                <a:lnTo>
                  <a:pt x="38" y="924"/>
                </a:lnTo>
                <a:lnTo>
                  <a:pt x="47" y="929"/>
                </a:lnTo>
                <a:lnTo>
                  <a:pt x="53" y="934"/>
                </a:lnTo>
                <a:lnTo>
                  <a:pt x="57" y="939"/>
                </a:lnTo>
                <a:lnTo>
                  <a:pt x="58" y="948"/>
                </a:lnTo>
                <a:lnTo>
                  <a:pt x="58" y="956"/>
                </a:lnTo>
                <a:lnTo>
                  <a:pt x="55" y="968"/>
                </a:lnTo>
                <a:lnTo>
                  <a:pt x="50" y="980"/>
                </a:lnTo>
                <a:lnTo>
                  <a:pt x="43" y="997"/>
                </a:lnTo>
                <a:lnTo>
                  <a:pt x="35" y="1010"/>
                </a:lnTo>
                <a:lnTo>
                  <a:pt x="32" y="1015"/>
                </a:lnTo>
                <a:lnTo>
                  <a:pt x="26" y="1020"/>
                </a:lnTo>
                <a:lnTo>
                  <a:pt x="21" y="1025"/>
                </a:lnTo>
                <a:lnTo>
                  <a:pt x="16" y="1027"/>
                </a:lnTo>
                <a:lnTo>
                  <a:pt x="11" y="1029"/>
                </a:lnTo>
                <a:lnTo>
                  <a:pt x="6" y="1034"/>
                </a:lnTo>
                <a:lnTo>
                  <a:pt x="5" y="1040"/>
                </a:lnTo>
                <a:lnTo>
                  <a:pt x="3" y="1051"/>
                </a:lnTo>
                <a:lnTo>
                  <a:pt x="0" y="1056"/>
                </a:lnTo>
                <a:lnTo>
                  <a:pt x="0" y="1061"/>
                </a:lnTo>
                <a:lnTo>
                  <a:pt x="0" y="1064"/>
                </a:lnTo>
                <a:lnTo>
                  <a:pt x="0" y="1067"/>
                </a:lnTo>
                <a:lnTo>
                  <a:pt x="3" y="1067"/>
                </a:lnTo>
                <a:lnTo>
                  <a:pt x="6" y="1067"/>
                </a:lnTo>
                <a:lnTo>
                  <a:pt x="10" y="1066"/>
                </a:lnTo>
                <a:lnTo>
                  <a:pt x="16" y="1064"/>
                </a:lnTo>
                <a:lnTo>
                  <a:pt x="23" y="1061"/>
                </a:lnTo>
                <a:lnTo>
                  <a:pt x="28" y="1059"/>
                </a:lnTo>
                <a:lnTo>
                  <a:pt x="33" y="1059"/>
                </a:lnTo>
                <a:lnTo>
                  <a:pt x="37" y="1062"/>
                </a:lnTo>
                <a:lnTo>
                  <a:pt x="40" y="1067"/>
                </a:lnTo>
                <a:lnTo>
                  <a:pt x="40" y="1072"/>
                </a:lnTo>
                <a:lnTo>
                  <a:pt x="38" y="1079"/>
                </a:lnTo>
                <a:lnTo>
                  <a:pt x="37" y="1086"/>
                </a:lnTo>
                <a:lnTo>
                  <a:pt x="26" y="1103"/>
                </a:lnTo>
                <a:lnTo>
                  <a:pt x="18" y="1120"/>
                </a:lnTo>
                <a:lnTo>
                  <a:pt x="10" y="1135"/>
                </a:lnTo>
                <a:lnTo>
                  <a:pt x="0" y="1148"/>
                </a:lnTo>
                <a:lnTo>
                  <a:pt x="5" y="1165"/>
                </a:lnTo>
                <a:lnTo>
                  <a:pt x="6" y="1173"/>
                </a:lnTo>
                <a:lnTo>
                  <a:pt x="6" y="1184"/>
                </a:lnTo>
                <a:lnTo>
                  <a:pt x="5" y="1199"/>
                </a:lnTo>
                <a:lnTo>
                  <a:pt x="6" y="1202"/>
                </a:lnTo>
                <a:lnTo>
                  <a:pt x="11" y="1204"/>
                </a:lnTo>
                <a:lnTo>
                  <a:pt x="16" y="1205"/>
                </a:lnTo>
                <a:lnTo>
                  <a:pt x="23" y="1204"/>
                </a:lnTo>
                <a:lnTo>
                  <a:pt x="28" y="1204"/>
                </a:lnTo>
                <a:lnTo>
                  <a:pt x="33" y="1204"/>
                </a:lnTo>
                <a:lnTo>
                  <a:pt x="37" y="1205"/>
                </a:lnTo>
                <a:lnTo>
                  <a:pt x="42" y="1209"/>
                </a:lnTo>
                <a:lnTo>
                  <a:pt x="45" y="1214"/>
                </a:lnTo>
                <a:lnTo>
                  <a:pt x="48" y="1221"/>
                </a:lnTo>
                <a:lnTo>
                  <a:pt x="52" y="1231"/>
                </a:lnTo>
                <a:lnTo>
                  <a:pt x="55" y="1246"/>
                </a:lnTo>
                <a:lnTo>
                  <a:pt x="55" y="1253"/>
                </a:lnTo>
                <a:lnTo>
                  <a:pt x="58" y="1259"/>
                </a:lnTo>
                <a:lnTo>
                  <a:pt x="62" y="1263"/>
                </a:lnTo>
                <a:lnTo>
                  <a:pt x="67" y="1266"/>
                </a:lnTo>
                <a:lnTo>
                  <a:pt x="74" y="1266"/>
                </a:lnTo>
                <a:lnTo>
                  <a:pt x="82" y="1266"/>
                </a:lnTo>
                <a:lnTo>
                  <a:pt x="90" y="1263"/>
                </a:lnTo>
                <a:lnTo>
                  <a:pt x="101" y="1258"/>
                </a:lnTo>
                <a:lnTo>
                  <a:pt x="107" y="1254"/>
                </a:lnTo>
                <a:lnTo>
                  <a:pt x="114" y="1251"/>
                </a:lnTo>
                <a:lnTo>
                  <a:pt x="121" y="1251"/>
                </a:lnTo>
                <a:lnTo>
                  <a:pt x="127" y="1251"/>
                </a:lnTo>
                <a:lnTo>
                  <a:pt x="136" y="1251"/>
                </a:lnTo>
                <a:lnTo>
                  <a:pt x="144" y="1254"/>
                </a:lnTo>
                <a:lnTo>
                  <a:pt x="153" y="1259"/>
                </a:lnTo>
                <a:lnTo>
                  <a:pt x="163" y="1266"/>
                </a:lnTo>
                <a:lnTo>
                  <a:pt x="173" y="1269"/>
                </a:lnTo>
                <a:lnTo>
                  <a:pt x="183" y="1273"/>
                </a:lnTo>
                <a:lnTo>
                  <a:pt x="191" y="1273"/>
                </a:lnTo>
                <a:lnTo>
                  <a:pt x="200" y="1273"/>
                </a:lnTo>
                <a:lnTo>
                  <a:pt x="208" y="1271"/>
                </a:lnTo>
                <a:lnTo>
                  <a:pt x="215" y="1269"/>
                </a:lnTo>
                <a:lnTo>
                  <a:pt x="222" y="1266"/>
                </a:lnTo>
                <a:lnTo>
                  <a:pt x="228" y="1263"/>
                </a:lnTo>
                <a:lnTo>
                  <a:pt x="239" y="1251"/>
                </a:lnTo>
                <a:lnTo>
                  <a:pt x="247" y="1246"/>
                </a:lnTo>
                <a:lnTo>
                  <a:pt x="250" y="1246"/>
                </a:lnTo>
                <a:lnTo>
                  <a:pt x="254" y="1249"/>
                </a:lnTo>
                <a:lnTo>
                  <a:pt x="257" y="1254"/>
                </a:lnTo>
                <a:lnTo>
                  <a:pt x="260" y="1263"/>
                </a:lnTo>
                <a:lnTo>
                  <a:pt x="271" y="1273"/>
                </a:lnTo>
                <a:lnTo>
                  <a:pt x="279" y="1283"/>
                </a:lnTo>
                <a:lnTo>
                  <a:pt x="291" y="1298"/>
                </a:lnTo>
                <a:lnTo>
                  <a:pt x="303" y="1313"/>
                </a:lnTo>
                <a:lnTo>
                  <a:pt x="311" y="1322"/>
                </a:lnTo>
                <a:lnTo>
                  <a:pt x="321" y="1332"/>
                </a:lnTo>
                <a:lnTo>
                  <a:pt x="331" y="1339"/>
                </a:lnTo>
                <a:lnTo>
                  <a:pt x="341" y="1344"/>
                </a:lnTo>
                <a:lnTo>
                  <a:pt x="355" y="1347"/>
                </a:lnTo>
                <a:lnTo>
                  <a:pt x="368" y="1349"/>
                </a:lnTo>
                <a:lnTo>
                  <a:pt x="383" y="1347"/>
                </a:lnTo>
                <a:lnTo>
                  <a:pt x="400" y="1342"/>
                </a:lnTo>
                <a:lnTo>
                  <a:pt x="407" y="1339"/>
                </a:lnTo>
                <a:lnTo>
                  <a:pt x="412" y="1335"/>
                </a:lnTo>
                <a:lnTo>
                  <a:pt x="417" y="1335"/>
                </a:lnTo>
                <a:lnTo>
                  <a:pt x="422" y="1337"/>
                </a:lnTo>
                <a:lnTo>
                  <a:pt x="427" y="1340"/>
                </a:lnTo>
                <a:lnTo>
                  <a:pt x="432" y="1345"/>
                </a:lnTo>
                <a:lnTo>
                  <a:pt x="437" y="1350"/>
                </a:lnTo>
                <a:lnTo>
                  <a:pt x="442" y="1359"/>
                </a:lnTo>
                <a:lnTo>
                  <a:pt x="454" y="1365"/>
                </a:lnTo>
                <a:lnTo>
                  <a:pt x="464" y="1372"/>
                </a:lnTo>
                <a:lnTo>
                  <a:pt x="467" y="1377"/>
                </a:lnTo>
                <a:lnTo>
                  <a:pt x="471" y="1382"/>
                </a:lnTo>
                <a:lnTo>
                  <a:pt x="471" y="1387"/>
                </a:lnTo>
                <a:lnTo>
                  <a:pt x="471" y="1396"/>
                </a:lnTo>
                <a:lnTo>
                  <a:pt x="473" y="1408"/>
                </a:lnTo>
                <a:lnTo>
                  <a:pt x="476" y="1421"/>
                </a:lnTo>
                <a:lnTo>
                  <a:pt x="479" y="1426"/>
                </a:lnTo>
                <a:lnTo>
                  <a:pt x="488" y="1433"/>
                </a:lnTo>
                <a:lnTo>
                  <a:pt x="499" y="1440"/>
                </a:lnTo>
                <a:lnTo>
                  <a:pt x="518" y="1446"/>
                </a:lnTo>
                <a:lnTo>
                  <a:pt x="530" y="1448"/>
                </a:lnTo>
                <a:lnTo>
                  <a:pt x="540" y="1451"/>
                </a:lnTo>
                <a:lnTo>
                  <a:pt x="545" y="1453"/>
                </a:lnTo>
                <a:lnTo>
                  <a:pt x="547" y="1455"/>
                </a:lnTo>
                <a:lnTo>
                  <a:pt x="550" y="1458"/>
                </a:lnTo>
                <a:lnTo>
                  <a:pt x="552" y="1463"/>
                </a:lnTo>
                <a:lnTo>
                  <a:pt x="563" y="1475"/>
                </a:lnTo>
                <a:lnTo>
                  <a:pt x="570" y="1483"/>
                </a:lnTo>
                <a:lnTo>
                  <a:pt x="574" y="1490"/>
                </a:lnTo>
                <a:lnTo>
                  <a:pt x="575" y="1495"/>
                </a:lnTo>
                <a:lnTo>
                  <a:pt x="577" y="1514"/>
                </a:lnTo>
                <a:lnTo>
                  <a:pt x="579" y="1532"/>
                </a:lnTo>
                <a:lnTo>
                  <a:pt x="575" y="1541"/>
                </a:lnTo>
                <a:lnTo>
                  <a:pt x="572" y="1547"/>
                </a:lnTo>
                <a:lnTo>
                  <a:pt x="565" y="1552"/>
                </a:lnTo>
                <a:lnTo>
                  <a:pt x="557" y="1556"/>
                </a:lnTo>
                <a:lnTo>
                  <a:pt x="548" y="1559"/>
                </a:lnTo>
                <a:lnTo>
                  <a:pt x="540" y="1564"/>
                </a:lnTo>
                <a:lnTo>
                  <a:pt x="533" y="1571"/>
                </a:lnTo>
                <a:lnTo>
                  <a:pt x="525" y="1578"/>
                </a:lnTo>
                <a:lnTo>
                  <a:pt x="511" y="1596"/>
                </a:lnTo>
                <a:lnTo>
                  <a:pt x="499" y="1615"/>
                </a:lnTo>
                <a:lnTo>
                  <a:pt x="484" y="1635"/>
                </a:lnTo>
                <a:lnTo>
                  <a:pt x="469" y="1653"/>
                </a:lnTo>
                <a:lnTo>
                  <a:pt x="454" y="1674"/>
                </a:lnTo>
                <a:lnTo>
                  <a:pt x="441" y="1692"/>
                </a:lnTo>
                <a:lnTo>
                  <a:pt x="434" y="1697"/>
                </a:lnTo>
                <a:lnTo>
                  <a:pt x="429" y="1702"/>
                </a:lnTo>
                <a:lnTo>
                  <a:pt x="425" y="1707"/>
                </a:lnTo>
                <a:lnTo>
                  <a:pt x="424" y="1712"/>
                </a:lnTo>
                <a:lnTo>
                  <a:pt x="425" y="1717"/>
                </a:lnTo>
                <a:lnTo>
                  <a:pt x="427" y="1724"/>
                </a:lnTo>
                <a:lnTo>
                  <a:pt x="432" y="1729"/>
                </a:lnTo>
                <a:lnTo>
                  <a:pt x="442" y="1734"/>
                </a:lnTo>
                <a:lnTo>
                  <a:pt x="451" y="1744"/>
                </a:lnTo>
                <a:lnTo>
                  <a:pt x="462" y="1753"/>
                </a:lnTo>
                <a:lnTo>
                  <a:pt x="469" y="1756"/>
                </a:lnTo>
                <a:lnTo>
                  <a:pt x="478" y="1760"/>
                </a:lnTo>
                <a:lnTo>
                  <a:pt x="488" y="1763"/>
                </a:lnTo>
                <a:lnTo>
                  <a:pt x="498" y="1765"/>
                </a:lnTo>
                <a:lnTo>
                  <a:pt x="510" y="1761"/>
                </a:lnTo>
                <a:lnTo>
                  <a:pt x="518" y="1761"/>
                </a:lnTo>
                <a:lnTo>
                  <a:pt x="526" y="1761"/>
                </a:lnTo>
                <a:lnTo>
                  <a:pt x="535" y="1763"/>
                </a:lnTo>
                <a:lnTo>
                  <a:pt x="542" y="1766"/>
                </a:lnTo>
                <a:lnTo>
                  <a:pt x="547" y="1770"/>
                </a:lnTo>
                <a:lnTo>
                  <a:pt x="552" y="1775"/>
                </a:lnTo>
                <a:lnTo>
                  <a:pt x="555" y="1781"/>
                </a:lnTo>
                <a:lnTo>
                  <a:pt x="563" y="1786"/>
                </a:lnTo>
                <a:lnTo>
                  <a:pt x="575" y="1795"/>
                </a:lnTo>
                <a:lnTo>
                  <a:pt x="587" y="1807"/>
                </a:lnTo>
                <a:lnTo>
                  <a:pt x="599" y="1818"/>
                </a:lnTo>
                <a:lnTo>
                  <a:pt x="609" y="1830"/>
                </a:lnTo>
                <a:lnTo>
                  <a:pt x="619" y="1839"/>
                </a:lnTo>
                <a:lnTo>
                  <a:pt x="624" y="1842"/>
                </a:lnTo>
                <a:lnTo>
                  <a:pt x="627" y="1845"/>
                </a:lnTo>
                <a:lnTo>
                  <a:pt x="631" y="1845"/>
                </a:lnTo>
                <a:lnTo>
                  <a:pt x="634" y="1845"/>
                </a:lnTo>
                <a:lnTo>
                  <a:pt x="643" y="1845"/>
                </a:lnTo>
                <a:lnTo>
                  <a:pt x="649" y="1847"/>
                </a:lnTo>
                <a:lnTo>
                  <a:pt x="656" y="1850"/>
                </a:lnTo>
                <a:lnTo>
                  <a:pt x="659" y="1856"/>
                </a:lnTo>
                <a:lnTo>
                  <a:pt x="663" y="1861"/>
                </a:lnTo>
                <a:lnTo>
                  <a:pt x="664" y="1869"/>
                </a:lnTo>
                <a:lnTo>
                  <a:pt x="666" y="1877"/>
                </a:lnTo>
                <a:lnTo>
                  <a:pt x="664" y="1888"/>
                </a:lnTo>
                <a:lnTo>
                  <a:pt x="666" y="1903"/>
                </a:lnTo>
                <a:lnTo>
                  <a:pt x="669" y="1918"/>
                </a:lnTo>
                <a:lnTo>
                  <a:pt x="671" y="1925"/>
                </a:lnTo>
                <a:lnTo>
                  <a:pt x="675" y="1930"/>
                </a:lnTo>
                <a:lnTo>
                  <a:pt x="678" y="1936"/>
                </a:lnTo>
                <a:lnTo>
                  <a:pt x="683" y="1941"/>
                </a:lnTo>
                <a:lnTo>
                  <a:pt x="685" y="1950"/>
                </a:lnTo>
                <a:lnTo>
                  <a:pt x="688" y="1957"/>
                </a:lnTo>
                <a:lnTo>
                  <a:pt x="693" y="1962"/>
                </a:lnTo>
                <a:lnTo>
                  <a:pt x="701" y="1967"/>
                </a:lnTo>
                <a:lnTo>
                  <a:pt x="712" y="1970"/>
                </a:lnTo>
                <a:lnTo>
                  <a:pt x="727" y="1972"/>
                </a:lnTo>
                <a:lnTo>
                  <a:pt x="745" y="1970"/>
                </a:lnTo>
                <a:lnTo>
                  <a:pt x="767" y="1967"/>
                </a:lnTo>
                <a:lnTo>
                  <a:pt x="781" y="1968"/>
                </a:lnTo>
                <a:lnTo>
                  <a:pt x="794" y="1968"/>
                </a:lnTo>
                <a:lnTo>
                  <a:pt x="801" y="1967"/>
                </a:lnTo>
                <a:lnTo>
                  <a:pt x="808" y="1965"/>
                </a:lnTo>
                <a:lnTo>
                  <a:pt x="814" y="1963"/>
                </a:lnTo>
                <a:lnTo>
                  <a:pt x="823" y="1958"/>
                </a:lnTo>
                <a:lnTo>
                  <a:pt x="831" y="1953"/>
                </a:lnTo>
                <a:lnTo>
                  <a:pt x="839" y="1950"/>
                </a:lnTo>
                <a:lnTo>
                  <a:pt x="850" y="1948"/>
                </a:lnTo>
                <a:lnTo>
                  <a:pt x="858" y="1946"/>
                </a:lnTo>
                <a:lnTo>
                  <a:pt x="878" y="1920"/>
                </a:lnTo>
                <a:lnTo>
                  <a:pt x="898" y="1894"/>
                </a:lnTo>
                <a:lnTo>
                  <a:pt x="910" y="1882"/>
                </a:lnTo>
                <a:lnTo>
                  <a:pt x="920" y="1872"/>
                </a:lnTo>
                <a:lnTo>
                  <a:pt x="932" y="1864"/>
                </a:lnTo>
                <a:lnTo>
                  <a:pt x="942" y="1856"/>
                </a:lnTo>
                <a:lnTo>
                  <a:pt x="951" y="1847"/>
                </a:lnTo>
                <a:lnTo>
                  <a:pt x="959" y="1842"/>
                </a:lnTo>
                <a:lnTo>
                  <a:pt x="962" y="1840"/>
                </a:lnTo>
                <a:lnTo>
                  <a:pt x="966" y="1839"/>
                </a:lnTo>
                <a:lnTo>
                  <a:pt x="971" y="1840"/>
                </a:lnTo>
                <a:lnTo>
                  <a:pt x="974" y="1840"/>
                </a:lnTo>
                <a:lnTo>
                  <a:pt x="981" y="1840"/>
                </a:lnTo>
                <a:lnTo>
                  <a:pt x="986" y="1837"/>
                </a:lnTo>
                <a:lnTo>
                  <a:pt x="989" y="1834"/>
                </a:lnTo>
                <a:lnTo>
                  <a:pt x="993" y="1829"/>
                </a:lnTo>
                <a:lnTo>
                  <a:pt x="994" y="1820"/>
                </a:lnTo>
                <a:lnTo>
                  <a:pt x="998" y="1815"/>
                </a:lnTo>
                <a:lnTo>
                  <a:pt x="999" y="1812"/>
                </a:lnTo>
                <a:lnTo>
                  <a:pt x="1003" y="1812"/>
                </a:lnTo>
                <a:lnTo>
                  <a:pt x="1008" y="1813"/>
                </a:lnTo>
                <a:lnTo>
                  <a:pt x="1015" y="1820"/>
                </a:lnTo>
                <a:lnTo>
                  <a:pt x="1028" y="1820"/>
                </a:lnTo>
                <a:lnTo>
                  <a:pt x="1040" y="1820"/>
                </a:lnTo>
                <a:lnTo>
                  <a:pt x="1053" y="1820"/>
                </a:lnTo>
                <a:lnTo>
                  <a:pt x="1065" y="1820"/>
                </a:lnTo>
                <a:lnTo>
                  <a:pt x="1072" y="1820"/>
                </a:lnTo>
                <a:lnTo>
                  <a:pt x="1077" y="1818"/>
                </a:lnTo>
                <a:lnTo>
                  <a:pt x="1080" y="1815"/>
                </a:lnTo>
                <a:lnTo>
                  <a:pt x="1082" y="1813"/>
                </a:lnTo>
                <a:lnTo>
                  <a:pt x="1084" y="1810"/>
                </a:lnTo>
                <a:lnTo>
                  <a:pt x="1084" y="1805"/>
                </a:lnTo>
                <a:lnTo>
                  <a:pt x="1082" y="1800"/>
                </a:lnTo>
                <a:lnTo>
                  <a:pt x="1080" y="1795"/>
                </a:lnTo>
                <a:lnTo>
                  <a:pt x="1075" y="1788"/>
                </a:lnTo>
                <a:lnTo>
                  <a:pt x="1073" y="1783"/>
                </a:lnTo>
                <a:lnTo>
                  <a:pt x="1075" y="1778"/>
                </a:lnTo>
                <a:lnTo>
                  <a:pt x="1079" y="1775"/>
                </a:lnTo>
                <a:lnTo>
                  <a:pt x="1084" y="1766"/>
                </a:lnTo>
                <a:lnTo>
                  <a:pt x="1085" y="1756"/>
                </a:lnTo>
                <a:lnTo>
                  <a:pt x="1085" y="1746"/>
                </a:lnTo>
                <a:lnTo>
                  <a:pt x="1085" y="1734"/>
                </a:lnTo>
                <a:lnTo>
                  <a:pt x="1084" y="1731"/>
                </a:lnTo>
                <a:lnTo>
                  <a:pt x="1084" y="1728"/>
                </a:lnTo>
                <a:lnTo>
                  <a:pt x="1084" y="1724"/>
                </a:lnTo>
                <a:lnTo>
                  <a:pt x="1085" y="1722"/>
                </a:lnTo>
                <a:lnTo>
                  <a:pt x="1089" y="1721"/>
                </a:lnTo>
                <a:lnTo>
                  <a:pt x="1092" y="1721"/>
                </a:lnTo>
                <a:lnTo>
                  <a:pt x="1095" y="1722"/>
                </a:lnTo>
                <a:lnTo>
                  <a:pt x="1099" y="1726"/>
                </a:lnTo>
                <a:lnTo>
                  <a:pt x="1107" y="1726"/>
                </a:lnTo>
                <a:lnTo>
                  <a:pt x="1112" y="1726"/>
                </a:lnTo>
                <a:lnTo>
                  <a:pt x="1116" y="1724"/>
                </a:lnTo>
                <a:lnTo>
                  <a:pt x="1116" y="1722"/>
                </a:lnTo>
                <a:lnTo>
                  <a:pt x="1116" y="1719"/>
                </a:lnTo>
                <a:lnTo>
                  <a:pt x="1112" y="1714"/>
                </a:lnTo>
                <a:lnTo>
                  <a:pt x="1109" y="1711"/>
                </a:lnTo>
                <a:lnTo>
                  <a:pt x="1107" y="1707"/>
                </a:lnTo>
                <a:lnTo>
                  <a:pt x="1107" y="1704"/>
                </a:lnTo>
                <a:lnTo>
                  <a:pt x="1107" y="1702"/>
                </a:lnTo>
                <a:lnTo>
                  <a:pt x="1112" y="1699"/>
                </a:lnTo>
                <a:lnTo>
                  <a:pt x="1122" y="1699"/>
                </a:lnTo>
                <a:lnTo>
                  <a:pt x="1129" y="1696"/>
                </a:lnTo>
                <a:lnTo>
                  <a:pt x="1136" y="1692"/>
                </a:lnTo>
                <a:lnTo>
                  <a:pt x="1139" y="1682"/>
                </a:lnTo>
                <a:lnTo>
                  <a:pt x="1141" y="1680"/>
                </a:lnTo>
                <a:lnTo>
                  <a:pt x="1144" y="1682"/>
                </a:lnTo>
                <a:lnTo>
                  <a:pt x="1148" y="1690"/>
                </a:lnTo>
                <a:lnTo>
                  <a:pt x="1153" y="1701"/>
                </a:lnTo>
                <a:lnTo>
                  <a:pt x="1156" y="1706"/>
                </a:lnTo>
                <a:lnTo>
                  <a:pt x="1159" y="1704"/>
                </a:lnTo>
                <a:lnTo>
                  <a:pt x="1161" y="1696"/>
                </a:lnTo>
                <a:lnTo>
                  <a:pt x="1161" y="1687"/>
                </a:lnTo>
                <a:lnTo>
                  <a:pt x="1163" y="1680"/>
                </a:lnTo>
                <a:lnTo>
                  <a:pt x="1164" y="1675"/>
                </a:lnTo>
                <a:lnTo>
                  <a:pt x="1166" y="1674"/>
                </a:lnTo>
                <a:lnTo>
                  <a:pt x="1171" y="1672"/>
                </a:lnTo>
                <a:lnTo>
                  <a:pt x="1174" y="1672"/>
                </a:lnTo>
                <a:lnTo>
                  <a:pt x="1180" y="1675"/>
                </a:lnTo>
                <a:lnTo>
                  <a:pt x="1186" y="1679"/>
                </a:lnTo>
                <a:lnTo>
                  <a:pt x="1191" y="1692"/>
                </a:lnTo>
                <a:lnTo>
                  <a:pt x="1198" y="1704"/>
                </a:lnTo>
                <a:lnTo>
                  <a:pt x="1200" y="1709"/>
                </a:lnTo>
                <a:lnTo>
                  <a:pt x="1201" y="1711"/>
                </a:lnTo>
                <a:lnTo>
                  <a:pt x="1205" y="1712"/>
                </a:lnTo>
                <a:lnTo>
                  <a:pt x="1206" y="1714"/>
                </a:lnTo>
                <a:lnTo>
                  <a:pt x="1211" y="1711"/>
                </a:lnTo>
                <a:lnTo>
                  <a:pt x="1218" y="1704"/>
                </a:lnTo>
                <a:lnTo>
                  <a:pt x="1220" y="1694"/>
                </a:lnTo>
                <a:lnTo>
                  <a:pt x="1223" y="1687"/>
                </a:lnTo>
                <a:lnTo>
                  <a:pt x="1227" y="1682"/>
                </a:lnTo>
                <a:lnTo>
                  <a:pt x="1230" y="1679"/>
                </a:lnTo>
                <a:lnTo>
                  <a:pt x="1233" y="1675"/>
                </a:lnTo>
                <a:lnTo>
                  <a:pt x="1238" y="1675"/>
                </a:lnTo>
                <a:lnTo>
                  <a:pt x="1245" y="1675"/>
                </a:lnTo>
                <a:lnTo>
                  <a:pt x="1250" y="1677"/>
                </a:lnTo>
                <a:lnTo>
                  <a:pt x="1259" y="1679"/>
                </a:lnTo>
                <a:lnTo>
                  <a:pt x="1265" y="1677"/>
                </a:lnTo>
                <a:lnTo>
                  <a:pt x="1274" y="1675"/>
                </a:lnTo>
                <a:lnTo>
                  <a:pt x="1282" y="1670"/>
                </a:lnTo>
                <a:lnTo>
                  <a:pt x="1289" y="1665"/>
                </a:lnTo>
                <a:lnTo>
                  <a:pt x="1296" y="1662"/>
                </a:lnTo>
                <a:lnTo>
                  <a:pt x="1302" y="1664"/>
                </a:lnTo>
                <a:lnTo>
                  <a:pt x="1311" y="1667"/>
                </a:lnTo>
                <a:lnTo>
                  <a:pt x="1324" y="1669"/>
                </a:lnTo>
                <a:lnTo>
                  <a:pt x="1338" y="1669"/>
                </a:lnTo>
                <a:lnTo>
                  <a:pt x="1350" y="1669"/>
                </a:lnTo>
                <a:lnTo>
                  <a:pt x="1361" y="1667"/>
                </a:lnTo>
                <a:lnTo>
                  <a:pt x="1370" y="1664"/>
                </a:lnTo>
                <a:lnTo>
                  <a:pt x="1376" y="1662"/>
                </a:lnTo>
                <a:lnTo>
                  <a:pt x="1382" y="1657"/>
                </a:lnTo>
                <a:lnTo>
                  <a:pt x="1383" y="1653"/>
                </a:lnTo>
                <a:lnTo>
                  <a:pt x="1385" y="1642"/>
                </a:lnTo>
                <a:lnTo>
                  <a:pt x="1387" y="1635"/>
                </a:lnTo>
                <a:lnTo>
                  <a:pt x="1390" y="1628"/>
                </a:lnTo>
                <a:lnTo>
                  <a:pt x="1395" y="1625"/>
                </a:lnTo>
                <a:lnTo>
                  <a:pt x="1400" y="1623"/>
                </a:lnTo>
                <a:lnTo>
                  <a:pt x="1405" y="1623"/>
                </a:lnTo>
                <a:lnTo>
                  <a:pt x="1410" y="1626"/>
                </a:lnTo>
                <a:lnTo>
                  <a:pt x="1417" y="1630"/>
                </a:lnTo>
                <a:lnTo>
                  <a:pt x="1425" y="1632"/>
                </a:lnTo>
                <a:lnTo>
                  <a:pt x="1432" y="1630"/>
                </a:lnTo>
                <a:lnTo>
                  <a:pt x="1439" y="1628"/>
                </a:lnTo>
                <a:lnTo>
                  <a:pt x="1444" y="1625"/>
                </a:lnTo>
                <a:lnTo>
                  <a:pt x="1447" y="1621"/>
                </a:lnTo>
                <a:lnTo>
                  <a:pt x="1451" y="1615"/>
                </a:lnTo>
                <a:lnTo>
                  <a:pt x="1452" y="1608"/>
                </a:lnTo>
                <a:lnTo>
                  <a:pt x="1456" y="1600"/>
                </a:lnTo>
                <a:lnTo>
                  <a:pt x="1456" y="1588"/>
                </a:lnTo>
                <a:lnTo>
                  <a:pt x="1456" y="1578"/>
                </a:lnTo>
                <a:lnTo>
                  <a:pt x="1459" y="1568"/>
                </a:lnTo>
                <a:lnTo>
                  <a:pt x="1462" y="1561"/>
                </a:lnTo>
                <a:lnTo>
                  <a:pt x="1466" y="1556"/>
                </a:lnTo>
                <a:lnTo>
                  <a:pt x="1472" y="1552"/>
                </a:lnTo>
                <a:lnTo>
                  <a:pt x="1479" y="1551"/>
                </a:lnTo>
                <a:lnTo>
                  <a:pt x="1488" y="1551"/>
                </a:lnTo>
                <a:lnTo>
                  <a:pt x="1499" y="1549"/>
                </a:lnTo>
                <a:lnTo>
                  <a:pt x="1509" y="1549"/>
                </a:lnTo>
                <a:lnTo>
                  <a:pt x="1518" y="1551"/>
                </a:lnTo>
                <a:lnTo>
                  <a:pt x="1523" y="1556"/>
                </a:lnTo>
                <a:lnTo>
                  <a:pt x="1526" y="1561"/>
                </a:lnTo>
                <a:lnTo>
                  <a:pt x="1528" y="1568"/>
                </a:lnTo>
                <a:lnTo>
                  <a:pt x="1530" y="1576"/>
                </a:lnTo>
                <a:lnTo>
                  <a:pt x="1528" y="1586"/>
                </a:lnTo>
                <a:lnTo>
                  <a:pt x="1514" y="1601"/>
                </a:lnTo>
                <a:lnTo>
                  <a:pt x="1501" y="1615"/>
                </a:lnTo>
                <a:lnTo>
                  <a:pt x="1499" y="1620"/>
                </a:lnTo>
                <a:lnTo>
                  <a:pt x="1498" y="1625"/>
                </a:lnTo>
                <a:lnTo>
                  <a:pt x="1498" y="1628"/>
                </a:lnTo>
                <a:lnTo>
                  <a:pt x="1499" y="1630"/>
                </a:lnTo>
                <a:lnTo>
                  <a:pt x="1501" y="1632"/>
                </a:lnTo>
                <a:lnTo>
                  <a:pt x="1504" y="1633"/>
                </a:lnTo>
                <a:lnTo>
                  <a:pt x="1508" y="1633"/>
                </a:lnTo>
                <a:lnTo>
                  <a:pt x="1514" y="1633"/>
                </a:lnTo>
                <a:lnTo>
                  <a:pt x="1533" y="1628"/>
                </a:lnTo>
                <a:lnTo>
                  <a:pt x="1552" y="1625"/>
                </a:lnTo>
                <a:lnTo>
                  <a:pt x="1555" y="1621"/>
                </a:lnTo>
                <a:lnTo>
                  <a:pt x="1560" y="1620"/>
                </a:lnTo>
                <a:lnTo>
                  <a:pt x="1563" y="1620"/>
                </a:lnTo>
                <a:lnTo>
                  <a:pt x="1568" y="1621"/>
                </a:lnTo>
                <a:lnTo>
                  <a:pt x="1575" y="1625"/>
                </a:lnTo>
                <a:lnTo>
                  <a:pt x="1583" y="1632"/>
                </a:lnTo>
                <a:lnTo>
                  <a:pt x="1587" y="1637"/>
                </a:lnTo>
                <a:lnTo>
                  <a:pt x="1590" y="1640"/>
                </a:lnTo>
                <a:lnTo>
                  <a:pt x="1592" y="1643"/>
                </a:lnTo>
                <a:lnTo>
                  <a:pt x="1595" y="1645"/>
                </a:lnTo>
                <a:lnTo>
                  <a:pt x="1599" y="1645"/>
                </a:lnTo>
                <a:lnTo>
                  <a:pt x="1602" y="1643"/>
                </a:lnTo>
                <a:lnTo>
                  <a:pt x="1605" y="1640"/>
                </a:lnTo>
                <a:lnTo>
                  <a:pt x="1609" y="1638"/>
                </a:lnTo>
                <a:lnTo>
                  <a:pt x="1621" y="1625"/>
                </a:lnTo>
                <a:lnTo>
                  <a:pt x="1634" y="1611"/>
                </a:lnTo>
                <a:lnTo>
                  <a:pt x="1634" y="1598"/>
                </a:lnTo>
                <a:lnTo>
                  <a:pt x="1636" y="1588"/>
                </a:lnTo>
                <a:lnTo>
                  <a:pt x="1637" y="1583"/>
                </a:lnTo>
                <a:lnTo>
                  <a:pt x="1639" y="1581"/>
                </a:lnTo>
                <a:lnTo>
                  <a:pt x="1642" y="1579"/>
                </a:lnTo>
                <a:lnTo>
                  <a:pt x="1646" y="1581"/>
                </a:lnTo>
                <a:lnTo>
                  <a:pt x="1661" y="1584"/>
                </a:lnTo>
                <a:lnTo>
                  <a:pt x="1678" y="1589"/>
                </a:lnTo>
                <a:lnTo>
                  <a:pt x="1686" y="1591"/>
                </a:lnTo>
                <a:lnTo>
                  <a:pt x="1696" y="1591"/>
                </a:lnTo>
                <a:lnTo>
                  <a:pt x="1700" y="1591"/>
                </a:lnTo>
                <a:lnTo>
                  <a:pt x="1703" y="1588"/>
                </a:lnTo>
                <a:lnTo>
                  <a:pt x="1706" y="1584"/>
                </a:lnTo>
                <a:lnTo>
                  <a:pt x="1710" y="1581"/>
                </a:lnTo>
                <a:lnTo>
                  <a:pt x="1715" y="1573"/>
                </a:lnTo>
                <a:lnTo>
                  <a:pt x="1720" y="1563"/>
                </a:lnTo>
                <a:lnTo>
                  <a:pt x="1722" y="1554"/>
                </a:lnTo>
                <a:lnTo>
                  <a:pt x="1722" y="1544"/>
                </a:lnTo>
                <a:lnTo>
                  <a:pt x="1720" y="1534"/>
                </a:lnTo>
                <a:lnTo>
                  <a:pt x="1716" y="1525"/>
                </a:lnTo>
                <a:lnTo>
                  <a:pt x="1713" y="1514"/>
                </a:lnTo>
                <a:lnTo>
                  <a:pt x="1708" y="1504"/>
                </a:lnTo>
                <a:lnTo>
                  <a:pt x="1695" y="1475"/>
                </a:lnTo>
                <a:lnTo>
                  <a:pt x="1686" y="1446"/>
                </a:lnTo>
                <a:lnTo>
                  <a:pt x="1683" y="1433"/>
                </a:lnTo>
                <a:lnTo>
                  <a:pt x="1681" y="1419"/>
                </a:lnTo>
                <a:lnTo>
                  <a:pt x="1681" y="1406"/>
                </a:lnTo>
                <a:lnTo>
                  <a:pt x="1684" y="1394"/>
                </a:lnTo>
                <a:lnTo>
                  <a:pt x="1684" y="1379"/>
                </a:lnTo>
                <a:lnTo>
                  <a:pt x="1684" y="1362"/>
                </a:lnTo>
                <a:lnTo>
                  <a:pt x="1674" y="1367"/>
                </a:lnTo>
                <a:lnTo>
                  <a:pt x="1666" y="1369"/>
                </a:lnTo>
                <a:lnTo>
                  <a:pt x="1654" y="1371"/>
                </a:lnTo>
                <a:lnTo>
                  <a:pt x="1642" y="1369"/>
                </a:lnTo>
                <a:lnTo>
                  <a:pt x="1634" y="1369"/>
                </a:lnTo>
                <a:lnTo>
                  <a:pt x="1629" y="1371"/>
                </a:lnTo>
                <a:lnTo>
                  <a:pt x="1624" y="1374"/>
                </a:lnTo>
                <a:lnTo>
                  <a:pt x="1619" y="1379"/>
                </a:lnTo>
                <a:lnTo>
                  <a:pt x="1614" y="1389"/>
                </a:lnTo>
                <a:lnTo>
                  <a:pt x="1609" y="1396"/>
                </a:lnTo>
                <a:lnTo>
                  <a:pt x="1602" y="1401"/>
                </a:lnTo>
                <a:lnTo>
                  <a:pt x="1595" y="1403"/>
                </a:lnTo>
                <a:lnTo>
                  <a:pt x="1592" y="1403"/>
                </a:lnTo>
                <a:lnTo>
                  <a:pt x="1589" y="1401"/>
                </a:lnTo>
                <a:lnTo>
                  <a:pt x="1585" y="1399"/>
                </a:lnTo>
                <a:lnTo>
                  <a:pt x="1583" y="1396"/>
                </a:lnTo>
                <a:lnTo>
                  <a:pt x="1580" y="1387"/>
                </a:lnTo>
                <a:lnTo>
                  <a:pt x="1578" y="1376"/>
                </a:lnTo>
                <a:lnTo>
                  <a:pt x="1582" y="1360"/>
                </a:lnTo>
                <a:lnTo>
                  <a:pt x="1585" y="1345"/>
                </a:lnTo>
                <a:lnTo>
                  <a:pt x="1594" y="1333"/>
                </a:lnTo>
                <a:lnTo>
                  <a:pt x="1604" y="1323"/>
                </a:lnTo>
                <a:lnTo>
                  <a:pt x="1609" y="1318"/>
                </a:lnTo>
                <a:lnTo>
                  <a:pt x="1615" y="1315"/>
                </a:lnTo>
                <a:lnTo>
                  <a:pt x="1621" y="1312"/>
                </a:lnTo>
                <a:lnTo>
                  <a:pt x="1627" y="1308"/>
                </a:lnTo>
                <a:lnTo>
                  <a:pt x="1642" y="1305"/>
                </a:lnTo>
                <a:lnTo>
                  <a:pt x="1659" y="1303"/>
                </a:lnTo>
                <a:lnTo>
                  <a:pt x="1664" y="1301"/>
                </a:lnTo>
                <a:lnTo>
                  <a:pt x="1668" y="1298"/>
                </a:lnTo>
                <a:lnTo>
                  <a:pt x="1669" y="1293"/>
                </a:lnTo>
                <a:lnTo>
                  <a:pt x="1671" y="1290"/>
                </a:lnTo>
                <a:lnTo>
                  <a:pt x="1674" y="1278"/>
                </a:lnTo>
                <a:lnTo>
                  <a:pt x="1674" y="1264"/>
                </a:lnTo>
                <a:lnTo>
                  <a:pt x="1674" y="1253"/>
                </a:lnTo>
                <a:lnTo>
                  <a:pt x="1676" y="1241"/>
                </a:lnTo>
                <a:lnTo>
                  <a:pt x="1674" y="1217"/>
                </a:lnTo>
                <a:lnTo>
                  <a:pt x="1674" y="1192"/>
                </a:lnTo>
                <a:lnTo>
                  <a:pt x="1661" y="1180"/>
                </a:lnTo>
                <a:lnTo>
                  <a:pt x="1647" y="1165"/>
                </a:lnTo>
                <a:lnTo>
                  <a:pt x="1642" y="1158"/>
                </a:lnTo>
                <a:lnTo>
                  <a:pt x="1639" y="1152"/>
                </a:lnTo>
                <a:lnTo>
                  <a:pt x="1636" y="1145"/>
                </a:lnTo>
                <a:lnTo>
                  <a:pt x="1634" y="1136"/>
                </a:lnTo>
                <a:lnTo>
                  <a:pt x="1632" y="1128"/>
                </a:lnTo>
                <a:lnTo>
                  <a:pt x="1634" y="1121"/>
                </a:lnTo>
                <a:lnTo>
                  <a:pt x="1636" y="1113"/>
                </a:lnTo>
                <a:lnTo>
                  <a:pt x="1637" y="1103"/>
                </a:lnTo>
                <a:lnTo>
                  <a:pt x="1639" y="1091"/>
                </a:lnTo>
                <a:lnTo>
                  <a:pt x="1639" y="1079"/>
                </a:lnTo>
                <a:lnTo>
                  <a:pt x="1637" y="1067"/>
                </a:lnTo>
                <a:lnTo>
                  <a:pt x="1636" y="1056"/>
                </a:lnTo>
                <a:lnTo>
                  <a:pt x="1629" y="1054"/>
                </a:lnTo>
                <a:lnTo>
                  <a:pt x="1622" y="1052"/>
                </a:lnTo>
                <a:lnTo>
                  <a:pt x="1612" y="1067"/>
                </a:lnTo>
                <a:lnTo>
                  <a:pt x="1602" y="1081"/>
                </a:lnTo>
                <a:lnTo>
                  <a:pt x="1594" y="1081"/>
                </a:lnTo>
                <a:lnTo>
                  <a:pt x="1585" y="1083"/>
                </a:lnTo>
                <a:lnTo>
                  <a:pt x="1580" y="1084"/>
                </a:lnTo>
                <a:lnTo>
                  <a:pt x="1575" y="1086"/>
                </a:lnTo>
                <a:lnTo>
                  <a:pt x="1572" y="1091"/>
                </a:lnTo>
                <a:lnTo>
                  <a:pt x="1568" y="1094"/>
                </a:lnTo>
                <a:lnTo>
                  <a:pt x="1565" y="1108"/>
                </a:lnTo>
                <a:lnTo>
                  <a:pt x="1563" y="1123"/>
                </a:lnTo>
                <a:lnTo>
                  <a:pt x="1552" y="1135"/>
                </a:lnTo>
                <a:lnTo>
                  <a:pt x="1541" y="1148"/>
                </a:lnTo>
                <a:lnTo>
                  <a:pt x="1538" y="1136"/>
                </a:lnTo>
                <a:lnTo>
                  <a:pt x="1535" y="1125"/>
                </a:lnTo>
                <a:lnTo>
                  <a:pt x="1526" y="1115"/>
                </a:lnTo>
                <a:lnTo>
                  <a:pt x="1520" y="1108"/>
                </a:lnTo>
                <a:lnTo>
                  <a:pt x="1514" y="1106"/>
                </a:lnTo>
                <a:lnTo>
                  <a:pt x="1511" y="1104"/>
                </a:lnTo>
                <a:lnTo>
                  <a:pt x="1506" y="1106"/>
                </a:lnTo>
                <a:lnTo>
                  <a:pt x="1503" y="1108"/>
                </a:lnTo>
                <a:lnTo>
                  <a:pt x="1498" y="1120"/>
                </a:lnTo>
                <a:lnTo>
                  <a:pt x="1493" y="1131"/>
                </a:lnTo>
                <a:lnTo>
                  <a:pt x="1483" y="1133"/>
                </a:lnTo>
                <a:lnTo>
                  <a:pt x="1474" y="1135"/>
                </a:lnTo>
                <a:lnTo>
                  <a:pt x="1471" y="1133"/>
                </a:lnTo>
                <a:lnTo>
                  <a:pt x="1467" y="1130"/>
                </a:lnTo>
                <a:lnTo>
                  <a:pt x="1481" y="1116"/>
                </a:lnTo>
                <a:lnTo>
                  <a:pt x="1496" y="1103"/>
                </a:lnTo>
                <a:lnTo>
                  <a:pt x="1491" y="1101"/>
                </a:lnTo>
                <a:lnTo>
                  <a:pt x="1486" y="1098"/>
                </a:lnTo>
                <a:lnTo>
                  <a:pt x="1481" y="1093"/>
                </a:lnTo>
                <a:lnTo>
                  <a:pt x="1476" y="1086"/>
                </a:lnTo>
                <a:lnTo>
                  <a:pt x="1467" y="1071"/>
                </a:lnTo>
                <a:lnTo>
                  <a:pt x="1459" y="1049"/>
                </a:lnTo>
                <a:lnTo>
                  <a:pt x="1442" y="1047"/>
                </a:lnTo>
                <a:lnTo>
                  <a:pt x="1424" y="1047"/>
                </a:lnTo>
                <a:lnTo>
                  <a:pt x="1425" y="1040"/>
                </a:lnTo>
                <a:lnTo>
                  <a:pt x="1427" y="1034"/>
                </a:lnTo>
                <a:lnTo>
                  <a:pt x="1429" y="1030"/>
                </a:lnTo>
                <a:lnTo>
                  <a:pt x="1432" y="1030"/>
                </a:lnTo>
                <a:lnTo>
                  <a:pt x="1435" y="1030"/>
                </a:lnTo>
                <a:lnTo>
                  <a:pt x="1442" y="1034"/>
                </a:lnTo>
                <a:lnTo>
                  <a:pt x="1466" y="1042"/>
                </a:lnTo>
                <a:lnTo>
                  <a:pt x="1489" y="1051"/>
                </a:lnTo>
                <a:lnTo>
                  <a:pt x="1498" y="1056"/>
                </a:lnTo>
                <a:lnTo>
                  <a:pt x="1508" y="1061"/>
                </a:lnTo>
                <a:lnTo>
                  <a:pt x="1511" y="1052"/>
                </a:lnTo>
                <a:lnTo>
                  <a:pt x="1516" y="1046"/>
                </a:lnTo>
                <a:lnTo>
                  <a:pt x="1538" y="1047"/>
                </a:lnTo>
                <a:lnTo>
                  <a:pt x="1558" y="1049"/>
                </a:lnTo>
                <a:lnTo>
                  <a:pt x="1565" y="1054"/>
                </a:lnTo>
                <a:lnTo>
                  <a:pt x="1572" y="1059"/>
                </a:lnTo>
                <a:lnTo>
                  <a:pt x="1578" y="1061"/>
                </a:lnTo>
                <a:lnTo>
                  <a:pt x="1585" y="1062"/>
                </a:lnTo>
                <a:lnTo>
                  <a:pt x="1590" y="1040"/>
                </a:lnTo>
                <a:lnTo>
                  <a:pt x="1597" y="1019"/>
                </a:lnTo>
                <a:lnTo>
                  <a:pt x="1592" y="1015"/>
                </a:lnTo>
                <a:lnTo>
                  <a:pt x="1589" y="1012"/>
                </a:lnTo>
                <a:lnTo>
                  <a:pt x="1585" y="1008"/>
                </a:lnTo>
                <a:lnTo>
                  <a:pt x="1582" y="1007"/>
                </a:lnTo>
                <a:lnTo>
                  <a:pt x="1577" y="1005"/>
                </a:lnTo>
                <a:lnTo>
                  <a:pt x="1572" y="1003"/>
                </a:lnTo>
                <a:lnTo>
                  <a:pt x="1565" y="1000"/>
                </a:lnTo>
                <a:lnTo>
                  <a:pt x="1560" y="997"/>
                </a:lnTo>
                <a:lnTo>
                  <a:pt x="1557" y="992"/>
                </a:lnTo>
                <a:lnTo>
                  <a:pt x="1553" y="985"/>
                </a:lnTo>
                <a:lnTo>
                  <a:pt x="1545" y="985"/>
                </a:lnTo>
                <a:lnTo>
                  <a:pt x="1538" y="985"/>
                </a:lnTo>
                <a:lnTo>
                  <a:pt x="1528" y="992"/>
                </a:lnTo>
                <a:lnTo>
                  <a:pt x="1520" y="1000"/>
                </a:lnTo>
                <a:lnTo>
                  <a:pt x="1514" y="1003"/>
                </a:lnTo>
                <a:lnTo>
                  <a:pt x="1509" y="1007"/>
                </a:lnTo>
                <a:lnTo>
                  <a:pt x="1504" y="1007"/>
                </a:lnTo>
                <a:lnTo>
                  <a:pt x="1499" y="1007"/>
                </a:lnTo>
                <a:lnTo>
                  <a:pt x="1494" y="1003"/>
                </a:lnTo>
                <a:lnTo>
                  <a:pt x="1491" y="1002"/>
                </a:lnTo>
                <a:lnTo>
                  <a:pt x="1486" y="998"/>
                </a:lnTo>
                <a:lnTo>
                  <a:pt x="1483" y="995"/>
                </a:lnTo>
                <a:lnTo>
                  <a:pt x="1479" y="993"/>
                </a:lnTo>
                <a:lnTo>
                  <a:pt x="1476" y="990"/>
                </a:lnTo>
                <a:lnTo>
                  <a:pt x="1476" y="985"/>
                </a:lnTo>
                <a:lnTo>
                  <a:pt x="1476" y="982"/>
                </a:lnTo>
                <a:lnTo>
                  <a:pt x="1481" y="983"/>
                </a:lnTo>
                <a:lnTo>
                  <a:pt x="1486" y="987"/>
                </a:lnTo>
                <a:lnTo>
                  <a:pt x="1491" y="990"/>
                </a:lnTo>
                <a:lnTo>
                  <a:pt x="1496" y="993"/>
                </a:lnTo>
                <a:lnTo>
                  <a:pt x="1499" y="995"/>
                </a:lnTo>
                <a:lnTo>
                  <a:pt x="1504" y="997"/>
                </a:lnTo>
                <a:lnTo>
                  <a:pt x="1508" y="997"/>
                </a:lnTo>
                <a:lnTo>
                  <a:pt x="1511" y="995"/>
                </a:lnTo>
                <a:lnTo>
                  <a:pt x="1523" y="985"/>
                </a:lnTo>
                <a:lnTo>
                  <a:pt x="1535" y="975"/>
                </a:lnTo>
                <a:lnTo>
                  <a:pt x="1541" y="975"/>
                </a:lnTo>
                <a:lnTo>
                  <a:pt x="1548" y="975"/>
                </a:lnTo>
                <a:lnTo>
                  <a:pt x="1557" y="976"/>
                </a:lnTo>
                <a:lnTo>
                  <a:pt x="1565" y="978"/>
                </a:lnTo>
                <a:lnTo>
                  <a:pt x="1573" y="978"/>
                </a:lnTo>
                <a:lnTo>
                  <a:pt x="1582" y="980"/>
                </a:lnTo>
                <a:lnTo>
                  <a:pt x="1585" y="985"/>
                </a:lnTo>
                <a:lnTo>
                  <a:pt x="1590" y="990"/>
                </a:lnTo>
                <a:lnTo>
                  <a:pt x="1590" y="998"/>
                </a:lnTo>
                <a:lnTo>
                  <a:pt x="1590" y="1007"/>
                </a:lnTo>
                <a:lnTo>
                  <a:pt x="1595" y="1010"/>
                </a:lnTo>
                <a:lnTo>
                  <a:pt x="1599" y="1014"/>
                </a:lnTo>
                <a:lnTo>
                  <a:pt x="1612" y="1010"/>
                </a:lnTo>
                <a:lnTo>
                  <a:pt x="1626" y="1007"/>
                </a:lnTo>
                <a:lnTo>
                  <a:pt x="1629" y="1022"/>
                </a:lnTo>
                <a:lnTo>
                  <a:pt x="1632" y="1039"/>
                </a:lnTo>
                <a:lnTo>
                  <a:pt x="1641" y="1049"/>
                </a:lnTo>
                <a:lnTo>
                  <a:pt x="1647" y="1059"/>
                </a:lnTo>
                <a:lnTo>
                  <a:pt x="1651" y="1062"/>
                </a:lnTo>
                <a:lnTo>
                  <a:pt x="1654" y="1066"/>
                </a:lnTo>
                <a:lnTo>
                  <a:pt x="1658" y="1066"/>
                </a:lnTo>
                <a:lnTo>
                  <a:pt x="1661" y="1066"/>
                </a:lnTo>
                <a:lnTo>
                  <a:pt x="1661" y="1069"/>
                </a:lnTo>
                <a:lnTo>
                  <a:pt x="1661" y="1072"/>
                </a:lnTo>
                <a:lnTo>
                  <a:pt x="1661" y="1074"/>
                </a:lnTo>
                <a:lnTo>
                  <a:pt x="1663" y="1078"/>
                </a:lnTo>
                <a:lnTo>
                  <a:pt x="1669" y="1081"/>
                </a:lnTo>
                <a:lnTo>
                  <a:pt x="1678" y="1083"/>
                </a:lnTo>
                <a:lnTo>
                  <a:pt x="1681" y="1078"/>
                </a:lnTo>
                <a:lnTo>
                  <a:pt x="1684" y="1072"/>
                </a:lnTo>
                <a:lnTo>
                  <a:pt x="1695" y="1072"/>
                </a:lnTo>
                <a:lnTo>
                  <a:pt x="1703" y="1072"/>
                </a:lnTo>
                <a:lnTo>
                  <a:pt x="1706" y="1078"/>
                </a:lnTo>
                <a:lnTo>
                  <a:pt x="1710" y="1083"/>
                </a:lnTo>
                <a:lnTo>
                  <a:pt x="1716" y="1076"/>
                </a:lnTo>
                <a:lnTo>
                  <a:pt x="1722" y="1071"/>
                </a:lnTo>
                <a:lnTo>
                  <a:pt x="1733" y="1071"/>
                </a:lnTo>
                <a:lnTo>
                  <a:pt x="1745" y="1071"/>
                </a:lnTo>
                <a:lnTo>
                  <a:pt x="1750" y="1072"/>
                </a:lnTo>
                <a:lnTo>
                  <a:pt x="1754" y="1076"/>
                </a:lnTo>
                <a:lnTo>
                  <a:pt x="1777" y="1066"/>
                </a:lnTo>
                <a:lnTo>
                  <a:pt x="1801" y="1057"/>
                </a:lnTo>
                <a:lnTo>
                  <a:pt x="1806" y="1054"/>
                </a:lnTo>
                <a:lnTo>
                  <a:pt x="1809" y="1054"/>
                </a:lnTo>
                <a:lnTo>
                  <a:pt x="1812" y="1057"/>
                </a:lnTo>
                <a:lnTo>
                  <a:pt x="1812" y="1062"/>
                </a:lnTo>
                <a:lnTo>
                  <a:pt x="1804" y="1072"/>
                </a:lnTo>
                <a:lnTo>
                  <a:pt x="1796" y="1083"/>
                </a:lnTo>
                <a:lnTo>
                  <a:pt x="1787" y="1084"/>
                </a:lnTo>
                <a:lnTo>
                  <a:pt x="1779" y="1086"/>
                </a:lnTo>
                <a:lnTo>
                  <a:pt x="1780" y="1091"/>
                </a:lnTo>
                <a:lnTo>
                  <a:pt x="1780" y="1094"/>
                </a:lnTo>
                <a:lnTo>
                  <a:pt x="1785" y="1094"/>
                </a:lnTo>
                <a:lnTo>
                  <a:pt x="1791" y="1094"/>
                </a:lnTo>
                <a:lnTo>
                  <a:pt x="1796" y="1089"/>
                </a:lnTo>
                <a:lnTo>
                  <a:pt x="1801" y="1084"/>
                </a:lnTo>
                <a:lnTo>
                  <a:pt x="1816" y="1066"/>
                </a:lnTo>
                <a:lnTo>
                  <a:pt x="1833" y="1046"/>
                </a:lnTo>
                <a:lnTo>
                  <a:pt x="1844" y="1029"/>
                </a:lnTo>
                <a:lnTo>
                  <a:pt x="1856" y="1014"/>
                </a:lnTo>
                <a:lnTo>
                  <a:pt x="1863" y="1008"/>
                </a:lnTo>
                <a:lnTo>
                  <a:pt x="1871" y="1003"/>
                </a:lnTo>
                <a:lnTo>
                  <a:pt x="1878" y="1000"/>
                </a:lnTo>
                <a:lnTo>
                  <a:pt x="1886" y="1000"/>
                </a:lnTo>
                <a:lnTo>
                  <a:pt x="1892" y="998"/>
                </a:lnTo>
                <a:lnTo>
                  <a:pt x="1895" y="998"/>
                </a:lnTo>
                <a:lnTo>
                  <a:pt x="1898" y="995"/>
                </a:lnTo>
                <a:lnTo>
                  <a:pt x="1902" y="990"/>
                </a:lnTo>
                <a:lnTo>
                  <a:pt x="1908" y="980"/>
                </a:lnTo>
                <a:lnTo>
                  <a:pt x="1915" y="966"/>
                </a:lnTo>
                <a:lnTo>
                  <a:pt x="1922" y="950"/>
                </a:lnTo>
                <a:lnTo>
                  <a:pt x="1927" y="938"/>
                </a:lnTo>
                <a:lnTo>
                  <a:pt x="1918" y="933"/>
                </a:lnTo>
                <a:lnTo>
                  <a:pt x="1903" y="923"/>
                </a:lnTo>
                <a:lnTo>
                  <a:pt x="1897" y="916"/>
                </a:lnTo>
                <a:lnTo>
                  <a:pt x="1888" y="911"/>
                </a:lnTo>
                <a:lnTo>
                  <a:pt x="1881" y="907"/>
                </a:lnTo>
                <a:lnTo>
                  <a:pt x="1875" y="906"/>
                </a:lnTo>
                <a:lnTo>
                  <a:pt x="1870" y="906"/>
                </a:lnTo>
                <a:lnTo>
                  <a:pt x="1865" y="906"/>
                </a:lnTo>
                <a:lnTo>
                  <a:pt x="1858" y="906"/>
                </a:lnTo>
                <a:lnTo>
                  <a:pt x="1853" y="907"/>
                </a:lnTo>
                <a:lnTo>
                  <a:pt x="1848" y="911"/>
                </a:lnTo>
                <a:lnTo>
                  <a:pt x="1843" y="912"/>
                </a:lnTo>
                <a:lnTo>
                  <a:pt x="1838" y="914"/>
                </a:lnTo>
                <a:lnTo>
                  <a:pt x="1833" y="912"/>
                </a:lnTo>
                <a:lnTo>
                  <a:pt x="1829" y="912"/>
                </a:lnTo>
                <a:lnTo>
                  <a:pt x="1824" y="909"/>
                </a:lnTo>
                <a:lnTo>
                  <a:pt x="1821" y="906"/>
                </a:lnTo>
                <a:lnTo>
                  <a:pt x="1816" y="902"/>
                </a:lnTo>
                <a:lnTo>
                  <a:pt x="1804" y="891"/>
                </a:lnTo>
                <a:lnTo>
                  <a:pt x="1794" y="880"/>
                </a:lnTo>
                <a:lnTo>
                  <a:pt x="1789" y="877"/>
                </a:lnTo>
                <a:lnTo>
                  <a:pt x="1785" y="874"/>
                </a:lnTo>
                <a:lnTo>
                  <a:pt x="1782" y="872"/>
                </a:lnTo>
                <a:lnTo>
                  <a:pt x="1779" y="872"/>
                </a:lnTo>
                <a:lnTo>
                  <a:pt x="1775" y="872"/>
                </a:lnTo>
                <a:lnTo>
                  <a:pt x="1772" y="874"/>
                </a:lnTo>
                <a:lnTo>
                  <a:pt x="1769" y="877"/>
                </a:lnTo>
                <a:lnTo>
                  <a:pt x="1765" y="880"/>
                </a:lnTo>
                <a:lnTo>
                  <a:pt x="1759" y="892"/>
                </a:lnTo>
                <a:lnTo>
                  <a:pt x="1752" y="904"/>
                </a:lnTo>
                <a:lnTo>
                  <a:pt x="1745" y="911"/>
                </a:lnTo>
                <a:lnTo>
                  <a:pt x="1738" y="914"/>
                </a:lnTo>
                <a:lnTo>
                  <a:pt x="1735" y="912"/>
                </a:lnTo>
                <a:lnTo>
                  <a:pt x="1732" y="911"/>
                </a:lnTo>
                <a:lnTo>
                  <a:pt x="1728" y="907"/>
                </a:lnTo>
                <a:lnTo>
                  <a:pt x="1727" y="902"/>
                </a:lnTo>
                <a:lnTo>
                  <a:pt x="1720" y="899"/>
                </a:lnTo>
                <a:lnTo>
                  <a:pt x="1711" y="896"/>
                </a:lnTo>
                <a:lnTo>
                  <a:pt x="1705" y="894"/>
                </a:lnTo>
                <a:lnTo>
                  <a:pt x="1696" y="892"/>
                </a:lnTo>
                <a:lnTo>
                  <a:pt x="1678" y="892"/>
                </a:lnTo>
                <a:lnTo>
                  <a:pt x="1659" y="894"/>
                </a:lnTo>
                <a:lnTo>
                  <a:pt x="1658" y="877"/>
                </a:lnTo>
                <a:lnTo>
                  <a:pt x="1658" y="862"/>
                </a:lnTo>
                <a:lnTo>
                  <a:pt x="1659" y="848"/>
                </a:lnTo>
                <a:lnTo>
                  <a:pt x="1661" y="837"/>
                </a:lnTo>
                <a:lnTo>
                  <a:pt x="1664" y="825"/>
                </a:lnTo>
                <a:lnTo>
                  <a:pt x="1668" y="816"/>
                </a:lnTo>
                <a:lnTo>
                  <a:pt x="1673" y="808"/>
                </a:lnTo>
                <a:lnTo>
                  <a:pt x="1678" y="801"/>
                </a:lnTo>
                <a:lnTo>
                  <a:pt x="1688" y="776"/>
                </a:lnTo>
                <a:lnTo>
                  <a:pt x="1696" y="756"/>
                </a:lnTo>
                <a:lnTo>
                  <a:pt x="1706" y="739"/>
                </a:lnTo>
                <a:lnTo>
                  <a:pt x="1715" y="727"/>
                </a:lnTo>
                <a:lnTo>
                  <a:pt x="1728" y="707"/>
                </a:lnTo>
                <a:lnTo>
                  <a:pt x="1740" y="687"/>
                </a:lnTo>
                <a:lnTo>
                  <a:pt x="1750" y="665"/>
                </a:lnTo>
                <a:lnTo>
                  <a:pt x="1759" y="640"/>
                </a:lnTo>
                <a:lnTo>
                  <a:pt x="1764" y="635"/>
                </a:lnTo>
                <a:lnTo>
                  <a:pt x="1765" y="628"/>
                </a:lnTo>
                <a:lnTo>
                  <a:pt x="1764" y="623"/>
                </a:lnTo>
                <a:lnTo>
                  <a:pt x="1762" y="616"/>
                </a:lnTo>
                <a:lnTo>
                  <a:pt x="1757" y="609"/>
                </a:lnTo>
                <a:lnTo>
                  <a:pt x="1750" y="603"/>
                </a:lnTo>
                <a:lnTo>
                  <a:pt x="1743" y="596"/>
                </a:lnTo>
                <a:lnTo>
                  <a:pt x="1733" y="589"/>
                </a:lnTo>
                <a:lnTo>
                  <a:pt x="1723" y="579"/>
                </a:lnTo>
                <a:lnTo>
                  <a:pt x="1716" y="569"/>
                </a:lnTo>
                <a:lnTo>
                  <a:pt x="1711" y="559"/>
                </a:lnTo>
                <a:lnTo>
                  <a:pt x="1710" y="549"/>
                </a:lnTo>
                <a:lnTo>
                  <a:pt x="1705" y="540"/>
                </a:lnTo>
                <a:lnTo>
                  <a:pt x="1701" y="534"/>
                </a:lnTo>
                <a:lnTo>
                  <a:pt x="1698" y="527"/>
                </a:lnTo>
                <a:lnTo>
                  <a:pt x="1696" y="518"/>
                </a:lnTo>
                <a:lnTo>
                  <a:pt x="1696" y="505"/>
                </a:lnTo>
                <a:lnTo>
                  <a:pt x="1698" y="490"/>
                </a:lnTo>
                <a:lnTo>
                  <a:pt x="1696" y="471"/>
                </a:lnTo>
                <a:lnTo>
                  <a:pt x="1693" y="453"/>
                </a:lnTo>
                <a:lnTo>
                  <a:pt x="1690" y="446"/>
                </a:lnTo>
                <a:lnTo>
                  <a:pt x="1688" y="441"/>
                </a:lnTo>
                <a:lnTo>
                  <a:pt x="1684" y="438"/>
                </a:lnTo>
                <a:lnTo>
                  <a:pt x="1681" y="436"/>
                </a:lnTo>
                <a:lnTo>
                  <a:pt x="1678" y="436"/>
                </a:lnTo>
                <a:lnTo>
                  <a:pt x="1674" y="438"/>
                </a:lnTo>
                <a:lnTo>
                  <a:pt x="1669" y="441"/>
                </a:lnTo>
                <a:lnTo>
                  <a:pt x="1666" y="446"/>
                </a:lnTo>
                <a:lnTo>
                  <a:pt x="1658" y="456"/>
                </a:lnTo>
                <a:lnTo>
                  <a:pt x="1651" y="468"/>
                </a:lnTo>
                <a:lnTo>
                  <a:pt x="1644" y="473"/>
                </a:lnTo>
                <a:lnTo>
                  <a:pt x="1639" y="476"/>
                </a:lnTo>
                <a:lnTo>
                  <a:pt x="1634" y="476"/>
                </a:lnTo>
                <a:lnTo>
                  <a:pt x="1631" y="475"/>
                </a:lnTo>
                <a:lnTo>
                  <a:pt x="1631" y="470"/>
                </a:lnTo>
                <a:lnTo>
                  <a:pt x="1631" y="463"/>
                </a:lnTo>
                <a:lnTo>
                  <a:pt x="1632" y="454"/>
                </a:lnTo>
                <a:lnTo>
                  <a:pt x="1634" y="443"/>
                </a:lnTo>
                <a:lnTo>
                  <a:pt x="1637" y="436"/>
                </a:lnTo>
                <a:lnTo>
                  <a:pt x="1637" y="429"/>
                </a:lnTo>
                <a:lnTo>
                  <a:pt x="1636" y="422"/>
                </a:lnTo>
                <a:lnTo>
                  <a:pt x="1634" y="416"/>
                </a:lnTo>
                <a:lnTo>
                  <a:pt x="1631" y="411"/>
                </a:lnTo>
                <a:lnTo>
                  <a:pt x="1626" y="404"/>
                </a:lnTo>
                <a:lnTo>
                  <a:pt x="1619" y="399"/>
                </a:lnTo>
                <a:lnTo>
                  <a:pt x="1612" y="394"/>
                </a:lnTo>
                <a:lnTo>
                  <a:pt x="1605" y="387"/>
                </a:lnTo>
                <a:lnTo>
                  <a:pt x="1599" y="384"/>
                </a:lnTo>
                <a:lnTo>
                  <a:pt x="1592" y="382"/>
                </a:lnTo>
                <a:lnTo>
                  <a:pt x="1587" y="382"/>
                </a:lnTo>
                <a:lnTo>
                  <a:pt x="1582" y="384"/>
                </a:lnTo>
                <a:lnTo>
                  <a:pt x="1578" y="387"/>
                </a:lnTo>
                <a:lnTo>
                  <a:pt x="1573" y="390"/>
                </a:lnTo>
                <a:lnTo>
                  <a:pt x="1570" y="395"/>
                </a:lnTo>
                <a:lnTo>
                  <a:pt x="1565" y="402"/>
                </a:lnTo>
                <a:lnTo>
                  <a:pt x="1557" y="407"/>
                </a:lnTo>
                <a:lnTo>
                  <a:pt x="1548" y="411"/>
                </a:lnTo>
                <a:lnTo>
                  <a:pt x="1536" y="414"/>
                </a:lnTo>
                <a:lnTo>
                  <a:pt x="1526" y="416"/>
                </a:lnTo>
                <a:lnTo>
                  <a:pt x="1518" y="416"/>
                </a:lnTo>
                <a:lnTo>
                  <a:pt x="1509" y="416"/>
                </a:lnTo>
                <a:lnTo>
                  <a:pt x="1501" y="412"/>
                </a:lnTo>
                <a:lnTo>
                  <a:pt x="1493" y="409"/>
                </a:lnTo>
                <a:lnTo>
                  <a:pt x="1484" y="404"/>
                </a:lnTo>
                <a:lnTo>
                  <a:pt x="1476" y="397"/>
                </a:lnTo>
                <a:lnTo>
                  <a:pt x="1467" y="390"/>
                </a:lnTo>
                <a:lnTo>
                  <a:pt x="1464" y="385"/>
                </a:lnTo>
                <a:lnTo>
                  <a:pt x="1459" y="382"/>
                </a:lnTo>
                <a:lnTo>
                  <a:pt x="1454" y="380"/>
                </a:lnTo>
                <a:lnTo>
                  <a:pt x="1445" y="380"/>
                </a:lnTo>
                <a:lnTo>
                  <a:pt x="1439" y="380"/>
                </a:lnTo>
                <a:lnTo>
                  <a:pt x="1434" y="380"/>
                </a:lnTo>
                <a:lnTo>
                  <a:pt x="1430" y="380"/>
                </a:lnTo>
                <a:lnTo>
                  <a:pt x="1427" y="379"/>
                </a:lnTo>
                <a:lnTo>
                  <a:pt x="1424" y="375"/>
                </a:lnTo>
                <a:lnTo>
                  <a:pt x="1422" y="372"/>
                </a:lnTo>
                <a:lnTo>
                  <a:pt x="1420" y="367"/>
                </a:lnTo>
                <a:lnTo>
                  <a:pt x="1420" y="362"/>
                </a:lnTo>
                <a:lnTo>
                  <a:pt x="1420" y="357"/>
                </a:lnTo>
                <a:lnTo>
                  <a:pt x="1420" y="352"/>
                </a:lnTo>
                <a:lnTo>
                  <a:pt x="1419" y="348"/>
                </a:lnTo>
                <a:lnTo>
                  <a:pt x="1417" y="345"/>
                </a:lnTo>
                <a:lnTo>
                  <a:pt x="1412" y="342"/>
                </a:lnTo>
                <a:lnTo>
                  <a:pt x="1403" y="338"/>
                </a:lnTo>
                <a:lnTo>
                  <a:pt x="1398" y="338"/>
                </a:lnTo>
                <a:lnTo>
                  <a:pt x="1392" y="337"/>
                </a:lnTo>
                <a:lnTo>
                  <a:pt x="1387" y="335"/>
                </a:lnTo>
                <a:lnTo>
                  <a:pt x="1382" y="330"/>
                </a:lnTo>
                <a:lnTo>
                  <a:pt x="1378" y="325"/>
                </a:lnTo>
                <a:lnTo>
                  <a:pt x="1375" y="318"/>
                </a:lnTo>
                <a:lnTo>
                  <a:pt x="1373" y="310"/>
                </a:lnTo>
                <a:lnTo>
                  <a:pt x="1371" y="299"/>
                </a:lnTo>
                <a:lnTo>
                  <a:pt x="1371" y="289"/>
                </a:lnTo>
                <a:lnTo>
                  <a:pt x="1371" y="279"/>
                </a:lnTo>
                <a:lnTo>
                  <a:pt x="1368" y="271"/>
                </a:lnTo>
                <a:lnTo>
                  <a:pt x="1365" y="259"/>
                </a:lnTo>
                <a:lnTo>
                  <a:pt x="1358" y="254"/>
                </a:lnTo>
                <a:lnTo>
                  <a:pt x="1355" y="251"/>
                </a:lnTo>
                <a:lnTo>
                  <a:pt x="1355" y="246"/>
                </a:lnTo>
                <a:lnTo>
                  <a:pt x="1356" y="242"/>
                </a:lnTo>
                <a:lnTo>
                  <a:pt x="1351" y="239"/>
                </a:lnTo>
                <a:lnTo>
                  <a:pt x="1348" y="237"/>
                </a:lnTo>
                <a:lnTo>
                  <a:pt x="1343" y="237"/>
                </a:lnTo>
                <a:lnTo>
                  <a:pt x="1339" y="239"/>
                </a:lnTo>
                <a:lnTo>
                  <a:pt x="1334" y="246"/>
                </a:lnTo>
                <a:lnTo>
                  <a:pt x="1329" y="252"/>
                </a:lnTo>
                <a:lnTo>
                  <a:pt x="1326" y="256"/>
                </a:lnTo>
                <a:lnTo>
                  <a:pt x="1321" y="257"/>
                </a:lnTo>
                <a:lnTo>
                  <a:pt x="1318" y="259"/>
                </a:lnTo>
                <a:lnTo>
                  <a:pt x="1314" y="257"/>
                </a:lnTo>
                <a:lnTo>
                  <a:pt x="1312" y="254"/>
                </a:lnTo>
                <a:lnTo>
                  <a:pt x="1311" y="251"/>
                </a:lnTo>
                <a:lnTo>
                  <a:pt x="1311" y="246"/>
                </a:lnTo>
                <a:lnTo>
                  <a:pt x="1314" y="239"/>
                </a:lnTo>
                <a:lnTo>
                  <a:pt x="1314" y="234"/>
                </a:lnTo>
                <a:lnTo>
                  <a:pt x="1314" y="227"/>
                </a:lnTo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9525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84291" name="Text Box 18"/>
          <p:cNvSpPr txBox="1">
            <a:spLocks noChangeArrowheads="1"/>
          </p:cNvSpPr>
          <p:nvPr/>
        </p:nvSpPr>
        <p:spPr bwMode="auto">
          <a:xfrm>
            <a:off x="5681663" y="2776538"/>
            <a:ext cx="280987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/>
            <a:r>
              <a:rPr lang="ru-RU" sz="800"/>
              <a:t>Купол</a:t>
            </a:r>
          </a:p>
        </p:txBody>
      </p:sp>
      <p:sp>
        <p:nvSpPr>
          <p:cNvPr id="32783" name="Freeform 19"/>
          <p:cNvSpPr>
            <a:spLocks/>
          </p:cNvSpPr>
          <p:nvPr/>
        </p:nvSpPr>
        <p:spPr bwMode="auto">
          <a:xfrm>
            <a:off x="6292850" y="3446463"/>
            <a:ext cx="1314450" cy="1000125"/>
          </a:xfrm>
          <a:custGeom>
            <a:avLst/>
            <a:gdLst>
              <a:gd name="T0" fmla="*/ 1096836848 w 1192"/>
              <a:gd name="T1" fmla="*/ 90975894 h 902"/>
              <a:gd name="T2" fmla="*/ 1093189028 w 1192"/>
              <a:gd name="T3" fmla="*/ 12294220 h 902"/>
              <a:gd name="T4" fmla="*/ 1173445464 w 1192"/>
              <a:gd name="T5" fmla="*/ 142610951 h 902"/>
              <a:gd name="T6" fmla="*/ 1132100939 w 1192"/>
              <a:gd name="T7" fmla="*/ 164740102 h 902"/>
              <a:gd name="T8" fmla="*/ 1164933518 w 1192"/>
              <a:gd name="T9" fmla="*/ 161052280 h 902"/>
              <a:gd name="T10" fmla="*/ 1198981302 w 1192"/>
              <a:gd name="T11" fmla="*/ 164740102 h 902"/>
              <a:gd name="T12" fmla="*/ 1303558370 w 1192"/>
              <a:gd name="T13" fmla="*/ 403245521 h 902"/>
              <a:gd name="T14" fmla="*/ 1383814806 w 1192"/>
              <a:gd name="T15" fmla="*/ 457338757 h 902"/>
              <a:gd name="T16" fmla="*/ 1380166986 w 1192"/>
              <a:gd name="T17" fmla="*/ 556921048 h 902"/>
              <a:gd name="T18" fmla="*/ 1428807150 w 1192"/>
              <a:gd name="T19" fmla="*/ 649126585 h 902"/>
              <a:gd name="T20" fmla="*/ 1426374535 w 1192"/>
              <a:gd name="T21" fmla="*/ 661420805 h 902"/>
              <a:gd name="T22" fmla="*/ 1357062661 w 1192"/>
              <a:gd name="T23" fmla="*/ 699531998 h 902"/>
              <a:gd name="T24" fmla="*/ 1393543059 w 1192"/>
              <a:gd name="T25" fmla="*/ 748708876 h 902"/>
              <a:gd name="T26" fmla="*/ 1257349719 w 1192"/>
              <a:gd name="T27" fmla="*/ 759773452 h 902"/>
              <a:gd name="T28" fmla="*/ 1115077047 w 1192"/>
              <a:gd name="T29" fmla="*/ 721661150 h 902"/>
              <a:gd name="T30" fmla="*/ 1095621643 w 1192"/>
              <a:gd name="T31" fmla="*/ 703220929 h 902"/>
              <a:gd name="T32" fmla="*/ 1056708630 w 1192"/>
              <a:gd name="T33" fmla="*/ 745019945 h 902"/>
              <a:gd name="T34" fmla="*/ 1060357552 w 1192"/>
              <a:gd name="T35" fmla="*/ 672485381 h 902"/>
              <a:gd name="T36" fmla="*/ 1042117353 w 1192"/>
              <a:gd name="T37" fmla="*/ 660191161 h 902"/>
              <a:gd name="T38" fmla="*/ 1017796720 w 1192"/>
              <a:gd name="T39" fmla="*/ 672485381 h 902"/>
              <a:gd name="T40" fmla="*/ 998340213 w 1192"/>
              <a:gd name="T41" fmla="*/ 681090669 h 902"/>
              <a:gd name="T42" fmla="*/ 1000772828 w 1192"/>
              <a:gd name="T43" fmla="*/ 727808260 h 902"/>
              <a:gd name="T44" fmla="*/ 958211995 w 1192"/>
              <a:gd name="T45" fmla="*/ 802802112 h 902"/>
              <a:gd name="T46" fmla="*/ 874307741 w 1192"/>
              <a:gd name="T47" fmla="*/ 887632004 h 902"/>
              <a:gd name="T48" fmla="*/ 749060064 w 1192"/>
              <a:gd name="T49" fmla="*/ 974918967 h 902"/>
              <a:gd name="T50" fmla="*/ 643266688 w 1192"/>
              <a:gd name="T51" fmla="*/ 1053601750 h 902"/>
              <a:gd name="T52" fmla="*/ 637187357 w 1192"/>
              <a:gd name="T53" fmla="*/ 1081878012 h 902"/>
              <a:gd name="T54" fmla="*/ 577602632 w 1192"/>
              <a:gd name="T55" fmla="*/ 1069583792 h 902"/>
              <a:gd name="T56" fmla="*/ 520450523 w 1192"/>
              <a:gd name="T57" fmla="*/ 1015489448 h 902"/>
              <a:gd name="T58" fmla="*/ 464514721 w 1192"/>
              <a:gd name="T59" fmla="*/ 956478747 h 902"/>
              <a:gd name="T60" fmla="*/ 499778812 w 1192"/>
              <a:gd name="T61" fmla="*/ 897466937 h 902"/>
              <a:gd name="T62" fmla="*/ 409794123 w 1192"/>
              <a:gd name="T63" fmla="*/ 866731388 h 902"/>
              <a:gd name="T64" fmla="*/ 272385578 w 1192"/>
              <a:gd name="T65" fmla="*/ 947872350 h 902"/>
              <a:gd name="T66" fmla="*/ 204288908 w 1192"/>
              <a:gd name="T67" fmla="*/ 935578130 h 902"/>
              <a:gd name="T68" fmla="*/ 153217232 w 1192"/>
              <a:gd name="T69" fmla="*/ 923283910 h 902"/>
              <a:gd name="T70" fmla="*/ 71744489 w 1192"/>
              <a:gd name="T71" fmla="*/ 972460789 h 902"/>
              <a:gd name="T72" fmla="*/ 75392309 w 1192"/>
              <a:gd name="T73" fmla="*/ 891319827 h 902"/>
              <a:gd name="T74" fmla="*/ 149568310 w 1192"/>
              <a:gd name="T75" fmla="*/ 851978990 h 902"/>
              <a:gd name="T76" fmla="*/ 190912835 w 1192"/>
              <a:gd name="T77" fmla="*/ 827390551 h 902"/>
              <a:gd name="T78" fmla="*/ 274817090 w 1192"/>
              <a:gd name="T79" fmla="*/ 815096331 h 902"/>
              <a:gd name="T80" fmla="*/ 276033397 w 1192"/>
              <a:gd name="T81" fmla="*/ 748708876 h 902"/>
              <a:gd name="T82" fmla="*/ 288193163 w 1192"/>
              <a:gd name="T83" fmla="*/ 706908752 h 902"/>
              <a:gd name="T84" fmla="*/ 302785542 w 1192"/>
              <a:gd name="T85" fmla="*/ 688467422 h 902"/>
              <a:gd name="T86" fmla="*/ 347777887 w 1192"/>
              <a:gd name="T87" fmla="*/ 657732982 h 902"/>
              <a:gd name="T88" fmla="*/ 374530032 w 1192"/>
              <a:gd name="T89" fmla="*/ 647896942 h 902"/>
              <a:gd name="T90" fmla="*/ 421953888 w 1192"/>
              <a:gd name="T91" fmla="*/ 694614532 h 902"/>
              <a:gd name="T92" fmla="*/ 462082106 w 1192"/>
              <a:gd name="T93" fmla="*/ 649126585 h 902"/>
              <a:gd name="T94" fmla="*/ 539907029 w 1192"/>
              <a:gd name="T95" fmla="*/ 635602722 h 902"/>
              <a:gd name="T96" fmla="*/ 638402561 w 1192"/>
              <a:gd name="T97" fmla="*/ 622079968 h 902"/>
              <a:gd name="T98" fmla="*/ 689475340 w 1192"/>
              <a:gd name="T99" fmla="*/ 596261885 h 902"/>
              <a:gd name="T100" fmla="*/ 727170943 w 1192"/>
              <a:gd name="T101" fmla="*/ 529874430 h 902"/>
              <a:gd name="T102" fmla="*/ 802563251 w 1192"/>
              <a:gd name="T103" fmla="*/ 496680703 h 902"/>
              <a:gd name="T104" fmla="*/ 778243721 w 1192"/>
              <a:gd name="T105" fmla="*/ 587656596 h 902"/>
              <a:gd name="T106" fmla="*/ 847555596 w 1192"/>
              <a:gd name="T107" fmla="*/ 582739130 h 902"/>
              <a:gd name="T108" fmla="*/ 896195759 w 1192"/>
              <a:gd name="T109" fmla="*/ 612243927 h 902"/>
              <a:gd name="T110" fmla="*/ 947268538 w 1192"/>
              <a:gd name="T111" fmla="*/ 536021540 h 902"/>
              <a:gd name="T112" fmla="*/ 1027524973 w 1192"/>
              <a:gd name="T113" fmla="*/ 542168650 h 902"/>
              <a:gd name="T114" fmla="*/ 1039684738 w 1192"/>
              <a:gd name="T115" fmla="*/ 451191647 h 902"/>
              <a:gd name="T116" fmla="*/ 1004420647 w 1192"/>
              <a:gd name="T117" fmla="*/ 264322393 h 902"/>
              <a:gd name="T118" fmla="*/ 919300085 w 1192"/>
              <a:gd name="T119" fmla="*/ 297516121 h 902"/>
              <a:gd name="T120" fmla="*/ 875524048 w 1192"/>
              <a:gd name="T121" fmla="*/ 281534079 h 902"/>
              <a:gd name="T122" fmla="*/ 953348972 w 1192"/>
              <a:gd name="T123" fmla="*/ 194246007 h 902"/>
              <a:gd name="T124" fmla="*/ 994692394 w 1192"/>
              <a:gd name="T125" fmla="*/ 115564333 h 902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1192" h="902">
                <a:moveTo>
                  <a:pt x="816" y="45"/>
                </a:moveTo>
                <a:lnTo>
                  <a:pt x="826" y="53"/>
                </a:lnTo>
                <a:lnTo>
                  <a:pt x="837" y="60"/>
                </a:lnTo>
                <a:lnTo>
                  <a:pt x="847" y="65"/>
                </a:lnTo>
                <a:lnTo>
                  <a:pt x="857" y="69"/>
                </a:lnTo>
                <a:lnTo>
                  <a:pt x="867" y="72"/>
                </a:lnTo>
                <a:lnTo>
                  <a:pt x="879" y="74"/>
                </a:lnTo>
                <a:lnTo>
                  <a:pt x="890" y="75"/>
                </a:lnTo>
                <a:lnTo>
                  <a:pt x="902" y="74"/>
                </a:lnTo>
                <a:lnTo>
                  <a:pt x="896" y="67"/>
                </a:lnTo>
                <a:lnTo>
                  <a:pt x="889" y="60"/>
                </a:lnTo>
                <a:lnTo>
                  <a:pt x="896" y="55"/>
                </a:lnTo>
                <a:lnTo>
                  <a:pt x="899" y="48"/>
                </a:lnTo>
                <a:lnTo>
                  <a:pt x="902" y="42"/>
                </a:lnTo>
                <a:lnTo>
                  <a:pt x="904" y="35"/>
                </a:lnTo>
                <a:lnTo>
                  <a:pt x="904" y="26"/>
                </a:lnTo>
                <a:lnTo>
                  <a:pt x="902" y="18"/>
                </a:lnTo>
                <a:lnTo>
                  <a:pt x="899" y="10"/>
                </a:lnTo>
                <a:lnTo>
                  <a:pt x="894" y="0"/>
                </a:lnTo>
                <a:lnTo>
                  <a:pt x="912" y="25"/>
                </a:lnTo>
                <a:lnTo>
                  <a:pt x="931" y="48"/>
                </a:lnTo>
                <a:lnTo>
                  <a:pt x="941" y="64"/>
                </a:lnTo>
                <a:lnTo>
                  <a:pt x="949" y="79"/>
                </a:lnTo>
                <a:lnTo>
                  <a:pt x="959" y="94"/>
                </a:lnTo>
                <a:lnTo>
                  <a:pt x="970" y="109"/>
                </a:lnTo>
                <a:lnTo>
                  <a:pt x="968" y="112"/>
                </a:lnTo>
                <a:lnTo>
                  <a:pt x="965" y="116"/>
                </a:lnTo>
                <a:lnTo>
                  <a:pt x="959" y="112"/>
                </a:lnTo>
                <a:lnTo>
                  <a:pt x="954" y="107"/>
                </a:lnTo>
                <a:lnTo>
                  <a:pt x="951" y="111"/>
                </a:lnTo>
                <a:lnTo>
                  <a:pt x="946" y="112"/>
                </a:lnTo>
                <a:lnTo>
                  <a:pt x="939" y="112"/>
                </a:lnTo>
                <a:lnTo>
                  <a:pt x="933" y="112"/>
                </a:lnTo>
                <a:lnTo>
                  <a:pt x="927" y="124"/>
                </a:lnTo>
                <a:lnTo>
                  <a:pt x="924" y="134"/>
                </a:lnTo>
                <a:lnTo>
                  <a:pt x="931" y="134"/>
                </a:lnTo>
                <a:lnTo>
                  <a:pt x="938" y="133"/>
                </a:lnTo>
                <a:lnTo>
                  <a:pt x="939" y="128"/>
                </a:lnTo>
                <a:lnTo>
                  <a:pt x="941" y="122"/>
                </a:lnTo>
                <a:lnTo>
                  <a:pt x="943" y="121"/>
                </a:lnTo>
                <a:lnTo>
                  <a:pt x="946" y="121"/>
                </a:lnTo>
                <a:lnTo>
                  <a:pt x="946" y="126"/>
                </a:lnTo>
                <a:lnTo>
                  <a:pt x="946" y="131"/>
                </a:lnTo>
                <a:lnTo>
                  <a:pt x="953" y="131"/>
                </a:lnTo>
                <a:lnTo>
                  <a:pt x="958" y="131"/>
                </a:lnTo>
                <a:lnTo>
                  <a:pt x="965" y="134"/>
                </a:lnTo>
                <a:lnTo>
                  <a:pt x="971" y="138"/>
                </a:lnTo>
                <a:lnTo>
                  <a:pt x="975" y="138"/>
                </a:lnTo>
                <a:lnTo>
                  <a:pt x="980" y="138"/>
                </a:lnTo>
                <a:lnTo>
                  <a:pt x="976" y="131"/>
                </a:lnTo>
                <a:lnTo>
                  <a:pt x="975" y="122"/>
                </a:lnTo>
                <a:lnTo>
                  <a:pt x="976" y="119"/>
                </a:lnTo>
                <a:lnTo>
                  <a:pt x="976" y="117"/>
                </a:lnTo>
                <a:lnTo>
                  <a:pt x="986" y="134"/>
                </a:lnTo>
                <a:lnTo>
                  <a:pt x="995" y="153"/>
                </a:lnTo>
                <a:lnTo>
                  <a:pt x="1005" y="180"/>
                </a:lnTo>
                <a:lnTo>
                  <a:pt x="1012" y="205"/>
                </a:lnTo>
                <a:lnTo>
                  <a:pt x="1018" y="227"/>
                </a:lnTo>
                <a:lnTo>
                  <a:pt x="1020" y="244"/>
                </a:lnTo>
                <a:lnTo>
                  <a:pt x="1037" y="276"/>
                </a:lnTo>
                <a:lnTo>
                  <a:pt x="1054" y="303"/>
                </a:lnTo>
                <a:lnTo>
                  <a:pt x="1062" y="316"/>
                </a:lnTo>
                <a:lnTo>
                  <a:pt x="1072" y="328"/>
                </a:lnTo>
                <a:lnTo>
                  <a:pt x="1081" y="338"/>
                </a:lnTo>
                <a:lnTo>
                  <a:pt x="1092" y="348"/>
                </a:lnTo>
                <a:lnTo>
                  <a:pt x="1101" y="350"/>
                </a:lnTo>
                <a:lnTo>
                  <a:pt x="1108" y="350"/>
                </a:lnTo>
                <a:lnTo>
                  <a:pt x="1113" y="353"/>
                </a:lnTo>
                <a:lnTo>
                  <a:pt x="1118" y="355"/>
                </a:lnTo>
                <a:lnTo>
                  <a:pt x="1126" y="360"/>
                </a:lnTo>
                <a:lnTo>
                  <a:pt x="1133" y="365"/>
                </a:lnTo>
                <a:lnTo>
                  <a:pt x="1138" y="372"/>
                </a:lnTo>
                <a:lnTo>
                  <a:pt x="1141" y="377"/>
                </a:lnTo>
                <a:lnTo>
                  <a:pt x="1145" y="384"/>
                </a:lnTo>
                <a:lnTo>
                  <a:pt x="1146" y="389"/>
                </a:lnTo>
                <a:lnTo>
                  <a:pt x="1146" y="395"/>
                </a:lnTo>
                <a:lnTo>
                  <a:pt x="1146" y="402"/>
                </a:lnTo>
                <a:lnTo>
                  <a:pt x="1136" y="407"/>
                </a:lnTo>
                <a:lnTo>
                  <a:pt x="1126" y="412"/>
                </a:lnTo>
                <a:lnTo>
                  <a:pt x="1129" y="432"/>
                </a:lnTo>
                <a:lnTo>
                  <a:pt x="1135" y="453"/>
                </a:lnTo>
                <a:lnTo>
                  <a:pt x="1151" y="453"/>
                </a:lnTo>
                <a:lnTo>
                  <a:pt x="1168" y="453"/>
                </a:lnTo>
                <a:lnTo>
                  <a:pt x="1178" y="473"/>
                </a:lnTo>
                <a:lnTo>
                  <a:pt x="1188" y="493"/>
                </a:lnTo>
                <a:lnTo>
                  <a:pt x="1190" y="513"/>
                </a:lnTo>
                <a:lnTo>
                  <a:pt x="1192" y="535"/>
                </a:lnTo>
                <a:lnTo>
                  <a:pt x="1185" y="535"/>
                </a:lnTo>
                <a:lnTo>
                  <a:pt x="1177" y="535"/>
                </a:lnTo>
                <a:lnTo>
                  <a:pt x="1175" y="528"/>
                </a:lnTo>
                <a:lnTo>
                  <a:pt x="1170" y="523"/>
                </a:lnTo>
                <a:lnTo>
                  <a:pt x="1161" y="518"/>
                </a:lnTo>
                <a:lnTo>
                  <a:pt x="1146" y="517"/>
                </a:lnTo>
                <a:lnTo>
                  <a:pt x="1145" y="518"/>
                </a:lnTo>
                <a:lnTo>
                  <a:pt x="1145" y="520"/>
                </a:lnTo>
                <a:lnTo>
                  <a:pt x="1145" y="522"/>
                </a:lnTo>
                <a:lnTo>
                  <a:pt x="1146" y="525"/>
                </a:lnTo>
                <a:lnTo>
                  <a:pt x="1155" y="530"/>
                </a:lnTo>
                <a:lnTo>
                  <a:pt x="1173" y="538"/>
                </a:lnTo>
                <a:lnTo>
                  <a:pt x="1172" y="559"/>
                </a:lnTo>
                <a:lnTo>
                  <a:pt x="1170" y="579"/>
                </a:lnTo>
                <a:lnTo>
                  <a:pt x="1156" y="579"/>
                </a:lnTo>
                <a:lnTo>
                  <a:pt x="1141" y="581"/>
                </a:lnTo>
                <a:lnTo>
                  <a:pt x="1138" y="577"/>
                </a:lnTo>
                <a:lnTo>
                  <a:pt x="1135" y="574"/>
                </a:lnTo>
                <a:lnTo>
                  <a:pt x="1131" y="570"/>
                </a:lnTo>
                <a:lnTo>
                  <a:pt x="1126" y="569"/>
                </a:lnTo>
                <a:lnTo>
                  <a:pt x="1116" y="569"/>
                </a:lnTo>
                <a:lnTo>
                  <a:pt x="1104" y="569"/>
                </a:lnTo>
                <a:lnTo>
                  <a:pt x="1109" y="581"/>
                </a:lnTo>
                <a:lnTo>
                  <a:pt x="1116" y="591"/>
                </a:lnTo>
                <a:lnTo>
                  <a:pt x="1119" y="594"/>
                </a:lnTo>
                <a:lnTo>
                  <a:pt x="1123" y="597"/>
                </a:lnTo>
                <a:lnTo>
                  <a:pt x="1128" y="599"/>
                </a:lnTo>
                <a:lnTo>
                  <a:pt x="1133" y="597"/>
                </a:lnTo>
                <a:lnTo>
                  <a:pt x="1140" y="602"/>
                </a:lnTo>
                <a:lnTo>
                  <a:pt x="1146" y="609"/>
                </a:lnTo>
                <a:lnTo>
                  <a:pt x="1146" y="629"/>
                </a:lnTo>
                <a:lnTo>
                  <a:pt x="1146" y="650"/>
                </a:lnTo>
                <a:lnTo>
                  <a:pt x="1135" y="639"/>
                </a:lnTo>
                <a:lnTo>
                  <a:pt x="1123" y="628"/>
                </a:lnTo>
                <a:lnTo>
                  <a:pt x="1104" y="628"/>
                </a:lnTo>
                <a:lnTo>
                  <a:pt x="1087" y="628"/>
                </a:lnTo>
                <a:lnTo>
                  <a:pt x="1069" y="626"/>
                </a:lnTo>
                <a:lnTo>
                  <a:pt x="1050" y="621"/>
                </a:lnTo>
                <a:lnTo>
                  <a:pt x="1034" y="618"/>
                </a:lnTo>
                <a:lnTo>
                  <a:pt x="1015" y="611"/>
                </a:lnTo>
                <a:lnTo>
                  <a:pt x="998" y="606"/>
                </a:lnTo>
                <a:lnTo>
                  <a:pt x="981" y="597"/>
                </a:lnTo>
                <a:lnTo>
                  <a:pt x="965" y="597"/>
                </a:lnTo>
                <a:lnTo>
                  <a:pt x="949" y="597"/>
                </a:lnTo>
                <a:lnTo>
                  <a:pt x="934" y="597"/>
                </a:lnTo>
                <a:lnTo>
                  <a:pt x="917" y="597"/>
                </a:lnTo>
                <a:lnTo>
                  <a:pt x="917" y="592"/>
                </a:lnTo>
                <a:lnTo>
                  <a:pt x="917" y="587"/>
                </a:lnTo>
                <a:lnTo>
                  <a:pt x="921" y="584"/>
                </a:lnTo>
                <a:lnTo>
                  <a:pt x="924" y="581"/>
                </a:lnTo>
                <a:lnTo>
                  <a:pt x="922" y="575"/>
                </a:lnTo>
                <a:lnTo>
                  <a:pt x="922" y="572"/>
                </a:lnTo>
                <a:lnTo>
                  <a:pt x="917" y="569"/>
                </a:lnTo>
                <a:lnTo>
                  <a:pt x="914" y="567"/>
                </a:lnTo>
                <a:lnTo>
                  <a:pt x="909" y="567"/>
                </a:lnTo>
                <a:lnTo>
                  <a:pt x="902" y="569"/>
                </a:lnTo>
                <a:lnTo>
                  <a:pt x="901" y="572"/>
                </a:lnTo>
                <a:lnTo>
                  <a:pt x="897" y="577"/>
                </a:lnTo>
                <a:lnTo>
                  <a:pt x="899" y="581"/>
                </a:lnTo>
                <a:lnTo>
                  <a:pt x="899" y="586"/>
                </a:lnTo>
                <a:lnTo>
                  <a:pt x="902" y="587"/>
                </a:lnTo>
                <a:lnTo>
                  <a:pt x="907" y="589"/>
                </a:lnTo>
                <a:lnTo>
                  <a:pt x="907" y="594"/>
                </a:lnTo>
                <a:lnTo>
                  <a:pt x="909" y="601"/>
                </a:lnTo>
                <a:lnTo>
                  <a:pt x="889" y="602"/>
                </a:lnTo>
                <a:lnTo>
                  <a:pt x="869" y="606"/>
                </a:lnTo>
                <a:lnTo>
                  <a:pt x="870" y="597"/>
                </a:lnTo>
                <a:lnTo>
                  <a:pt x="870" y="591"/>
                </a:lnTo>
                <a:lnTo>
                  <a:pt x="870" y="579"/>
                </a:lnTo>
                <a:lnTo>
                  <a:pt x="870" y="567"/>
                </a:lnTo>
                <a:lnTo>
                  <a:pt x="869" y="562"/>
                </a:lnTo>
                <a:lnTo>
                  <a:pt x="867" y="557"/>
                </a:lnTo>
                <a:lnTo>
                  <a:pt x="867" y="552"/>
                </a:lnTo>
                <a:lnTo>
                  <a:pt x="867" y="547"/>
                </a:lnTo>
                <a:lnTo>
                  <a:pt x="872" y="547"/>
                </a:lnTo>
                <a:lnTo>
                  <a:pt x="877" y="547"/>
                </a:lnTo>
                <a:lnTo>
                  <a:pt x="880" y="550"/>
                </a:lnTo>
                <a:lnTo>
                  <a:pt x="882" y="555"/>
                </a:lnTo>
                <a:lnTo>
                  <a:pt x="882" y="537"/>
                </a:lnTo>
                <a:lnTo>
                  <a:pt x="880" y="520"/>
                </a:lnTo>
                <a:lnTo>
                  <a:pt x="874" y="523"/>
                </a:lnTo>
                <a:lnTo>
                  <a:pt x="867" y="525"/>
                </a:lnTo>
                <a:lnTo>
                  <a:pt x="862" y="532"/>
                </a:lnTo>
                <a:lnTo>
                  <a:pt x="857" y="537"/>
                </a:lnTo>
                <a:lnTo>
                  <a:pt x="857" y="542"/>
                </a:lnTo>
                <a:lnTo>
                  <a:pt x="857" y="545"/>
                </a:lnTo>
                <a:lnTo>
                  <a:pt x="857" y="557"/>
                </a:lnTo>
                <a:lnTo>
                  <a:pt x="857" y="567"/>
                </a:lnTo>
                <a:lnTo>
                  <a:pt x="848" y="567"/>
                </a:lnTo>
                <a:lnTo>
                  <a:pt x="840" y="567"/>
                </a:lnTo>
                <a:lnTo>
                  <a:pt x="837" y="560"/>
                </a:lnTo>
                <a:lnTo>
                  <a:pt x="837" y="554"/>
                </a:lnTo>
                <a:lnTo>
                  <a:pt x="837" y="547"/>
                </a:lnTo>
                <a:lnTo>
                  <a:pt x="840" y="540"/>
                </a:lnTo>
                <a:lnTo>
                  <a:pt x="825" y="528"/>
                </a:lnTo>
                <a:lnTo>
                  <a:pt x="808" y="517"/>
                </a:lnTo>
                <a:lnTo>
                  <a:pt x="808" y="527"/>
                </a:lnTo>
                <a:lnTo>
                  <a:pt x="808" y="537"/>
                </a:lnTo>
                <a:lnTo>
                  <a:pt x="813" y="542"/>
                </a:lnTo>
                <a:lnTo>
                  <a:pt x="816" y="545"/>
                </a:lnTo>
                <a:lnTo>
                  <a:pt x="820" y="549"/>
                </a:lnTo>
                <a:lnTo>
                  <a:pt x="821" y="554"/>
                </a:lnTo>
                <a:lnTo>
                  <a:pt x="821" y="559"/>
                </a:lnTo>
                <a:lnTo>
                  <a:pt x="820" y="562"/>
                </a:lnTo>
                <a:lnTo>
                  <a:pt x="816" y="567"/>
                </a:lnTo>
                <a:lnTo>
                  <a:pt x="813" y="572"/>
                </a:lnTo>
                <a:lnTo>
                  <a:pt x="808" y="575"/>
                </a:lnTo>
                <a:lnTo>
                  <a:pt x="808" y="581"/>
                </a:lnTo>
                <a:lnTo>
                  <a:pt x="810" y="586"/>
                </a:lnTo>
                <a:lnTo>
                  <a:pt x="815" y="592"/>
                </a:lnTo>
                <a:lnTo>
                  <a:pt x="823" y="592"/>
                </a:lnTo>
                <a:lnTo>
                  <a:pt x="826" y="594"/>
                </a:lnTo>
                <a:lnTo>
                  <a:pt x="828" y="599"/>
                </a:lnTo>
                <a:lnTo>
                  <a:pt x="825" y="606"/>
                </a:lnTo>
                <a:lnTo>
                  <a:pt x="843" y="607"/>
                </a:lnTo>
                <a:lnTo>
                  <a:pt x="862" y="609"/>
                </a:lnTo>
                <a:lnTo>
                  <a:pt x="840" y="618"/>
                </a:lnTo>
                <a:lnTo>
                  <a:pt x="820" y="628"/>
                </a:lnTo>
                <a:lnTo>
                  <a:pt x="803" y="639"/>
                </a:lnTo>
                <a:lnTo>
                  <a:pt x="788" y="653"/>
                </a:lnTo>
                <a:lnTo>
                  <a:pt x="774" y="660"/>
                </a:lnTo>
                <a:lnTo>
                  <a:pt x="763" y="668"/>
                </a:lnTo>
                <a:lnTo>
                  <a:pt x="757" y="673"/>
                </a:lnTo>
                <a:lnTo>
                  <a:pt x="754" y="678"/>
                </a:lnTo>
                <a:lnTo>
                  <a:pt x="751" y="683"/>
                </a:lnTo>
                <a:lnTo>
                  <a:pt x="749" y="690"/>
                </a:lnTo>
                <a:lnTo>
                  <a:pt x="737" y="707"/>
                </a:lnTo>
                <a:lnTo>
                  <a:pt x="725" y="719"/>
                </a:lnTo>
                <a:lnTo>
                  <a:pt x="719" y="722"/>
                </a:lnTo>
                <a:lnTo>
                  <a:pt x="714" y="725"/>
                </a:lnTo>
                <a:lnTo>
                  <a:pt x="707" y="727"/>
                </a:lnTo>
                <a:lnTo>
                  <a:pt x="700" y="727"/>
                </a:lnTo>
                <a:lnTo>
                  <a:pt x="683" y="737"/>
                </a:lnTo>
                <a:lnTo>
                  <a:pt x="667" y="746"/>
                </a:lnTo>
                <a:lnTo>
                  <a:pt x="653" y="757"/>
                </a:lnTo>
                <a:lnTo>
                  <a:pt x="640" y="767"/>
                </a:lnTo>
                <a:lnTo>
                  <a:pt x="626" y="779"/>
                </a:lnTo>
                <a:lnTo>
                  <a:pt x="616" y="793"/>
                </a:lnTo>
                <a:lnTo>
                  <a:pt x="606" y="805"/>
                </a:lnTo>
                <a:lnTo>
                  <a:pt x="596" y="818"/>
                </a:lnTo>
                <a:lnTo>
                  <a:pt x="581" y="830"/>
                </a:lnTo>
                <a:lnTo>
                  <a:pt x="564" y="842"/>
                </a:lnTo>
                <a:lnTo>
                  <a:pt x="549" y="853"/>
                </a:lnTo>
                <a:lnTo>
                  <a:pt x="534" y="867"/>
                </a:lnTo>
                <a:lnTo>
                  <a:pt x="535" y="862"/>
                </a:lnTo>
                <a:lnTo>
                  <a:pt x="537" y="857"/>
                </a:lnTo>
                <a:lnTo>
                  <a:pt x="529" y="857"/>
                </a:lnTo>
                <a:lnTo>
                  <a:pt x="522" y="855"/>
                </a:lnTo>
                <a:lnTo>
                  <a:pt x="515" y="850"/>
                </a:lnTo>
                <a:lnTo>
                  <a:pt x="510" y="845"/>
                </a:lnTo>
                <a:lnTo>
                  <a:pt x="507" y="847"/>
                </a:lnTo>
                <a:lnTo>
                  <a:pt x="503" y="848"/>
                </a:lnTo>
                <a:lnTo>
                  <a:pt x="515" y="858"/>
                </a:lnTo>
                <a:lnTo>
                  <a:pt x="527" y="869"/>
                </a:lnTo>
                <a:lnTo>
                  <a:pt x="525" y="875"/>
                </a:lnTo>
                <a:lnTo>
                  <a:pt x="524" y="880"/>
                </a:lnTo>
                <a:lnTo>
                  <a:pt x="520" y="885"/>
                </a:lnTo>
                <a:lnTo>
                  <a:pt x="515" y="889"/>
                </a:lnTo>
                <a:lnTo>
                  <a:pt x="507" y="895"/>
                </a:lnTo>
                <a:lnTo>
                  <a:pt x="495" y="902"/>
                </a:lnTo>
                <a:lnTo>
                  <a:pt x="486" y="901"/>
                </a:lnTo>
                <a:lnTo>
                  <a:pt x="478" y="899"/>
                </a:lnTo>
                <a:lnTo>
                  <a:pt x="478" y="889"/>
                </a:lnTo>
                <a:lnTo>
                  <a:pt x="476" y="879"/>
                </a:lnTo>
                <a:lnTo>
                  <a:pt x="475" y="870"/>
                </a:lnTo>
                <a:lnTo>
                  <a:pt x="473" y="862"/>
                </a:lnTo>
                <a:lnTo>
                  <a:pt x="471" y="853"/>
                </a:lnTo>
                <a:lnTo>
                  <a:pt x="466" y="847"/>
                </a:lnTo>
                <a:lnTo>
                  <a:pt x="460" y="842"/>
                </a:lnTo>
                <a:lnTo>
                  <a:pt x="451" y="837"/>
                </a:lnTo>
                <a:lnTo>
                  <a:pt x="444" y="835"/>
                </a:lnTo>
                <a:lnTo>
                  <a:pt x="438" y="833"/>
                </a:lnTo>
                <a:lnTo>
                  <a:pt x="433" y="830"/>
                </a:lnTo>
                <a:lnTo>
                  <a:pt x="428" y="826"/>
                </a:lnTo>
                <a:lnTo>
                  <a:pt x="423" y="823"/>
                </a:lnTo>
                <a:lnTo>
                  <a:pt x="419" y="820"/>
                </a:lnTo>
                <a:lnTo>
                  <a:pt x="416" y="816"/>
                </a:lnTo>
                <a:lnTo>
                  <a:pt x="414" y="811"/>
                </a:lnTo>
                <a:lnTo>
                  <a:pt x="412" y="803"/>
                </a:lnTo>
                <a:lnTo>
                  <a:pt x="412" y="794"/>
                </a:lnTo>
                <a:lnTo>
                  <a:pt x="399" y="788"/>
                </a:lnTo>
                <a:lnTo>
                  <a:pt x="389" y="783"/>
                </a:lnTo>
                <a:lnTo>
                  <a:pt x="382" y="778"/>
                </a:lnTo>
                <a:lnTo>
                  <a:pt x="377" y="773"/>
                </a:lnTo>
                <a:lnTo>
                  <a:pt x="377" y="769"/>
                </a:lnTo>
                <a:lnTo>
                  <a:pt x="377" y="766"/>
                </a:lnTo>
                <a:lnTo>
                  <a:pt x="379" y="764"/>
                </a:lnTo>
                <a:lnTo>
                  <a:pt x="380" y="761"/>
                </a:lnTo>
                <a:lnTo>
                  <a:pt x="387" y="756"/>
                </a:lnTo>
                <a:lnTo>
                  <a:pt x="399" y="749"/>
                </a:lnTo>
                <a:lnTo>
                  <a:pt x="406" y="739"/>
                </a:lnTo>
                <a:lnTo>
                  <a:pt x="411" y="730"/>
                </a:lnTo>
                <a:lnTo>
                  <a:pt x="409" y="727"/>
                </a:lnTo>
                <a:lnTo>
                  <a:pt x="407" y="724"/>
                </a:lnTo>
                <a:lnTo>
                  <a:pt x="404" y="722"/>
                </a:lnTo>
                <a:lnTo>
                  <a:pt x="397" y="719"/>
                </a:lnTo>
                <a:lnTo>
                  <a:pt x="382" y="714"/>
                </a:lnTo>
                <a:lnTo>
                  <a:pt x="365" y="709"/>
                </a:lnTo>
                <a:lnTo>
                  <a:pt x="355" y="705"/>
                </a:lnTo>
                <a:lnTo>
                  <a:pt x="347" y="703"/>
                </a:lnTo>
                <a:lnTo>
                  <a:pt x="337" y="705"/>
                </a:lnTo>
                <a:lnTo>
                  <a:pt x="328" y="707"/>
                </a:lnTo>
                <a:lnTo>
                  <a:pt x="310" y="720"/>
                </a:lnTo>
                <a:lnTo>
                  <a:pt x="291" y="734"/>
                </a:lnTo>
                <a:lnTo>
                  <a:pt x="273" y="747"/>
                </a:lnTo>
                <a:lnTo>
                  <a:pt x="254" y="761"/>
                </a:lnTo>
                <a:lnTo>
                  <a:pt x="244" y="767"/>
                </a:lnTo>
                <a:lnTo>
                  <a:pt x="234" y="773"/>
                </a:lnTo>
                <a:lnTo>
                  <a:pt x="229" y="773"/>
                </a:lnTo>
                <a:lnTo>
                  <a:pt x="224" y="771"/>
                </a:lnTo>
                <a:lnTo>
                  <a:pt x="219" y="766"/>
                </a:lnTo>
                <a:lnTo>
                  <a:pt x="214" y="759"/>
                </a:lnTo>
                <a:lnTo>
                  <a:pt x="207" y="749"/>
                </a:lnTo>
                <a:lnTo>
                  <a:pt x="200" y="744"/>
                </a:lnTo>
                <a:lnTo>
                  <a:pt x="195" y="741"/>
                </a:lnTo>
                <a:lnTo>
                  <a:pt x="190" y="741"/>
                </a:lnTo>
                <a:lnTo>
                  <a:pt x="180" y="746"/>
                </a:lnTo>
                <a:lnTo>
                  <a:pt x="172" y="756"/>
                </a:lnTo>
                <a:lnTo>
                  <a:pt x="168" y="761"/>
                </a:lnTo>
                <a:lnTo>
                  <a:pt x="163" y="764"/>
                </a:lnTo>
                <a:lnTo>
                  <a:pt x="158" y="766"/>
                </a:lnTo>
                <a:lnTo>
                  <a:pt x="153" y="767"/>
                </a:lnTo>
                <a:lnTo>
                  <a:pt x="150" y="766"/>
                </a:lnTo>
                <a:lnTo>
                  <a:pt x="145" y="766"/>
                </a:lnTo>
                <a:lnTo>
                  <a:pt x="140" y="762"/>
                </a:lnTo>
                <a:lnTo>
                  <a:pt x="135" y="761"/>
                </a:lnTo>
                <a:lnTo>
                  <a:pt x="131" y="754"/>
                </a:lnTo>
                <a:lnTo>
                  <a:pt x="126" y="751"/>
                </a:lnTo>
                <a:lnTo>
                  <a:pt x="121" y="751"/>
                </a:lnTo>
                <a:lnTo>
                  <a:pt x="116" y="751"/>
                </a:lnTo>
                <a:lnTo>
                  <a:pt x="111" y="752"/>
                </a:lnTo>
                <a:lnTo>
                  <a:pt x="104" y="757"/>
                </a:lnTo>
                <a:lnTo>
                  <a:pt x="99" y="764"/>
                </a:lnTo>
                <a:lnTo>
                  <a:pt x="93" y="773"/>
                </a:lnTo>
                <a:lnTo>
                  <a:pt x="81" y="779"/>
                </a:lnTo>
                <a:lnTo>
                  <a:pt x="69" y="786"/>
                </a:lnTo>
                <a:lnTo>
                  <a:pt x="59" y="791"/>
                </a:lnTo>
                <a:lnTo>
                  <a:pt x="49" y="794"/>
                </a:lnTo>
                <a:lnTo>
                  <a:pt x="32" y="798"/>
                </a:lnTo>
                <a:lnTo>
                  <a:pt x="15" y="799"/>
                </a:lnTo>
                <a:lnTo>
                  <a:pt x="8" y="799"/>
                </a:lnTo>
                <a:lnTo>
                  <a:pt x="0" y="799"/>
                </a:lnTo>
                <a:lnTo>
                  <a:pt x="20" y="773"/>
                </a:lnTo>
                <a:lnTo>
                  <a:pt x="40" y="747"/>
                </a:lnTo>
                <a:lnTo>
                  <a:pt x="52" y="735"/>
                </a:lnTo>
                <a:lnTo>
                  <a:pt x="62" y="725"/>
                </a:lnTo>
                <a:lnTo>
                  <a:pt x="74" y="717"/>
                </a:lnTo>
                <a:lnTo>
                  <a:pt x="84" y="709"/>
                </a:lnTo>
                <a:lnTo>
                  <a:pt x="93" y="700"/>
                </a:lnTo>
                <a:lnTo>
                  <a:pt x="101" y="695"/>
                </a:lnTo>
                <a:lnTo>
                  <a:pt x="104" y="693"/>
                </a:lnTo>
                <a:lnTo>
                  <a:pt x="108" y="692"/>
                </a:lnTo>
                <a:lnTo>
                  <a:pt x="113" y="693"/>
                </a:lnTo>
                <a:lnTo>
                  <a:pt x="116" y="693"/>
                </a:lnTo>
                <a:lnTo>
                  <a:pt x="123" y="693"/>
                </a:lnTo>
                <a:lnTo>
                  <a:pt x="128" y="690"/>
                </a:lnTo>
                <a:lnTo>
                  <a:pt x="131" y="687"/>
                </a:lnTo>
                <a:lnTo>
                  <a:pt x="135" y="682"/>
                </a:lnTo>
                <a:lnTo>
                  <a:pt x="136" y="673"/>
                </a:lnTo>
                <a:lnTo>
                  <a:pt x="140" y="668"/>
                </a:lnTo>
                <a:lnTo>
                  <a:pt x="141" y="665"/>
                </a:lnTo>
                <a:lnTo>
                  <a:pt x="145" y="665"/>
                </a:lnTo>
                <a:lnTo>
                  <a:pt x="150" y="666"/>
                </a:lnTo>
                <a:lnTo>
                  <a:pt x="157" y="673"/>
                </a:lnTo>
                <a:lnTo>
                  <a:pt x="170" y="673"/>
                </a:lnTo>
                <a:lnTo>
                  <a:pt x="182" y="673"/>
                </a:lnTo>
                <a:lnTo>
                  <a:pt x="195" y="673"/>
                </a:lnTo>
                <a:lnTo>
                  <a:pt x="207" y="673"/>
                </a:lnTo>
                <a:lnTo>
                  <a:pt x="214" y="673"/>
                </a:lnTo>
                <a:lnTo>
                  <a:pt x="219" y="671"/>
                </a:lnTo>
                <a:lnTo>
                  <a:pt x="222" y="668"/>
                </a:lnTo>
                <a:lnTo>
                  <a:pt x="224" y="666"/>
                </a:lnTo>
                <a:lnTo>
                  <a:pt x="226" y="663"/>
                </a:lnTo>
                <a:lnTo>
                  <a:pt x="226" y="658"/>
                </a:lnTo>
                <a:lnTo>
                  <a:pt x="224" y="653"/>
                </a:lnTo>
                <a:lnTo>
                  <a:pt x="222" y="648"/>
                </a:lnTo>
                <a:lnTo>
                  <a:pt x="217" y="641"/>
                </a:lnTo>
                <a:lnTo>
                  <a:pt x="215" y="636"/>
                </a:lnTo>
                <a:lnTo>
                  <a:pt x="217" y="631"/>
                </a:lnTo>
                <a:lnTo>
                  <a:pt x="221" y="628"/>
                </a:lnTo>
                <a:lnTo>
                  <a:pt x="226" y="619"/>
                </a:lnTo>
                <a:lnTo>
                  <a:pt x="227" y="609"/>
                </a:lnTo>
                <a:lnTo>
                  <a:pt x="227" y="599"/>
                </a:lnTo>
                <a:lnTo>
                  <a:pt x="227" y="587"/>
                </a:lnTo>
                <a:lnTo>
                  <a:pt x="226" y="584"/>
                </a:lnTo>
                <a:lnTo>
                  <a:pt x="226" y="581"/>
                </a:lnTo>
                <a:lnTo>
                  <a:pt x="226" y="577"/>
                </a:lnTo>
                <a:lnTo>
                  <a:pt x="227" y="575"/>
                </a:lnTo>
                <a:lnTo>
                  <a:pt x="231" y="574"/>
                </a:lnTo>
                <a:lnTo>
                  <a:pt x="234" y="574"/>
                </a:lnTo>
                <a:lnTo>
                  <a:pt x="237" y="575"/>
                </a:lnTo>
                <a:lnTo>
                  <a:pt x="241" y="579"/>
                </a:lnTo>
                <a:lnTo>
                  <a:pt x="249" y="579"/>
                </a:lnTo>
                <a:lnTo>
                  <a:pt x="254" y="579"/>
                </a:lnTo>
                <a:lnTo>
                  <a:pt x="258" y="577"/>
                </a:lnTo>
                <a:lnTo>
                  <a:pt x="258" y="575"/>
                </a:lnTo>
                <a:lnTo>
                  <a:pt x="258" y="572"/>
                </a:lnTo>
                <a:lnTo>
                  <a:pt x="254" y="567"/>
                </a:lnTo>
                <a:lnTo>
                  <a:pt x="251" y="564"/>
                </a:lnTo>
                <a:lnTo>
                  <a:pt x="249" y="560"/>
                </a:lnTo>
                <a:lnTo>
                  <a:pt x="249" y="557"/>
                </a:lnTo>
                <a:lnTo>
                  <a:pt x="249" y="555"/>
                </a:lnTo>
                <a:lnTo>
                  <a:pt x="254" y="552"/>
                </a:lnTo>
                <a:lnTo>
                  <a:pt x="264" y="552"/>
                </a:lnTo>
                <a:lnTo>
                  <a:pt x="271" y="549"/>
                </a:lnTo>
                <a:lnTo>
                  <a:pt x="278" y="545"/>
                </a:lnTo>
                <a:lnTo>
                  <a:pt x="281" y="535"/>
                </a:lnTo>
                <a:lnTo>
                  <a:pt x="283" y="533"/>
                </a:lnTo>
                <a:lnTo>
                  <a:pt x="286" y="535"/>
                </a:lnTo>
                <a:lnTo>
                  <a:pt x="290" y="543"/>
                </a:lnTo>
                <a:lnTo>
                  <a:pt x="295" y="554"/>
                </a:lnTo>
                <a:lnTo>
                  <a:pt x="298" y="559"/>
                </a:lnTo>
                <a:lnTo>
                  <a:pt x="301" y="557"/>
                </a:lnTo>
                <a:lnTo>
                  <a:pt x="303" y="549"/>
                </a:lnTo>
                <a:lnTo>
                  <a:pt x="303" y="540"/>
                </a:lnTo>
                <a:lnTo>
                  <a:pt x="305" y="533"/>
                </a:lnTo>
                <a:lnTo>
                  <a:pt x="306" y="528"/>
                </a:lnTo>
                <a:lnTo>
                  <a:pt x="308" y="527"/>
                </a:lnTo>
                <a:lnTo>
                  <a:pt x="313" y="525"/>
                </a:lnTo>
                <a:lnTo>
                  <a:pt x="316" y="525"/>
                </a:lnTo>
                <a:lnTo>
                  <a:pt x="322" y="528"/>
                </a:lnTo>
                <a:lnTo>
                  <a:pt x="328" y="532"/>
                </a:lnTo>
                <a:lnTo>
                  <a:pt x="333" y="545"/>
                </a:lnTo>
                <a:lnTo>
                  <a:pt x="340" y="557"/>
                </a:lnTo>
                <a:lnTo>
                  <a:pt x="342" y="562"/>
                </a:lnTo>
                <a:lnTo>
                  <a:pt x="343" y="564"/>
                </a:lnTo>
                <a:lnTo>
                  <a:pt x="347" y="565"/>
                </a:lnTo>
                <a:lnTo>
                  <a:pt x="348" y="567"/>
                </a:lnTo>
                <a:lnTo>
                  <a:pt x="353" y="564"/>
                </a:lnTo>
                <a:lnTo>
                  <a:pt x="360" y="557"/>
                </a:lnTo>
                <a:lnTo>
                  <a:pt x="362" y="547"/>
                </a:lnTo>
                <a:lnTo>
                  <a:pt x="365" y="540"/>
                </a:lnTo>
                <a:lnTo>
                  <a:pt x="369" y="535"/>
                </a:lnTo>
                <a:lnTo>
                  <a:pt x="372" y="532"/>
                </a:lnTo>
                <a:lnTo>
                  <a:pt x="375" y="528"/>
                </a:lnTo>
                <a:lnTo>
                  <a:pt x="380" y="528"/>
                </a:lnTo>
                <a:lnTo>
                  <a:pt x="387" y="528"/>
                </a:lnTo>
                <a:lnTo>
                  <a:pt x="392" y="530"/>
                </a:lnTo>
                <a:lnTo>
                  <a:pt x="401" y="532"/>
                </a:lnTo>
                <a:lnTo>
                  <a:pt x="407" y="530"/>
                </a:lnTo>
                <a:lnTo>
                  <a:pt x="416" y="528"/>
                </a:lnTo>
                <a:lnTo>
                  <a:pt x="424" y="523"/>
                </a:lnTo>
                <a:lnTo>
                  <a:pt x="431" y="518"/>
                </a:lnTo>
                <a:lnTo>
                  <a:pt x="438" y="515"/>
                </a:lnTo>
                <a:lnTo>
                  <a:pt x="444" y="517"/>
                </a:lnTo>
                <a:lnTo>
                  <a:pt x="453" y="520"/>
                </a:lnTo>
                <a:lnTo>
                  <a:pt x="466" y="522"/>
                </a:lnTo>
                <a:lnTo>
                  <a:pt x="480" y="522"/>
                </a:lnTo>
                <a:lnTo>
                  <a:pt x="492" y="522"/>
                </a:lnTo>
                <a:lnTo>
                  <a:pt x="503" y="520"/>
                </a:lnTo>
                <a:lnTo>
                  <a:pt x="512" y="517"/>
                </a:lnTo>
                <a:lnTo>
                  <a:pt x="518" y="515"/>
                </a:lnTo>
                <a:lnTo>
                  <a:pt x="524" y="510"/>
                </a:lnTo>
                <a:lnTo>
                  <a:pt x="525" y="506"/>
                </a:lnTo>
                <a:lnTo>
                  <a:pt x="527" y="495"/>
                </a:lnTo>
                <a:lnTo>
                  <a:pt x="529" y="488"/>
                </a:lnTo>
                <a:lnTo>
                  <a:pt x="532" y="481"/>
                </a:lnTo>
                <a:lnTo>
                  <a:pt x="537" y="478"/>
                </a:lnTo>
                <a:lnTo>
                  <a:pt x="542" y="476"/>
                </a:lnTo>
                <a:lnTo>
                  <a:pt x="547" y="476"/>
                </a:lnTo>
                <a:lnTo>
                  <a:pt x="552" y="479"/>
                </a:lnTo>
                <a:lnTo>
                  <a:pt x="559" y="483"/>
                </a:lnTo>
                <a:lnTo>
                  <a:pt x="567" y="485"/>
                </a:lnTo>
                <a:lnTo>
                  <a:pt x="574" y="483"/>
                </a:lnTo>
                <a:lnTo>
                  <a:pt x="581" y="481"/>
                </a:lnTo>
                <a:lnTo>
                  <a:pt x="586" y="478"/>
                </a:lnTo>
                <a:lnTo>
                  <a:pt x="589" y="474"/>
                </a:lnTo>
                <a:lnTo>
                  <a:pt x="593" y="468"/>
                </a:lnTo>
                <a:lnTo>
                  <a:pt x="594" y="461"/>
                </a:lnTo>
                <a:lnTo>
                  <a:pt x="598" y="453"/>
                </a:lnTo>
                <a:lnTo>
                  <a:pt x="598" y="441"/>
                </a:lnTo>
                <a:lnTo>
                  <a:pt x="598" y="431"/>
                </a:lnTo>
                <a:lnTo>
                  <a:pt x="601" y="421"/>
                </a:lnTo>
                <a:lnTo>
                  <a:pt x="604" y="414"/>
                </a:lnTo>
                <a:lnTo>
                  <a:pt x="608" y="409"/>
                </a:lnTo>
                <a:lnTo>
                  <a:pt x="614" y="405"/>
                </a:lnTo>
                <a:lnTo>
                  <a:pt x="621" y="404"/>
                </a:lnTo>
                <a:lnTo>
                  <a:pt x="630" y="404"/>
                </a:lnTo>
                <a:lnTo>
                  <a:pt x="641" y="402"/>
                </a:lnTo>
                <a:lnTo>
                  <a:pt x="651" y="402"/>
                </a:lnTo>
                <a:lnTo>
                  <a:pt x="660" y="404"/>
                </a:lnTo>
                <a:lnTo>
                  <a:pt x="665" y="409"/>
                </a:lnTo>
                <a:lnTo>
                  <a:pt x="668" y="414"/>
                </a:lnTo>
                <a:lnTo>
                  <a:pt x="670" y="421"/>
                </a:lnTo>
                <a:lnTo>
                  <a:pt x="672" y="429"/>
                </a:lnTo>
                <a:lnTo>
                  <a:pt x="670" y="439"/>
                </a:lnTo>
                <a:lnTo>
                  <a:pt x="656" y="454"/>
                </a:lnTo>
                <a:lnTo>
                  <a:pt x="643" y="468"/>
                </a:lnTo>
                <a:lnTo>
                  <a:pt x="641" y="473"/>
                </a:lnTo>
                <a:lnTo>
                  <a:pt x="640" y="478"/>
                </a:lnTo>
                <a:lnTo>
                  <a:pt x="640" y="481"/>
                </a:lnTo>
                <a:lnTo>
                  <a:pt x="641" y="483"/>
                </a:lnTo>
                <a:lnTo>
                  <a:pt x="643" y="485"/>
                </a:lnTo>
                <a:lnTo>
                  <a:pt x="646" y="486"/>
                </a:lnTo>
                <a:lnTo>
                  <a:pt x="650" y="486"/>
                </a:lnTo>
                <a:lnTo>
                  <a:pt x="656" y="486"/>
                </a:lnTo>
                <a:lnTo>
                  <a:pt x="675" y="481"/>
                </a:lnTo>
                <a:lnTo>
                  <a:pt x="694" y="478"/>
                </a:lnTo>
                <a:lnTo>
                  <a:pt x="697" y="474"/>
                </a:lnTo>
                <a:lnTo>
                  <a:pt x="702" y="473"/>
                </a:lnTo>
                <a:lnTo>
                  <a:pt x="705" y="473"/>
                </a:lnTo>
                <a:lnTo>
                  <a:pt x="710" y="474"/>
                </a:lnTo>
                <a:lnTo>
                  <a:pt x="717" y="478"/>
                </a:lnTo>
                <a:lnTo>
                  <a:pt x="725" y="485"/>
                </a:lnTo>
                <a:lnTo>
                  <a:pt x="729" y="490"/>
                </a:lnTo>
                <a:lnTo>
                  <a:pt x="732" y="493"/>
                </a:lnTo>
                <a:lnTo>
                  <a:pt x="734" y="496"/>
                </a:lnTo>
                <a:lnTo>
                  <a:pt x="737" y="498"/>
                </a:lnTo>
                <a:lnTo>
                  <a:pt x="741" y="498"/>
                </a:lnTo>
                <a:lnTo>
                  <a:pt x="744" y="496"/>
                </a:lnTo>
                <a:lnTo>
                  <a:pt x="747" y="493"/>
                </a:lnTo>
                <a:lnTo>
                  <a:pt x="751" y="491"/>
                </a:lnTo>
                <a:lnTo>
                  <a:pt x="763" y="478"/>
                </a:lnTo>
                <a:lnTo>
                  <a:pt x="776" y="464"/>
                </a:lnTo>
                <a:lnTo>
                  <a:pt x="776" y="451"/>
                </a:lnTo>
                <a:lnTo>
                  <a:pt x="778" y="441"/>
                </a:lnTo>
                <a:lnTo>
                  <a:pt x="779" y="436"/>
                </a:lnTo>
                <a:lnTo>
                  <a:pt x="781" y="434"/>
                </a:lnTo>
                <a:lnTo>
                  <a:pt x="784" y="432"/>
                </a:lnTo>
                <a:lnTo>
                  <a:pt x="788" y="434"/>
                </a:lnTo>
                <a:lnTo>
                  <a:pt x="803" y="437"/>
                </a:lnTo>
                <a:lnTo>
                  <a:pt x="820" y="442"/>
                </a:lnTo>
                <a:lnTo>
                  <a:pt x="828" y="444"/>
                </a:lnTo>
                <a:lnTo>
                  <a:pt x="838" y="444"/>
                </a:lnTo>
                <a:lnTo>
                  <a:pt x="842" y="444"/>
                </a:lnTo>
                <a:lnTo>
                  <a:pt x="845" y="441"/>
                </a:lnTo>
                <a:lnTo>
                  <a:pt x="848" y="437"/>
                </a:lnTo>
                <a:lnTo>
                  <a:pt x="852" y="434"/>
                </a:lnTo>
                <a:lnTo>
                  <a:pt x="857" y="426"/>
                </a:lnTo>
                <a:lnTo>
                  <a:pt x="862" y="416"/>
                </a:lnTo>
                <a:lnTo>
                  <a:pt x="864" y="407"/>
                </a:lnTo>
                <a:lnTo>
                  <a:pt x="864" y="397"/>
                </a:lnTo>
                <a:lnTo>
                  <a:pt x="862" y="387"/>
                </a:lnTo>
                <a:lnTo>
                  <a:pt x="858" y="378"/>
                </a:lnTo>
                <a:lnTo>
                  <a:pt x="855" y="367"/>
                </a:lnTo>
                <a:lnTo>
                  <a:pt x="850" y="357"/>
                </a:lnTo>
                <a:lnTo>
                  <a:pt x="837" y="328"/>
                </a:lnTo>
                <a:lnTo>
                  <a:pt x="828" y="299"/>
                </a:lnTo>
                <a:lnTo>
                  <a:pt x="825" y="286"/>
                </a:lnTo>
                <a:lnTo>
                  <a:pt x="823" y="272"/>
                </a:lnTo>
                <a:lnTo>
                  <a:pt x="823" y="259"/>
                </a:lnTo>
                <a:lnTo>
                  <a:pt x="826" y="247"/>
                </a:lnTo>
                <a:lnTo>
                  <a:pt x="826" y="232"/>
                </a:lnTo>
                <a:lnTo>
                  <a:pt x="826" y="215"/>
                </a:lnTo>
                <a:lnTo>
                  <a:pt x="816" y="220"/>
                </a:lnTo>
                <a:lnTo>
                  <a:pt x="808" y="222"/>
                </a:lnTo>
                <a:lnTo>
                  <a:pt x="796" y="224"/>
                </a:lnTo>
                <a:lnTo>
                  <a:pt x="784" y="222"/>
                </a:lnTo>
                <a:lnTo>
                  <a:pt x="776" y="222"/>
                </a:lnTo>
                <a:lnTo>
                  <a:pt x="771" y="224"/>
                </a:lnTo>
                <a:lnTo>
                  <a:pt x="766" y="227"/>
                </a:lnTo>
                <a:lnTo>
                  <a:pt x="761" y="232"/>
                </a:lnTo>
                <a:lnTo>
                  <a:pt x="756" y="242"/>
                </a:lnTo>
                <a:lnTo>
                  <a:pt x="751" y="249"/>
                </a:lnTo>
                <a:lnTo>
                  <a:pt x="744" y="254"/>
                </a:lnTo>
                <a:lnTo>
                  <a:pt x="737" y="256"/>
                </a:lnTo>
                <a:lnTo>
                  <a:pt x="734" y="256"/>
                </a:lnTo>
                <a:lnTo>
                  <a:pt x="731" y="254"/>
                </a:lnTo>
                <a:lnTo>
                  <a:pt x="727" y="252"/>
                </a:lnTo>
                <a:lnTo>
                  <a:pt x="725" y="249"/>
                </a:lnTo>
                <a:lnTo>
                  <a:pt x="722" y="240"/>
                </a:lnTo>
                <a:lnTo>
                  <a:pt x="720" y="229"/>
                </a:lnTo>
                <a:lnTo>
                  <a:pt x="724" y="213"/>
                </a:lnTo>
                <a:lnTo>
                  <a:pt x="727" y="198"/>
                </a:lnTo>
                <a:lnTo>
                  <a:pt x="736" y="186"/>
                </a:lnTo>
                <a:lnTo>
                  <a:pt x="746" y="176"/>
                </a:lnTo>
                <a:lnTo>
                  <a:pt x="751" y="171"/>
                </a:lnTo>
                <a:lnTo>
                  <a:pt x="757" y="168"/>
                </a:lnTo>
                <a:lnTo>
                  <a:pt x="763" y="165"/>
                </a:lnTo>
                <a:lnTo>
                  <a:pt x="769" y="161"/>
                </a:lnTo>
                <a:lnTo>
                  <a:pt x="784" y="158"/>
                </a:lnTo>
                <a:lnTo>
                  <a:pt x="801" y="156"/>
                </a:lnTo>
                <a:lnTo>
                  <a:pt x="806" y="154"/>
                </a:lnTo>
                <a:lnTo>
                  <a:pt x="810" y="151"/>
                </a:lnTo>
                <a:lnTo>
                  <a:pt x="811" y="146"/>
                </a:lnTo>
                <a:lnTo>
                  <a:pt x="813" y="143"/>
                </a:lnTo>
                <a:lnTo>
                  <a:pt x="816" y="131"/>
                </a:lnTo>
                <a:lnTo>
                  <a:pt x="816" y="117"/>
                </a:lnTo>
                <a:lnTo>
                  <a:pt x="816" y="106"/>
                </a:lnTo>
                <a:lnTo>
                  <a:pt x="818" y="94"/>
                </a:lnTo>
                <a:lnTo>
                  <a:pt x="816" y="70"/>
                </a:lnTo>
                <a:lnTo>
                  <a:pt x="816" y="45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9525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84293" name="Oval 20"/>
          <p:cNvSpPr>
            <a:spLocks noChangeArrowheads="1"/>
          </p:cNvSpPr>
          <p:nvPr/>
        </p:nvSpPr>
        <p:spPr bwMode="auto">
          <a:xfrm>
            <a:off x="5459413" y="2298700"/>
            <a:ext cx="74612" cy="74613"/>
          </a:xfrm>
          <a:prstGeom prst="ellipse">
            <a:avLst/>
          </a:prstGeom>
          <a:solidFill>
            <a:schemeClr val="folHlink"/>
          </a:soli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84294" name="Line 21"/>
          <p:cNvSpPr>
            <a:spLocks noChangeShapeType="1"/>
          </p:cNvSpPr>
          <p:nvPr/>
        </p:nvSpPr>
        <p:spPr bwMode="auto">
          <a:xfrm flipV="1">
            <a:off x="6032500" y="3303588"/>
            <a:ext cx="0" cy="152400"/>
          </a:xfrm>
          <a:prstGeom prst="line">
            <a:avLst/>
          </a:prstGeom>
          <a:noFill/>
          <a:ln w="19050">
            <a:solidFill>
              <a:srgbClr val="00800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84295" name="Freeform 22"/>
          <p:cNvSpPr>
            <a:spLocks/>
          </p:cNvSpPr>
          <p:nvPr/>
        </p:nvSpPr>
        <p:spPr bwMode="auto">
          <a:xfrm>
            <a:off x="6029325" y="3457575"/>
            <a:ext cx="106363" cy="304800"/>
          </a:xfrm>
          <a:custGeom>
            <a:avLst/>
            <a:gdLst>
              <a:gd name="T0" fmla="*/ 0 w 93"/>
              <a:gd name="T1" fmla="*/ 0 h 275"/>
              <a:gd name="T2" fmla="*/ 2147483647 w 93"/>
              <a:gd name="T3" fmla="*/ 2147483647 h 275"/>
              <a:gd name="T4" fmla="*/ 2147483647 w 93"/>
              <a:gd name="T5" fmla="*/ 2147483647 h 275"/>
              <a:gd name="T6" fmla="*/ 0 60000 65536"/>
              <a:gd name="T7" fmla="*/ 0 60000 65536"/>
              <a:gd name="T8" fmla="*/ 0 60000 65536"/>
              <a:gd name="T9" fmla="*/ 0 w 93"/>
              <a:gd name="T10" fmla="*/ 0 h 275"/>
              <a:gd name="T11" fmla="*/ 93 w 93"/>
              <a:gd name="T12" fmla="*/ 275 h 275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93" h="275">
                <a:moveTo>
                  <a:pt x="0" y="0"/>
                </a:moveTo>
                <a:cubicBezTo>
                  <a:pt x="12" y="21"/>
                  <a:pt x="56" y="80"/>
                  <a:pt x="72" y="126"/>
                </a:cubicBezTo>
                <a:cubicBezTo>
                  <a:pt x="88" y="172"/>
                  <a:pt x="89" y="244"/>
                  <a:pt x="93" y="275"/>
                </a:cubicBezTo>
              </a:path>
            </a:pathLst>
          </a:custGeom>
          <a:noFill/>
          <a:ln w="19050">
            <a:solidFill>
              <a:srgbClr val="00800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84296" name="Freeform 23"/>
          <p:cNvSpPr>
            <a:spLocks/>
          </p:cNvSpPr>
          <p:nvPr/>
        </p:nvSpPr>
        <p:spPr bwMode="auto">
          <a:xfrm>
            <a:off x="7391400" y="2571750"/>
            <a:ext cx="374650" cy="406400"/>
          </a:xfrm>
          <a:custGeom>
            <a:avLst/>
            <a:gdLst>
              <a:gd name="T0" fmla="*/ 2147483647 w 328"/>
              <a:gd name="T1" fmla="*/ 2147483647 h 367"/>
              <a:gd name="T2" fmla="*/ 2147483647 w 328"/>
              <a:gd name="T3" fmla="*/ 2147483647 h 367"/>
              <a:gd name="T4" fmla="*/ 2147483647 w 328"/>
              <a:gd name="T5" fmla="*/ 2147483647 h 367"/>
              <a:gd name="T6" fmla="*/ 0 60000 65536"/>
              <a:gd name="T7" fmla="*/ 0 60000 65536"/>
              <a:gd name="T8" fmla="*/ 0 60000 65536"/>
              <a:gd name="T9" fmla="*/ 0 w 328"/>
              <a:gd name="T10" fmla="*/ 0 h 367"/>
              <a:gd name="T11" fmla="*/ 328 w 328"/>
              <a:gd name="T12" fmla="*/ 367 h 367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328" h="367">
                <a:moveTo>
                  <a:pt x="164" y="346"/>
                </a:moveTo>
                <a:cubicBezTo>
                  <a:pt x="60" y="367"/>
                  <a:pt x="0" y="58"/>
                  <a:pt x="164" y="29"/>
                </a:cubicBezTo>
                <a:cubicBezTo>
                  <a:pt x="328" y="0"/>
                  <a:pt x="286" y="217"/>
                  <a:pt x="240" y="232"/>
                </a:cubicBezTo>
              </a:path>
            </a:pathLst>
          </a:custGeom>
          <a:noFill/>
          <a:ln w="19050">
            <a:solidFill>
              <a:srgbClr val="00800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84297" name="Freeform 24"/>
          <p:cNvSpPr>
            <a:spLocks/>
          </p:cNvSpPr>
          <p:nvPr/>
        </p:nvSpPr>
        <p:spPr bwMode="auto">
          <a:xfrm>
            <a:off x="4589463" y="2379663"/>
            <a:ext cx="1228725" cy="825500"/>
          </a:xfrm>
          <a:custGeom>
            <a:avLst/>
            <a:gdLst>
              <a:gd name="T0" fmla="*/ 2147483647 w 1081"/>
              <a:gd name="T1" fmla="*/ 2147483647 h 746"/>
              <a:gd name="T2" fmla="*/ 2147483647 w 1081"/>
              <a:gd name="T3" fmla="*/ 2147483647 h 746"/>
              <a:gd name="T4" fmla="*/ 2147483647 w 1081"/>
              <a:gd name="T5" fmla="*/ 2147483647 h 746"/>
              <a:gd name="T6" fmla="*/ 2147483647 w 1081"/>
              <a:gd name="T7" fmla="*/ 2147483647 h 746"/>
              <a:gd name="T8" fmla="*/ 2147483647 w 1081"/>
              <a:gd name="T9" fmla="*/ 2147483647 h 746"/>
              <a:gd name="T10" fmla="*/ 0 w 1081"/>
              <a:gd name="T11" fmla="*/ 2147483647 h 74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081"/>
              <a:gd name="T19" fmla="*/ 0 h 746"/>
              <a:gd name="T20" fmla="*/ 1081 w 1081"/>
              <a:gd name="T21" fmla="*/ 746 h 74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081" h="746">
                <a:moveTo>
                  <a:pt x="771" y="20"/>
                </a:moveTo>
                <a:cubicBezTo>
                  <a:pt x="892" y="0"/>
                  <a:pt x="914" y="28"/>
                  <a:pt x="952" y="66"/>
                </a:cubicBezTo>
                <a:cubicBezTo>
                  <a:pt x="995" y="93"/>
                  <a:pt x="980" y="129"/>
                  <a:pt x="988" y="159"/>
                </a:cubicBezTo>
                <a:cubicBezTo>
                  <a:pt x="996" y="189"/>
                  <a:pt x="1081" y="202"/>
                  <a:pt x="998" y="247"/>
                </a:cubicBezTo>
                <a:cubicBezTo>
                  <a:pt x="915" y="300"/>
                  <a:pt x="568" y="282"/>
                  <a:pt x="487" y="429"/>
                </a:cubicBezTo>
                <a:cubicBezTo>
                  <a:pt x="406" y="576"/>
                  <a:pt x="94" y="671"/>
                  <a:pt x="0" y="746"/>
                </a:cubicBezTo>
              </a:path>
            </a:pathLst>
          </a:custGeom>
          <a:noFill/>
          <a:ln w="19050">
            <a:solidFill>
              <a:srgbClr val="00800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84298" name="Freeform 25"/>
          <p:cNvSpPr>
            <a:spLocks/>
          </p:cNvSpPr>
          <p:nvPr/>
        </p:nvSpPr>
        <p:spPr bwMode="auto">
          <a:xfrm>
            <a:off x="7524750" y="2090738"/>
            <a:ext cx="471488" cy="287337"/>
          </a:xfrm>
          <a:custGeom>
            <a:avLst/>
            <a:gdLst>
              <a:gd name="T0" fmla="*/ 2147483647 w 414"/>
              <a:gd name="T1" fmla="*/ 0 h 260"/>
              <a:gd name="T2" fmla="*/ 2147483647 w 414"/>
              <a:gd name="T3" fmla="*/ 2147483647 h 260"/>
              <a:gd name="T4" fmla="*/ 2147483647 w 414"/>
              <a:gd name="T5" fmla="*/ 2147483647 h 260"/>
              <a:gd name="T6" fmla="*/ 0 w 414"/>
              <a:gd name="T7" fmla="*/ 2147483647 h 260"/>
              <a:gd name="T8" fmla="*/ 0 60000 65536"/>
              <a:gd name="T9" fmla="*/ 0 60000 65536"/>
              <a:gd name="T10" fmla="*/ 0 60000 65536"/>
              <a:gd name="T11" fmla="*/ 0 60000 65536"/>
              <a:gd name="T12" fmla="*/ 0 w 414"/>
              <a:gd name="T13" fmla="*/ 0 h 260"/>
              <a:gd name="T14" fmla="*/ 414 w 414"/>
              <a:gd name="T15" fmla="*/ 260 h 26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414" h="260">
                <a:moveTo>
                  <a:pt x="340" y="0"/>
                </a:moveTo>
                <a:cubicBezTo>
                  <a:pt x="347" y="17"/>
                  <a:pt x="414" y="78"/>
                  <a:pt x="380" y="104"/>
                </a:cubicBezTo>
                <a:cubicBezTo>
                  <a:pt x="357" y="134"/>
                  <a:pt x="195" y="128"/>
                  <a:pt x="132" y="154"/>
                </a:cubicBezTo>
                <a:cubicBezTo>
                  <a:pt x="69" y="180"/>
                  <a:pt x="27" y="238"/>
                  <a:pt x="0" y="260"/>
                </a:cubicBezTo>
              </a:path>
            </a:pathLst>
          </a:custGeom>
          <a:noFill/>
          <a:ln w="19050">
            <a:solidFill>
              <a:srgbClr val="00800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84299" name="Freeform 26"/>
          <p:cNvSpPr>
            <a:spLocks/>
          </p:cNvSpPr>
          <p:nvPr/>
        </p:nvSpPr>
        <p:spPr bwMode="auto">
          <a:xfrm>
            <a:off x="7926388" y="2182813"/>
            <a:ext cx="122237" cy="50800"/>
          </a:xfrm>
          <a:custGeom>
            <a:avLst/>
            <a:gdLst>
              <a:gd name="T0" fmla="*/ 0 w 108"/>
              <a:gd name="T1" fmla="*/ 2147483647 h 46"/>
              <a:gd name="T2" fmla="*/ 2147483647 w 108"/>
              <a:gd name="T3" fmla="*/ 2147483647 h 46"/>
              <a:gd name="T4" fmla="*/ 2147483647 w 108"/>
              <a:gd name="T5" fmla="*/ 0 h 46"/>
              <a:gd name="T6" fmla="*/ 0 60000 65536"/>
              <a:gd name="T7" fmla="*/ 0 60000 65536"/>
              <a:gd name="T8" fmla="*/ 0 60000 65536"/>
              <a:gd name="T9" fmla="*/ 0 w 108"/>
              <a:gd name="T10" fmla="*/ 0 h 46"/>
              <a:gd name="T11" fmla="*/ 108 w 108"/>
              <a:gd name="T12" fmla="*/ 46 h 4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08" h="46">
                <a:moveTo>
                  <a:pt x="0" y="36"/>
                </a:moveTo>
                <a:cubicBezTo>
                  <a:pt x="10" y="33"/>
                  <a:pt x="70" y="46"/>
                  <a:pt x="88" y="40"/>
                </a:cubicBezTo>
                <a:cubicBezTo>
                  <a:pt x="106" y="34"/>
                  <a:pt x="104" y="8"/>
                  <a:pt x="108" y="0"/>
                </a:cubicBezTo>
              </a:path>
            </a:pathLst>
          </a:custGeom>
          <a:noFill/>
          <a:ln w="19050">
            <a:solidFill>
              <a:srgbClr val="00800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84300" name="Freeform 27"/>
          <p:cNvSpPr>
            <a:spLocks/>
          </p:cNvSpPr>
          <p:nvPr/>
        </p:nvSpPr>
        <p:spPr bwMode="auto">
          <a:xfrm>
            <a:off x="6286500" y="1638300"/>
            <a:ext cx="1228725" cy="573088"/>
          </a:xfrm>
          <a:custGeom>
            <a:avLst/>
            <a:gdLst>
              <a:gd name="T0" fmla="*/ 2147483647 w 1083"/>
              <a:gd name="T1" fmla="*/ 2147483647 h 517"/>
              <a:gd name="T2" fmla="*/ 2147483647 w 1083"/>
              <a:gd name="T3" fmla="*/ 2147483647 h 517"/>
              <a:gd name="T4" fmla="*/ 2147483647 w 1083"/>
              <a:gd name="T5" fmla="*/ 2147483647 h 517"/>
              <a:gd name="T6" fmla="*/ 2147483647 w 1083"/>
              <a:gd name="T7" fmla="*/ 2147483647 h 517"/>
              <a:gd name="T8" fmla="*/ 2147483647 w 1083"/>
              <a:gd name="T9" fmla="*/ 2147483647 h 517"/>
              <a:gd name="T10" fmla="*/ 2147483647 w 1083"/>
              <a:gd name="T11" fmla="*/ 2147483647 h 517"/>
              <a:gd name="T12" fmla="*/ 2147483647 w 1083"/>
              <a:gd name="T13" fmla="*/ 2147483647 h 517"/>
              <a:gd name="T14" fmla="*/ 2147483647 w 1083"/>
              <a:gd name="T15" fmla="*/ 2147483647 h 517"/>
              <a:gd name="T16" fmla="*/ 2147483647 w 1083"/>
              <a:gd name="T17" fmla="*/ 2147483647 h 517"/>
              <a:gd name="T18" fmla="*/ 2147483647 w 1083"/>
              <a:gd name="T19" fmla="*/ 2147483647 h 517"/>
              <a:gd name="T20" fmla="*/ 2147483647 w 1083"/>
              <a:gd name="T21" fmla="*/ 2147483647 h 517"/>
              <a:gd name="T22" fmla="*/ 2147483647 w 1083"/>
              <a:gd name="T23" fmla="*/ 2147483647 h 517"/>
              <a:gd name="T24" fmla="*/ 2147483647 w 1083"/>
              <a:gd name="T25" fmla="*/ 2147483647 h 517"/>
              <a:gd name="T26" fmla="*/ 2147483647 w 1083"/>
              <a:gd name="T27" fmla="*/ 2147483647 h 517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1083"/>
              <a:gd name="T43" fmla="*/ 0 h 517"/>
              <a:gd name="T44" fmla="*/ 1083 w 1083"/>
              <a:gd name="T45" fmla="*/ 517 h 517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1083" h="517">
                <a:moveTo>
                  <a:pt x="1083" y="517"/>
                </a:moveTo>
                <a:cubicBezTo>
                  <a:pt x="1078" y="494"/>
                  <a:pt x="1080" y="431"/>
                  <a:pt x="1053" y="375"/>
                </a:cubicBezTo>
                <a:cubicBezTo>
                  <a:pt x="1014" y="328"/>
                  <a:pt x="971" y="249"/>
                  <a:pt x="919" y="183"/>
                </a:cubicBezTo>
                <a:cubicBezTo>
                  <a:pt x="879" y="158"/>
                  <a:pt x="879" y="274"/>
                  <a:pt x="827" y="249"/>
                </a:cubicBezTo>
                <a:cubicBezTo>
                  <a:pt x="775" y="224"/>
                  <a:pt x="648" y="51"/>
                  <a:pt x="605" y="33"/>
                </a:cubicBezTo>
                <a:cubicBezTo>
                  <a:pt x="587" y="89"/>
                  <a:pt x="607" y="126"/>
                  <a:pt x="567" y="139"/>
                </a:cubicBezTo>
                <a:cubicBezTo>
                  <a:pt x="524" y="144"/>
                  <a:pt x="405" y="73"/>
                  <a:pt x="349" y="65"/>
                </a:cubicBezTo>
                <a:cubicBezTo>
                  <a:pt x="293" y="57"/>
                  <a:pt x="267" y="92"/>
                  <a:pt x="233" y="93"/>
                </a:cubicBezTo>
                <a:cubicBezTo>
                  <a:pt x="199" y="94"/>
                  <a:pt x="164" y="85"/>
                  <a:pt x="143" y="71"/>
                </a:cubicBezTo>
                <a:cubicBezTo>
                  <a:pt x="122" y="57"/>
                  <a:pt x="117" y="14"/>
                  <a:pt x="107" y="7"/>
                </a:cubicBezTo>
                <a:cubicBezTo>
                  <a:pt x="97" y="0"/>
                  <a:pt x="84" y="19"/>
                  <a:pt x="83" y="31"/>
                </a:cubicBezTo>
                <a:cubicBezTo>
                  <a:pt x="82" y="43"/>
                  <a:pt x="112" y="51"/>
                  <a:pt x="101" y="77"/>
                </a:cubicBezTo>
                <a:cubicBezTo>
                  <a:pt x="90" y="103"/>
                  <a:pt x="30" y="161"/>
                  <a:pt x="15" y="189"/>
                </a:cubicBezTo>
                <a:cubicBezTo>
                  <a:pt x="0" y="217"/>
                  <a:pt x="10" y="235"/>
                  <a:pt x="9" y="247"/>
                </a:cubicBezTo>
              </a:path>
            </a:pathLst>
          </a:custGeom>
          <a:noFill/>
          <a:ln w="19050">
            <a:solidFill>
              <a:srgbClr val="00800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84301" name="Freeform 28"/>
          <p:cNvSpPr>
            <a:spLocks/>
          </p:cNvSpPr>
          <p:nvPr/>
        </p:nvSpPr>
        <p:spPr bwMode="auto">
          <a:xfrm>
            <a:off x="6654800" y="1576388"/>
            <a:ext cx="71438" cy="138112"/>
          </a:xfrm>
          <a:custGeom>
            <a:avLst/>
            <a:gdLst>
              <a:gd name="T0" fmla="*/ 2147483647 w 64"/>
              <a:gd name="T1" fmla="*/ 2147483647 h 124"/>
              <a:gd name="T2" fmla="*/ 0 w 64"/>
              <a:gd name="T3" fmla="*/ 0 h 124"/>
              <a:gd name="T4" fmla="*/ 0 60000 65536"/>
              <a:gd name="T5" fmla="*/ 0 60000 65536"/>
              <a:gd name="T6" fmla="*/ 0 w 64"/>
              <a:gd name="T7" fmla="*/ 0 h 124"/>
              <a:gd name="T8" fmla="*/ 64 w 64"/>
              <a:gd name="T9" fmla="*/ 124 h 124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64" h="124">
                <a:moveTo>
                  <a:pt x="24" y="124"/>
                </a:moveTo>
                <a:cubicBezTo>
                  <a:pt x="16" y="108"/>
                  <a:pt x="64" y="48"/>
                  <a:pt x="0" y="0"/>
                </a:cubicBezTo>
              </a:path>
            </a:pathLst>
          </a:custGeom>
          <a:noFill/>
          <a:ln w="19050">
            <a:solidFill>
              <a:srgbClr val="00800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84302" name="Freeform 29"/>
          <p:cNvSpPr>
            <a:spLocks/>
          </p:cNvSpPr>
          <p:nvPr/>
        </p:nvSpPr>
        <p:spPr bwMode="auto">
          <a:xfrm>
            <a:off x="5724525" y="1739900"/>
            <a:ext cx="301625" cy="563563"/>
          </a:xfrm>
          <a:custGeom>
            <a:avLst/>
            <a:gdLst>
              <a:gd name="T0" fmla="*/ 2147483647 w 267"/>
              <a:gd name="T1" fmla="*/ 0 h 509"/>
              <a:gd name="T2" fmla="*/ 2147483647 w 267"/>
              <a:gd name="T3" fmla="*/ 2147483647 h 509"/>
              <a:gd name="T4" fmla="*/ 2147483647 w 267"/>
              <a:gd name="T5" fmla="*/ 2147483647 h 509"/>
              <a:gd name="T6" fmla="*/ 0 w 267"/>
              <a:gd name="T7" fmla="*/ 2147483647 h 509"/>
              <a:gd name="T8" fmla="*/ 0 60000 65536"/>
              <a:gd name="T9" fmla="*/ 0 60000 65536"/>
              <a:gd name="T10" fmla="*/ 0 60000 65536"/>
              <a:gd name="T11" fmla="*/ 0 60000 65536"/>
              <a:gd name="T12" fmla="*/ 0 w 267"/>
              <a:gd name="T13" fmla="*/ 0 h 509"/>
              <a:gd name="T14" fmla="*/ 267 w 267"/>
              <a:gd name="T15" fmla="*/ 509 h 509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67" h="509">
                <a:moveTo>
                  <a:pt x="236" y="0"/>
                </a:moveTo>
                <a:cubicBezTo>
                  <a:pt x="223" y="23"/>
                  <a:pt x="267" y="132"/>
                  <a:pt x="236" y="186"/>
                </a:cubicBezTo>
                <a:cubicBezTo>
                  <a:pt x="205" y="240"/>
                  <a:pt x="91" y="268"/>
                  <a:pt x="52" y="322"/>
                </a:cubicBezTo>
                <a:cubicBezTo>
                  <a:pt x="13" y="376"/>
                  <a:pt x="11" y="470"/>
                  <a:pt x="0" y="509"/>
                </a:cubicBezTo>
              </a:path>
            </a:pathLst>
          </a:custGeom>
          <a:noFill/>
          <a:ln w="19050">
            <a:solidFill>
              <a:srgbClr val="00800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84303" name="Freeform 30"/>
          <p:cNvSpPr>
            <a:spLocks/>
          </p:cNvSpPr>
          <p:nvPr/>
        </p:nvSpPr>
        <p:spPr bwMode="auto">
          <a:xfrm>
            <a:off x="5992813" y="1949450"/>
            <a:ext cx="39687" cy="50800"/>
          </a:xfrm>
          <a:custGeom>
            <a:avLst/>
            <a:gdLst>
              <a:gd name="T0" fmla="*/ 0 w 36"/>
              <a:gd name="T1" fmla="*/ 0 h 48"/>
              <a:gd name="T2" fmla="*/ 2147483647 w 36"/>
              <a:gd name="T3" fmla="*/ 2147483647 h 48"/>
              <a:gd name="T4" fmla="*/ 2147483647 w 36"/>
              <a:gd name="T5" fmla="*/ 2147483647 h 48"/>
              <a:gd name="T6" fmla="*/ 2147483647 w 36"/>
              <a:gd name="T7" fmla="*/ 2147483647 h 48"/>
              <a:gd name="T8" fmla="*/ 0 60000 65536"/>
              <a:gd name="T9" fmla="*/ 0 60000 65536"/>
              <a:gd name="T10" fmla="*/ 0 60000 65536"/>
              <a:gd name="T11" fmla="*/ 0 60000 65536"/>
              <a:gd name="T12" fmla="*/ 0 w 36"/>
              <a:gd name="T13" fmla="*/ 0 h 48"/>
              <a:gd name="T14" fmla="*/ 36 w 36"/>
              <a:gd name="T15" fmla="*/ 48 h 48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6" h="48">
                <a:moveTo>
                  <a:pt x="0" y="0"/>
                </a:moveTo>
                <a:cubicBezTo>
                  <a:pt x="7" y="9"/>
                  <a:pt x="12" y="15"/>
                  <a:pt x="18" y="24"/>
                </a:cubicBezTo>
                <a:cubicBezTo>
                  <a:pt x="22" y="41"/>
                  <a:pt x="17" y="38"/>
                  <a:pt x="26" y="42"/>
                </a:cubicBezTo>
                <a:lnTo>
                  <a:pt x="36" y="48"/>
                </a:lnTo>
              </a:path>
            </a:pathLst>
          </a:custGeom>
          <a:noFill/>
          <a:ln w="19050">
            <a:solidFill>
              <a:srgbClr val="00800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84304" name="Freeform 31"/>
          <p:cNvSpPr>
            <a:spLocks/>
          </p:cNvSpPr>
          <p:nvPr/>
        </p:nvSpPr>
        <p:spPr bwMode="auto">
          <a:xfrm>
            <a:off x="5662613" y="1643063"/>
            <a:ext cx="193675" cy="123825"/>
          </a:xfrm>
          <a:custGeom>
            <a:avLst/>
            <a:gdLst>
              <a:gd name="T0" fmla="*/ 2147483647 w 235"/>
              <a:gd name="T1" fmla="*/ 2147483647 h 112"/>
              <a:gd name="T2" fmla="*/ 2147483647 w 235"/>
              <a:gd name="T3" fmla="*/ 2147483647 h 112"/>
              <a:gd name="T4" fmla="*/ 2147483647 w 235"/>
              <a:gd name="T5" fmla="*/ 2147483647 h 112"/>
              <a:gd name="T6" fmla="*/ 2147483647 w 235"/>
              <a:gd name="T7" fmla="*/ 2147483647 h 112"/>
              <a:gd name="T8" fmla="*/ 0 w 235"/>
              <a:gd name="T9" fmla="*/ 2147483647 h 11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35"/>
              <a:gd name="T16" fmla="*/ 0 h 112"/>
              <a:gd name="T17" fmla="*/ 235 w 235"/>
              <a:gd name="T18" fmla="*/ 112 h 112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35" h="112">
                <a:moveTo>
                  <a:pt x="235" y="112"/>
                </a:moveTo>
                <a:cubicBezTo>
                  <a:pt x="224" y="105"/>
                  <a:pt x="196" y="95"/>
                  <a:pt x="186" y="83"/>
                </a:cubicBezTo>
                <a:cubicBezTo>
                  <a:pt x="176" y="71"/>
                  <a:pt x="195" y="50"/>
                  <a:pt x="174" y="37"/>
                </a:cubicBezTo>
                <a:cubicBezTo>
                  <a:pt x="153" y="24"/>
                  <a:pt x="91" y="0"/>
                  <a:pt x="62" y="3"/>
                </a:cubicBezTo>
                <a:cubicBezTo>
                  <a:pt x="33" y="6"/>
                  <a:pt x="21" y="44"/>
                  <a:pt x="0" y="57"/>
                </a:cubicBezTo>
              </a:path>
            </a:pathLst>
          </a:custGeom>
          <a:noFill/>
          <a:ln w="19050" cap="flat" cmpd="sng">
            <a:solidFill>
              <a:srgbClr val="008000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84305" name="Line 32"/>
          <p:cNvSpPr>
            <a:spLocks noChangeShapeType="1"/>
          </p:cNvSpPr>
          <p:nvPr/>
        </p:nvSpPr>
        <p:spPr bwMode="auto">
          <a:xfrm flipV="1">
            <a:off x="5103813" y="2151063"/>
            <a:ext cx="52387" cy="100012"/>
          </a:xfrm>
          <a:prstGeom prst="line">
            <a:avLst/>
          </a:prstGeom>
          <a:noFill/>
          <a:ln w="19050">
            <a:solidFill>
              <a:srgbClr val="00800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84306" name="Freeform 33"/>
          <p:cNvSpPr>
            <a:spLocks/>
          </p:cNvSpPr>
          <p:nvPr/>
        </p:nvSpPr>
        <p:spPr bwMode="auto">
          <a:xfrm>
            <a:off x="8288338" y="2219325"/>
            <a:ext cx="379412" cy="441325"/>
          </a:xfrm>
          <a:custGeom>
            <a:avLst/>
            <a:gdLst>
              <a:gd name="T0" fmla="*/ 2147483647 w 334"/>
              <a:gd name="T1" fmla="*/ 2147483647 h 400"/>
              <a:gd name="T2" fmla="*/ 2147483647 w 334"/>
              <a:gd name="T3" fmla="*/ 2147483647 h 400"/>
              <a:gd name="T4" fmla="*/ 2147483647 w 334"/>
              <a:gd name="T5" fmla="*/ 2147483647 h 400"/>
              <a:gd name="T6" fmla="*/ 0 w 334"/>
              <a:gd name="T7" fmla="*/ 0 h 400"/>
              <a:gd name="T8" fmla="*/ 0 60000 65536"/>
              <a:gd name="T9" fmla="*/ 0 60000 65536"/>
              <a:gd name="T10" fmla="*/ 0 60000 65536"/>
              <a:gd name="T11" fmla="*/ 0 60000 65536"/>
              <a:gd name="T12" fmla="*/ 0 w 334"/>
              <a:gd name="T13" fmla="*/ 0 h 400"/>
              <a:gd name="T14" fmla="*/ 334 w 334"/>
              <a:gd name="T15" fmla="*/ 400 h 4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34" h="400">
                <a:moveTo>
                  <a:pt x="334" y="400"/>
                </a:moveTo>
                <a:cubicBezTo>
                  <a:pt x="321" y="386"/>
                  <a:pt x="311" y="305"/>
                  <a:pt x="270" y="262"/>
                </a:cubicBezTo>
                <a:cubicBezTo>
                  <a:pt x="229" y="219"/>
                  <a:pt x="131" y="188"/>
                  <a:pt x="86" y="144"/>
                </a:cubicBezTo>
                <a:cubicBezTo>
                  <a:pt x="41" y="100"/>
                  <a:pt x="18" y="30"/>
                  <a:pt x="0" y="0"/>
                </a:cubicBezTo>
              </a:path>
            </a:pathLst>
          </a:custGeom>
          <a:noFill/>
          <a:ln w="19050">
            <a:solidFill>
              <a:srgbClr val="00800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84307" name="Freeform 34"/>
          <p:cNvSpPr>
            <a:spLocks/>
          </p:cNvSpPr>
          <p:nvPr/>
        </p:nvSpPr>
        <p:spPr bwMode="auto">
          <a:xfrm>
            <a:off x="8385175" y="2201863"/>
            <a:ext cx="120650" cy="174625"/>
          </a:xfrm>
          <a:custGeom>
            <a:avLst/>
            <a:gdLst>
              <a:gd name="T0" fmla="*/ 0 w 105"/>
              <a:gd name="T1" fmla="*/ 2147483647 h 158"/>
              <a:gd name="T2" fmla="*/ 2147483647 w 105"/>
              <a:gd name="T3" fmla="*/ 2147483647 h 158"/>
              <a:gd name="T4" fmla="*/ 2147483647 w 105"/>
              <a:gd name="T5" fmla="*/ 2147483647 h 158"/>
              <a:gd name="T6" fmla="*/ 2147483647 w 105"/>
              <a:gd name="T7" fmla="*/ 2147483647 h 158"/>
              <a:gd name="T8" fmla="*/ 2147483647 w 105"/>
              <a:gd name="T9" fmla="*/ 2147483647 h 158"/>
              <a:gd name="T10" fmla="*/ 2147483647 w 105"/>
              <a:gd name="T11" fmla="*/ 2147483647 h 158"/>
              <a:gd name="T12" fmla="*/ 2147483647 w 105"/>
              <a:gd name="T13" fmla="*/ 0 h 158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05"/>
              <a:gd name="T22" fmla="*/ 0 h 158"/>
              <a:gd name="T23" fmla="*/ 105 w 105"/>
              <a:gd name="T24" fmla="*/ 158 h 158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05" h="158">
                <a:moveTo>
                  <a:pt x="0" y="158"/>
                </a:moveTo>
                <a:cubicBezTo>
                  <a:pt x="6" y="153"/>
                  <a:pt x="12" y="147"/>
                  <a:pt x="18" y="142"/>
                </a:cubicBezTo>
                <a:cubicBezTo>
                  <a:pt x="23" y="138"/>
                  <a:pt x="34" y="132"/>
                  <a:pt x="34" y="132"/>
                </a:cubicBezTo>
                <a:cubicBezTo>
                  <a:pt x="42" y="122"/>
                  <a:pt x="49" y="115"/>
                  <a:pt x="60" y="108"/>
                </a:cubicBezTo>
                <a:cubicBezTo>
                  <a:pt x="67" y="99"/>
                  <a:pt x="71" y="93"/>
                  <a:pt x="80" y="86"/>
                </a:cubicBezTo>
                <a:cubicBezTo>
                  <a:pt x="88" y="56"/>
                  <a:pt x="84" y="63"/>
                  <a:pt x="84" y="10"/>
                </a:cubicBezTo>
                <a:lnTo>
                  <a:pt x="105" y="0"/>
                </a:lnTo>
              </a:path>
            </a:pathLst>
          </a:custGeom>
          <a:noFill/>
          <a:ln w="19050">
            <a:solidFill>
              <a:srgbClr val="00800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84308" name="Freeform 35"/>
          <p:cNvSpPr>
            <a:spLocks/>
          </p:cNvSpPr>
          <p:nvPr/>
        </p:nvSpPr>
        <p:spPr bwMode="auto">
          <a:xfrm>
            <a:off x="8707438" y="2384425"/>
            <a:ext cx="136525" cy="174625"/>
          </a:xfrm>
          <a:custGeom>
            <a:avLst/>
            <a:gdLst>
              <a:gd name="T0" fmla="*/ 2147483647 w 159"/>
              <a:gd name="T1" fmla="*/ 2147483647 h 202"/>
              <a:gd name="T2" fmla="*/ 2147483647 w 159"/>
              <a:gd name="T3" fmla="*/ 2147483647 h 202"/>
              <a:gd name="T4" fmla="*/ 2147483647 w 159"/>
              <a:gd name="T5" fmla="*/ 2147483647 h 202"/>
              <a:gd name="T6" fmla="*/ 2147483647 w 159"/>
              <a:gd name="T7" fmla="*/ 2147483647 h 202"/>
              <a:gd name="T8" fmla="*/ 2147483647 w 159"/>
              <a:gd name="T9" fmla="*/ 2147483647 h 202"/>
              <a:gd name="T10" fmla="*/ 2147483647 w 159"/>
              <a:gd name="T11" fmla="*/ 2147483647 h 202"/>
              <a:gd name="T12" fmla="*/ 2147483647 w 159"/>
              <a:gd name="T13" fmla="*/ 0 h 202"/>
              <a:gd name="T14" fmla="*/ 2147483647 w 159"/>
              <a:gd name="T15" fmla="*/ 2147483647 h 202"/>
              <a:gd name="T16" fmla="*/ 2147483647 w 159"/>
              <a:gd name="T17" fmla="*/ 2147483647 h 202"/>
              <a:gd name="T18" fmla="*/ 2147483647 w 159"/>
              <a:gd name="T19" fmla="*/ 2147483647 h 202"/>
              <a:gd name="T20" fmla="*/ 2147483647 w 159"/>
              <a:gd name="T21" fmla="*/ 2147483647 h 202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159"/>
              <a:gd name="T34" fmla="*/ 0 h 202"/>
              <a:gd name="T35" fmla="*/ 159 w 159"/>
              <a:gd name="T36" fmla="*/ 202 h 202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159" h="202">
                <a:moveTo>
                  <a:pt x="55" y="202"/>
                </a:moveTo>
                <a:cubicBezTo>
                  <a:pt x="50" y="187"/>
                  <a:pt x="35" y="175"/>
                  <a:pt x="25" y="162"/>
                </a:cubicBezTo>
                <a:cubicBezTo>
                  <a:pt x="17" y="152"/>
                  <a:pt x="13" y="140"/>
                  <a:pt x="5" y="130"/>
                </a:cubicBezTo>
                <a:cubicBezTo>
                  <a:pt x="0" y="116"/>
                  <a:pt x="12" y="100"/>
                  <a:pt x="25" y="96"/>
                </a:cubicBezTo>
                <a:cubicBezTo>
                  <a:pt x="31" y="87"/>
                  <a:pt x="37" y="83"/>
                  <a:pt x="43" y="74"/>
                </a:cubicBezTo>
                <a:cubicBezTo>
                  <a:pt x="44" y="72"/>
                  <a:pt x="47" y="68"/>
                  <a:pt x="47" y="68"/>
                </a:cubicBezTo>
                <a:cubicBezTo>
                  <a:pt x="49" y="45"/>
                  <a:pt x="53" y="23"/>
                  <a:pt x="55" y="0"/>
                </a:cubicBezTo>
                <a:cubicBezTo>
                  <a:pt x="63" y="8"/>
                  <a:pt x="67" y="13"/>
                  <a:pt x="77" y="20"/>
                </a:cubicBezTo>
                <a:cubicBezTo>
                  <a:pt x="79" y="21"/>
                  <a:pt x="83" y="24"/>
                  <a:pt x="83" y="24"/>
                </a:cubicBezTo>
                <a:cubicBezTo>
                  <a:pt x="109" y="23"/>
                  <a:pt x="148" y="37"/>
                  <a:pt x="159" y="14"/>
                </a:cubicBezTo>
                <a:lnTo>
                  <a:pt x="152" y="4"/>
                </a:lnTo>
              </a:path>
            </a:pathLst>
          </a:custGeom>
          <a:noFill/>
          <a:ln w="19050">
            <a:solidFill>
              <a:srgbClr val="00800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84309" name="Freeform 36"/>
          <p:cNvSpPr>
            <a:spLocks/>
          </p:cNvSpPr>
          <p:nvPr/>
        </p:nvSpPr>
        <p:spPr bwMode="auto">
          <a:xfrm>
            <a:off x="8537575" y="2914650"/>
            <a:ext cx="96838" cy="119063"/>
          </a:xfrm>
          <a:custGeom>
            <a:avLst/>
            <a:gdLst>
              <a:gd name="T0" fmla="*/ 2147483647 w 86"/>
              <a:gd name="T1" fmla="*/ 2147483647 h 106"/>
              <a:gd name="T2" fmla="*/ 2147483647 w 86"/>
              <a:gd name="T3" fmla="*/ 2147483647 h 106"/>
              <a:gd name="T4" fmla="*/ 2147483647 w 86"/>
              <a:gd name="T5" fmla="*/ 2147483647 h 106"/>
              <a:gd name="T6" fmla="*/ 0 w 86"/>
              <a:gd name="T7" fmla="*/ 2147483647 h 106"/>
              <a:gd name="T8" fmla="*/ 2147483647 w 86"/>
              <a:gd name="T9" fmla="*/ 0 h 10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86"/>
              <a:gd name="T16" fmla="*/ 0 h 106"/>
              <a:gd name="T17" fmla="*/ 86 w 86"/>
              <a:gd name="T18" fmla="*/ 106 h 10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86" h="106">
                <a:moveTo>
                  <a:pt x="86" y="106"/>
                </a:moveTo>
                <a:cubicBezTo>
                  <a:pt x="74" y="105"/>
                  <a:pt x="66" y="106"/>
                  <a:pt x="56" y="102"/>
                </a:cubicBezTo>
                <a:cubicBezTo>
                  <a:pt x="49" y="99"/>
                  <a:pt x="36" y="94"/>
                  <a:pt x="36" y="94"/>
                </a:cubicBezTo>
                <a:cubicBezTo>
                  <a:pt x="22" y="80"/>
                  <a:pt x="7" y="76"/>
                  <a:pt x="0" y="56"/>
                </a:cubicBezTo>
                <a:cubicBezTo>
                  <a:pt x="5" y="5"/>
                  <a:pt x="67" y="9"/>
                  <a:pt x="80" y="0"/>
                </a:cubicBezTo>
              </a:path>
            </a:pathLst>
          </a:custGeom>
          <a:noFill/>
          <a:ln w="19050">
            <a:solidFill>
              <a:srgbClr val="00800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84310" name="Freeform 37"/>
          <p:cNvSpPr>
            <a:spLocks/>
          </p:cNvSpPr>
          <p:nvPr/>
        </p:nvSpPr>
        <p:spPr bwMode="auto">
          <a:xfrm>
            <a:off x="8194675" y="2955925"/>
            <a:ext cx="303213" cy="147638"/>
          </a:xfrm>
          <a:custGeom>
            <a:avLst/>
            <a:gdLst>
              <a:gd name="T0" fmla="*/ 2147483647 w 268"/>
              <a:gd name="T1" fmla="*/ 2147483647 h 134"/>
              <a:gd name="T2" fmla="*/ 2147483647 w 268"/>
              <a:gd name="T3" fmla="*/ 2147483647 h 134"/>
              <a:gd name="T4" fmla="*/ 2147483647 w 268"/>
              <a:gd name="T5" fmla="*/ 2147483647 h 134"/>
              <a:gd name="T6" fmla="*/ 2147483647 w 268"/>
              <a:gd name="T7" fmla="*/ 2147483647 h 134"/>
              <a:gd name="T8" fmla="*/ 2147483647 w 268"/>
              <a:gd name="T9" fmla="*/ 2147483647 h 134"/>
              <a:gd name="T10" fmla="*/ 2147483647 w 268"/>
              <a:gd name="T11" fmla="*/ 0 h 134"/>
              <a:gd name="T12" fmla="*/ 2147483647 w 268"/>
              <a:gd name="T13" fmla="*/ 2147483647 h 134"/>
              <a:gd name="T14" fmla="*/ 2147483647 w 268"/>
              <a:gd name="T15" fmla="*/ 2147483647 h 134"/>
              <a:gd name="T16" fmla="*/ 2147483647 w 268"/>
              <a:gd name="T17" fmla="*/ 2147483647 h 134"/>
              <a:gd name="T18" fmla="*/ 0 w 268"/>
              <a:gd name="T19" fmla="*/ 2147483647 h 134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268"/>
              <a:gd name="T31" fmla="*/ 0 h 134"/>
              <a:gd name="T32" fmla="*/ 268 w 268"/>
              <a:gd name="T33" fmla="*/ 134 h 134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268" h="134">
                <a:moveTo>
                  <a:pt x="268" y="134"/>
                </a:moveTo>
                <a:cubicBezTo>
                  <a:pt x="251" y="119"/>
                  <a:pt x="242" y="85"/>
                  <a:pt x="220" y="80"/>
                </a:cubicBezTo>
                <a:cubicBezTo>
                  <a:pt x="211" y="71"/>
                  <a:pt x="201" y="61"/>
                  <a:pt x="190" y="54"/>
                </a:cubicBezTo>
                <a:cubicBezTo>
                  <a:pt x="184" y="45"/>
                  <a:pt x="167" y="30"/>
                  <a:pt x="158" y="24"/>
                </a:cubicBezTo>
                <a:cubicBezTo>
                  <a:pt x="153" y="17"/>
                  <a:pt x="144" y="8"/>
                  <a:pt x="136" y="4"/>
                </a:cubicBezTo>
                <a:cubicBezTo>
                  <a:pt x="132" y="2"/>
                  <a:pt x="124" y="0"/>
                  <a:pt x="124" y="0"/>
                </a:cubicBezTo>
                <a:cubicBezTo>
                  <a:pt x="100" y="1"/>
                  <a:pt x="92" y="1"/>
                  <a:pt x="72" y="8"/>
                </a:cubicBezTo>
                <a:cubicBezTo>
                  <a:pt x="67" y="10"/>
                  <a:pt x="55" y="23"/>
                  <a:pt x="54" y="24"/>
                </a:cubicBezTo>
                <a:cubicBezTo>
                  <a:pt x="47" y="31"/>
                  <a:pt x="37" y="35"/>
                  <a:pt x="30" y="42"/>
                </a:cubicBezTo>
                <a:cubicBezTo>
                  <a:pt x="20" y="52"/>
                  <a:pt x="5" y="69"/>
                  <a:pt x="0" y="74"/>
                </a:cubicBezTo>
              </a:path>
            </a:pathLst>
          </a:custGeom>
          <a:noFill/>
          <a:ln w="19050">
            <a:solidFill>
              <a:srgbClr val="00800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84311" name="Freeform 38"/>
          <p:cNvSpPr>
            <a:spLocks/>
          </p:cNvSpPr>
          <p:nvPr/>
        </p:nvSpPr>
        <p:spPr bwMode="auto">
          <a:xfrm>
            <a:off x="7508875" y="2201863"/>
            <a:ext cx="60325" cy="512762"/>
          </a:xfrm>
          <a:custGeom>
            <a:avLst/>
            <a:gdLst>
              <a:gd name="T0" fmla="*/ 2147483647 w 63"/>
              <a:gd name="T1" fmla="*/ 2147483647 h 423"/>
              <a:gd name="T2" fmla="*/ 2147483647 w 63"/>
              <a:gd name="T3" fmla="*/ 2147483647 h 423"/>
              <a:gd name="T4" fmla="*/ 2147483647 w 63"/>
              <a:gd name="T5" fmla="*/ 2147483647 h 423"/>
              <a:gd name="T6" fmla="*/ 2147483647 w 63"/>
              <a:gd name="T7" fmla="*/ 2147483647 h 423"/>
              <a:gd name="T8" fmla="*/ 2147483647 w 63"/>
              <a:gd name="T9" fmla="*/ 2147483647 h 423"/>
              <a:gd name="T10" fmla="*/ 0 w 63"/>
              <a:gd name="T11" fmla="*/ 0 h 42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3"/>
              <a:gd name="T19" fmla="*/ 0 h 423"/>
              <a:gd name="T20" fmla="*/ 63 w 63"/>
              <a:gd name="T21" fmla="*/ 423 h 423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3" h="423">
                <a:moveTo>
                  <a:pt x="63" y="423"/>
                </a:moveTo>
                <a:cubicBezTo>
                  <a:pt x="51" y="419"/>
                  <a:pt x="52" y="413"/>
                  <a:pt x="45" y="402"/>
                </a:cubicBezTo>
                <a:cubicBezTo>
                  <a:pt x="41" y="387"/>
                  <a:pt x="33" y="377"/>
                  <a:pt x="27" y="363"/>
                </a:cubicBezTo>
                <a:cubicBezTo>
                  <a:pt x="23" y="354"/>
                  <a:pt x="18" y="336"/>
                  <a:pt x="18" y="336"/>
                </a:cubicBezTo>
                <a:cubicBezTo>
                  <a:pt x="16" y="233"/>
                  <a:pt x="13" y="127"/>
                  <a:pt x="9" y="24"/>
                </a:cubicBezTo>
                <a:cubicBezTo>
                  <a:pt x="9" y="17"/>
                  <a:pt x="5" y="5"/>
                  <a:pt x="0" y="0"/>
                </a:cubicBezTo>
              </a:path>
            </a:pathLst>
          </a:custGeom>
          <a:noFill/>
          <a:ln w="19050">
            <a:solidFill>
              <a:srgbClr val="FF000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84312" name="Freeform 39"/>
          <p:cNvSpPr>
            <a:spLocks/>
          </p:cNvSpPr>
          <p:nvPr/>
        </p:nvSpPr>
        <p:spPr bwMode="auto">
          <a:xfrm>
            <a:off x="8480425" y="3009900"/>
            <a:ext cx="152400" cy="98425"/>
          </a:xfrm>
          <a:custGeom>
            <a:avLst/>
            <a:gdLst>
              <a:gd name="T0" fmla="*/ 2147483647 w 134"/>
              <a:gd name="T1" fmla="*/ 2147483647 h 90"/>
              <a:gd name="T2" fmla="*/ 2147483647 w 134"/>
              <a:gd name="T3" fmla="*/ 0 h 90"/>
              <a:gd name="T4" fmla="*/ 2147483647 w 134"/>
              <a:gd name="T5" fmla="*/ 2147483647 h 90"/>
              <a:gd name="T6" fmla="*/ 2147483647 w 134"/>
              <a:gd name="T7" fmla="*/ 2147483647 h 90"/>
              <a:gd name="T8" fmla="*/ 2147483647 w 134"/>
              <a:gd name="T9" fmla="*/ 2147483647 h 9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34"/>
              <a:gd name="T16" fmla="*/ 0 h 90"/>
              <a:gd name="T17" fmla="*/ 134 w 134"/>
              <a:gd name="T18" fmla="*/ 90 h 90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34" h="90">
                <a:moveTo>
                  <a:pt x="14" y="90"/>
                </a:moveTo>
                <a:cubicBezTo>
                  <a:pt x="16" y="51"/>
                  <a:pt x="0" y="13"/>
                  <a:pt x="38" y="0"/>
                </a:cubicBezTo>
                <a:cubicBezTo>
                  <a:pt x="75" y="2"/>
                  <a:pt x="82" y="2"/>
                  <a:pt x="110" y="9"/>
                </a:cubicBezTo>
                <a:cubicBezTo>
                  <a:pt x="113" y="13"/>
                  <a:pt x="131" y="30"/>
                  <a:pt x="134" y="30"/>
                </a:cubicBezTo>
                <a:lnTo>
                  <a:pt x="112" y="40"/>
                </a:lnTo>
              </a:path>
            </a:pathLst>
          </a:custGeom>
          <a:noFill/>
          <a:ln w="19050" cap="flat" cmpd="sng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84313" name="Freeform 40"/>
          <p:cNvSpPr>
            <a:spLocks/>
          </p:cNvSpPr>
          <p:nvPr/>
        </p:nvSpPr>
        <p:spPr bwMode="auto">
          <a:xfrm>
            <a:off x="8664575" y="2552700"/>
            <a:ext cx="98425" cy="114300"/>
          </a:xfrm>
          <a:custGeom>
            <a:avLst/>
            <a:gdLst>
              <a:gd name="T0" fmla="*/ 0 w 87"/>
              <a:gd name="T1" fmla="*/ 2147483647 h 102"/>
              <a:gd name="T2" fmla="*/ 2147483647 w 87"/>
              <a:gd name="T3" fmla="*/ 2147483647 h 102"/>
              <a:gd name="T4" fmla="*/ 2147483647 w 87"/>
              <a:gd name="T5" fmla="*/ 2147483647 h 102"/>
              <a:gd name="T6" fmla="*/ 2147483647 w 87"/>
              <a:gd name="T7" fmla="*/ 2147483647 h 102"/>
              <a:gd name="T8" fmla="*/ 2147483647 w 87"/>
              <a:gd name="T9" fmla="*/ 2147483647 h 102"/>
              <a:gd name="T10" fmla="*/ 2147483647 w 87"/>
              <a:gd name="T11" fmla="*/ 0 h 102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87"/>
              <a:gd name="T19" fmla="*/ 0 h 102"/>
              <a:gd name="T20" fmla="*/ 87 w 87"/>
              <a:gd name="T21" fmla="*/ 102 h 102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87" h="102">
                <a:moveTo>
                  <a:pt x="0" y="102"/>
                </a:moveTo>
                <a:cubicBezTo>
                  <a:pt x="4" y="87"/>
                  <a:pt x="12" y="73"/>
                  <a:pt x="21" y="60"/>
                </a:cubicBezTo>
                <a:cubicBezTo>
                  <a:pt x="22" y="56"/>
                  <a:pt x="21" y="51"/>
                  <a:pt x="24" y="48"/>
                </a:cubicBezTo>
                <a:cubicBezTo>
                  <a:pt x="29" y="43"/>
                  <a:pt x="42" y="36"/>
                  <a:pt x="42" y="36"/>
                </a:cubicBezTo>
                <a:cubicBezTo>
                  <a:pt x="47" y="28"/>
                  <a:pt x="59" y="18"/>
                  <a:pt x="69" y="18"/>
                </a:cubicBezTo>
                <a:lnTo>
                  <a:pt x="87" y="0"/>
                </a:lnTo>
              </a:path>
            </a:pathLst>
          </a:custGeom>
          <a:noFill/>
          <a:ln w="19050" cap="flat" cmpd="sng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84314" name="Freeform 41"/>
          <p:cNvSpPr>
            <a:spLocks/>
          </p:cNvSpPr>
          <p:nvPr/>
        </p:nvSpPr>
        <p:spPr bwMode="auto">
          <a:xfrm>
            <a:off x="6959600" y="1682750"/>
            <a:ext cx="87313" cy="61913"/>
          </a:xfrm>
          <a:custGeom>
            <a:avLst/>
            <a:gdLst>
              <a:gd name="T0" fmla="*/ 2147483647 w 76"/>
              <a:gd name="T1" fmla="*/ 2147483647 h 54"/>
              <a:gd name="T2" fmla="*/ 2147483647 w 76"/>
              <a:gd name="T3" fmla="*/ 2147483647 h 54"/>
              <a:gd name="T4" fmla="*/ 2147483647 w 76"/>
              <a:gd name="T5" fmla="*/ 2147483647 h 54"/>
              <a:gd name="T6" fmla="*/ 2147483647 w 76"/>
              <a:gd name="T7" fmla="*/ 0 h 54"/>
              <a:gd name="T8" fmla="*/ 0 w 76"/>
              <a:gd name="T9" fmla="*/ 2147483647 h 5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76"/>
              <a:gd name="T16" fmla="*/ 0 h 54"/>
              <a:gd name="T17" fmla="*/ 76 w 76"/>
              <a:gd name="T18" fmla="*/ 54 h 5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76" h="54">
                <a:moveTo>
                  <a:pt x="76" y="54"/>
                </a:moveTo>
                <a:cubicBezTo>
                  <a:pt x="62" y="51"/>
                  <a:pt x="57" y="44"/>
                  <a:pt x="46" y="36"/>
                </a:cubicBezTo>
                <a:cubicBezTo>
                  <a:pt x="40" y="27"/>
                  <a:pt x="38" y="14"/>
                  <a:pt x="28" y="9"/>
                </a:cubicBezTo>
                <a:cubicBezTo>
                  <a:pt x="15" y="3"/>
                  <a:pt x="16" y="7"/>
                  <a:pt x="16" y="0"/>
                </a:cubicBezTo>
                <a:lnTo>
                  <a:pt x="0" y="15"/>
                </a:lnTo>
              </a:path>
            </a:pathLst>
          </a:custGeom>
          <a:noFill/>
          <a:ln w="19050" cap="flat" cmpd="sng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84315" name="Freeform 42"/>
          <p:cNvSpPr>
            <a:spLocks/>
          </p:cNvSpPr>
          <p:nvPr/>
        </p:nvSpPr>
        <p:spPr bwMode="auto">
          <a:xfrm>
            <a:off x="5972175" y="1603375"/>
            <a:ext cx="325438" cy="306388"/>
          </a:xfrm>
          <a:custGeom>
            <a:avLst/>
            <a:gdLst>
              <a:gd name="T0" fmla="*/ 2147483647 w 288"/>
              <a:gd name="T1" fmla="*/ 2147483647 h 276"/>
              <a:gd name="T2" fmla="*/ 2147483647 w 288"/>
              <a:gd name="T3" fmla="*/ 2147483647 h 276"/>
              <a:gd name="T4" fmla="*/ 2147483647 w 288"/>
              <a:gd name="T5" fmla="*/ 2147483647 h 276"/>
              <a:gd name="T6" fmla="*/ 2147483647 w 288"/>
              <a:gd name="T7" fmla="*/ 2147483647 h 276"/>
              <a:gd name="T8" fmla="*/ 2147483647 w 288"/>
              <a:gd name="T9" fmla="*/ 2147483647 h 276"/>
              <a:gd name="T10" fmla="*/ 2147483647 w 288"/>
              <a:gd name="T11" fmla="*/ 2147483647 h 276"/>
              <a:gd name="T12" fmla="*/ 0 w 288"/>
              <a:gd name="T13" fmla="*/ 2147483647 h 276"/>
              <a:gd name="T14" fmla="*/ 2147483647 w 288"/>
              <a:gd name="T15" fmla="*/ 2147483647 h 276"/>
              <a:gd name="T16" fmla="*/ 2147483647 w 288"/>
              <a:gd name="T17" fmla="*/ 0 h 27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288"/>
              <a:gd name="T28" fmla="*/ 0 h 276"/>
              <a:gd name="T29" fmla="*/ 288 w 288"/>
              <a:gd name="T30" fmla="*/ 276 h 27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288" h="276">
                <a:moveTo>
                  <a:pt x="288" y="276"/>
                </a:moveTo>
                <a:cubicBezTo>
                  <a:pt x="266" y="269"/>
                  <a:pt x="276" y="272"/>
                  <a:pt x="258" y="267"/>
                </a:cubicBezTo>
                <a:cubicBezTo>
                  <a:pt x="246" y="259"/>
                  <a:pt x="234" y="254"/>
                  <a:pt x="222" y="246"/>
                </a:cubicBezTo>
                <a:cubicBezTo>
                  <a:pt x="213" y="219"/>
                  <a:pt x="225" y="192"/>
                  <a:pt x="204" y="171"/>
                </a:cubicBezTo>
                <a:cubicBezTo>
                  <a:pt x="187" y="121"/>
                  <a:pt x="145" y="143"/>
                  <a:pt x="90" y="141"/>
                </a:cubicBezTo>
                <a:cubicBezTo>
                  <a:pt x="68" y="134"/>
                  <a:pt x="65" y="124"/>
                  <a:pt x="45" y="111"/>
                </a:cubicBezTo>
                <a:cubicBezTo>
                  <a:pt x="32" y="103"/>
                  <a:pt x="15" y="107"/>
                  <a:pt x="0" y="105"/>
                </a:cubicBezTo>
                <a:cubicBezTo>
                  <a:pt x="19" y="99"/>
                  <a:pt x="40" y="77"/>
                  <a:pt x="54" y="63"/>
                </a:cubicBezTo>
                <a:cubicBezTo>
                  <a:pt x="59" y="49"/>
                  <a:pt x="64" y="0"/>
                  <a:pt x="39" y="0"/>
                </a:cubicBezTo>
              </a:path>
            </a:pathLst>
          </a:custGeom>
          <a:noFill/>
          <a:ln w="19050" cap="flat" cmpd="sng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84316" name="Freeform 43"/>
          <p:cNvSpPr>
            <a:spLocks/>
          </p:cNvSpPr>
          <p:nvPr/>
        </p:nvSpPr>
        <p:spPr bwMode="auto">
          <a:xfrm>
            <a:off x="5459413" y="2303463"/>
            <a:ext cx="57150" cy="98425"/>
          </a:xfrm>
          <a:custGeom>
            <a:avLst/>
            <a:gdLst>
              <a:gd name="T0" fmla="*/ 2147483647 w 51"/>
              <a:gd name="T1" fmla="*/ 2147483647 h 91"/>
              <a:gd name="T2" fmla="*/ 2147483647 w 51"/>
              <a:gd name="T3" fmla="*/ 2147483647 h 91"/>
              <a:gd name="T4" fmla="*/ 2147483647 w 51"/>
              <a:gd name="T5" fmla="*/ 2147483647 h 91"/>
              <a:gd name="T6" fmla="*/ 2147483647 w 51"/>
              <a:gd name="T7" fmla="*/ 2147483647 h 91"/>
              <a:gd name="T8" fmla="*/ 2147483647 w 51"/>
              <a:gd name="T9" fmla="*/ 0 h 9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51"/>
              <a:gd name="T16" fmla="*/ 0 h 91"/>
              <a:gd name="T17" fmla="*/ 51 w 51"/>
              <a:gd name="T18" fmla="*/ 91 h 91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51" h="91">
                <a:moveTo>
                  <a:pt x="2" y="91"/>
                </a:moveTo>
                <a:cubicBezTo>
                  <a:pt x="3" y="79"/>
                  <a:pt x="0" y="66"/>
                  <a:pt x="5" y="55"/>
                </a:cubicBezTo>
                <a:cubicBezTo>
                  <a:pt x="8" y="48"/>
                  <a:pt x="23" y="43"/>
                  <a:pt x="23" y="43"/>
                </a:cubicBezTo>
                <a:cubicBezTo>
                  <a:pt x="36" y="24"/>
                  <a:pt x="30" y="30"/>
                  <a:pt x="38" y="22"/>
                </a:cubicBezTo>
                <a:lnTo>
                  <a:pt x="51" y="0"/>
                </a:lnTo>
              </a:path>
            </a:pathLst>
          </a:custGeom>
          <a:noFill/>
          <a:ln w="19050" cap="flat" cmpd="sng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84317" name="Freeform 44"/>
          <p:cNvSpPr>
            <a:spLocks/>
          </p:cNvSpPr>
          <p:nvPr/>
        </p:nvSpPr>
        <p:spPr bwMode="auto">
          <a:xfrm>
            <a:off x="4786313" y="1909763"/>
            <a:ext cx="1616075" cy="438150"/>
          </a:xfrm>
          <a:custGeom>
            <a:avLst/>
            <a:gdLst>
              <a:gd name="T0" fmla="*/ 0 w 1422"/>
              <a:gd name="T1" fmla="*/ 2147483647 h 397"/>
              <a:gd name="T2" fmla="*/ 2147483647 w 1422"/>
              <a:gd name="T3" fmla="*/ 2147483647 h 397"/>
              <a:gd name="T4" fmla="*/ 2147483647 w 1422"/>
              <a:gd name="T5" fmla="*/ 2147483647 h 397"/>
              <a:gd name="T6" fmla="*/ 2147483647 w 1422"/>
              <a:gd name="T7" fmla="*/ 2147483647 h 397"/>
              <a:gd name="T8" fmla="*/ 2147483647 w 1422"/>
              <a:gd name="T9" fmla="*/ 2147483647 h 397"/>
              <a:gd name="T10" fmla="*/ 2147483647 w 1422"/>
              <a:gd name="T11" fmla="*/ 2147483647 h 397"/>
              <a:gd name="T12" fmla="*/ 2147483647 w 1422"/>
              <a:gd name="T13" fmla="*/ 2147483647 h 397"/>
              <a:gd name="T14" fmla="*/ 2147483647 w 1422"/>
              <a:gd name="T15" fmla="*/ 2147483647 h 397"/>
              <a:gd name="T16" fmla="*/ 2147483647 w 1422"/>
              <a:gd name="T17" fmla="*/ 2147483647 h 397"/>
              <a:gd name="T18" fmla="*/ 2147483647 w 1422"/>
              <a:gd name="T19" fmla="*/ 2147483647 h 397"/>
              <a:gd name="T20" fmla="*/ 2147483647 w 1422"/>
              <a:gd name="T21" fmla="*/ 2147483647 h 397"/>
              <a:gd name="T22" fmla="*/ 2147483647 w 1422"/>
              <a:gd name="T23" fmla="*/ 2147483647 h 397"/>
              <a:gd name="T24" fmla="*/ 2147483647 w 1422"/>
              <a:gd name="T25" fmla="*/ 2147483647 h 397"/>
              <a:gd name="T26" fmla="*/ 2147483647 w 1422"/>
              <a:gd name="T27" fmla="*/ 2147483647 h 397"/>
              <a:gd name="T28" fmla="*/ 2147483647 w 1422"/>
              <a:gd name="T29" fmla="*/ 2147483647 h 397"/>
              <a:gd name="T30" fmla="*/ 2147483647 w 1422"/>
              <a:gd name="T31" fmla="*/ 2147483647 h 397"/>
              <a:gd name="T32" fmla="*/ 2147483647 w 1422"/>
              <a:gd name="T33" fmla="*/ 2147483647 h 397"/>
              <a:gd name="T34" fmla="*/ 2147483647 w 1422"/>
              <a:gd name="T35" fmla="*/ 2147483647 h 397"/>
              <a:gd name="T36" fmla="*/ 2147483647 w 1422"/>
              <a:gd name="T37" fmla="*/ 2147483647 h 397"/>
              <a:gd name="T38" fmla="*/ 2147483647 w 1422"/>
              <a:gd name="T39" fmla="*/ 2147483647 h 397"/>
              <a:gd name="T40" fmla="*/ 2147483647 w 1422"/>
              <a:gd name="T41" fmla="*/ 2147483647 h 397"/>
              <a:gd name="T42" fmla="*/ 2147483647 w 1422"/>
              <a:gd name="T43" fmla="*/ 2147483647 h 397"/>
              <a:gd name="T44" fmla="*/ 2147483647 w 1422"/>
              <a:gd name="T45" fmla="*/ 2147483647 h 397"/>
              <a:gd name="T46" fmla="*/ 2147483647 w 1422"/>
              <a:gd name="T47" fmla="*/ 2147483647 h 397"/>
              <a:gd name="T48" fmla="*/ 2147483647 w 1422"/>
              <a:gd name="T49" fmla="*/ 2147483647 h 397"/>
              <a:gd name="T50" fmla="*/ 2147483647 w 1422"/>
              <a:gd name="T51" fmla="*/ 2147483647 h 397"/>
              <a:gd name="T52" fmla="*/ 2147483647 w 1422"/>
              <a:gd name="T53" fmla="*/ 2147483647 h 397"/>
              <a:gd name="T54" fmla="*/ 2147483647 w 1422"/>
              <a:gd name="T55" fmla="*/ 2147483647 h 397"/>
              <a:gd name="T56" fmla="*/ 2147483647 w 1422"/>
              <a:gd name="T57" fmla="*/ 2147483647 h 397"/>
              <a:gd name="T58" fmla="*/ 2147483647 w 1422"/>
              <a:gd name="T59" fmla="*/ 2147483647 h 397"/>
              <a:gd name="T60" fmla="*/ 2147483647 w 1422"/>
              <a:gd name="T61" fmla="*/ 2147483647 h 397"/>
              <a:gd name="T62" fmla="*/ 2147483647 w 1422"/>
              <a:gd name="T63" fmla="*/ 2147483647 h 397"/>
              <a:gd name="T64" fmla="*/ 2147483647 w 1422"/>
              <a:gd name="T65" fmla="*/ 2147483647 h 397"/>
              <a:gd name="T66" fmla="*/ 2147483647 w 1422"/>
              <a:gd name="T67" fmla="*/ 2147483647 h 397"/>
              <a:gd name="T68" fmla="*/ 2147483647 w 1422"/>
              <a:gd name="T69" fmla="*/ 2147483647 h 397"/>
              <a:gd name="T70" fmla="*/ 2147483647 w 1422"/>
              <a:gd name="T71" fmla="*/ 2147483647 h 397"/>
              <a:gd name="T72" fmla="*/ 2147483647 w 1422"/>
              <a:gd name="T73" fmla="*/ 2147483647 h 397"/>
              <a:gd name="T74" fmla="*/ 2147483647 w 1422"/>
              <a:gd name="T75" fmla="*/ 0 h 397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1422"/>
              <a:gd name="T115" fmla="*/ 0 h 397"/>
              <a:gd name="T116" fmla="*/ 1422 w 1422"/>
              <a:gd name="T117" fmla="*/ 397 h 397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1422" h="397">
                <a:moveTo>
                  <a:pt x="0" y="225"/>
                </a:moveTo>
                <a:cubicBezTo>
                  <a:pt x="35" y="229"/>
                  <a:pt x="16" y="234"/>
                  <a:pt x="42" y="240"/>
                </a:cubicBezTo>
                <a:cubicBezTo>
                  <a:pt x="55" y="260"/>
                  <a:pt x="69" y="270"/>
                  <a:pt x="93" y="273"/>
                </a:cubicBezTo>
                <a:cubicBezTo>
                  <a:pt x="109" y="289"/>
                  <a:pt x="131" y="286"/>
                  <a:pt x="150" y="273"/>
                </a:cubicBezTo>
                <a:cubicBezTo>
                  <a:pt x="153" y="258"/>
                  <a:pt x="152" y="249"/>
                  <a:pt x="165" y="240"/>
                </a:cubicBezTo>
                <a:cubicBezTo>
                  <a:pt x="169" y="234"/>
                  <a:pt x="176" y="229"/>
                  <a:pt x="180" y="222"/>
                </a:cubicBezTo>
                <a:cubicBezTo>
                  <a:pt x="188" y="209"/>
                  <a:pt x="183" y="204"/>
                  <a:pt x="195" y="192"/>
                </a:cubicBezTo>
                <a:cubicBezTo>
                  <a:pt x="227" y="193"/>
                  <a:pt x="259" y="191"/>
                  <a:pt x="291" y="195"/>
                </a:cubicBezTo>
                <a:cubicBezTo>
                  <a:pt x="302" y="196"/>
                  <a:pt x="319" y="216"/>
                  <a:pt x="330" y="222"/>
                </a:cubicBezTo>
                <a:cubicBezTo>
                  <a:pt x="340" y="228"/>
                  <a:pt x="374" y="228"/>
                  <a:pt x="375" y="228"/>
                </a:cubicBezTo>
                <a:cubicBezTo>
                  <a:pt x="448" y="243"/>
                  <a:pt x="363" y="241"/>
                  <a:pt x="501" y="246"/>
                </a:cubicBezTo>
                <a:cubicBezTo>
                  <a:pt x="530" y="250"/>
                  <a:pt x="559" y="254"/>
                  <a:pt x="585" y="267"/>
                </a:cubicBezTo>
                <a:cubicBezTo>
                  <a:pt x="606" y="298"/>
                  <a:pt x="573" y="252"/>
                  <a:pt x="603" y="282"/>
                </a:cubicBezTo>
                <a:cubicBezTo>
                  <a:pt x="605" y="284"/>
                  <a:pt x="604" y="289"/>
                  <a:pt x="606" y="291"/>
                </a:cubicBezTo>
                <a:cubicBezTo>
                  <a:pt x="611" y="298"/>
                  <a:pt x="619" y="302"/>
                  <a:pt x="624" y="309"/>
                </a:cubicBezTo>
                <a:cubicBezTo>
                  <a:pt x="626" y="312"/>
                  <a:pt x="628" y="315"/>
                  <a:pt x="630" y="318"/>
                </a:cubicBezTo>
                <a:cubicBezTo>
                  <a:pt x="633" y="336"/>
                  <a:pt x="630" y="344"/>
                  <a:pt x="645" y="354"/>
                </a:cubicBezTo>
                <a:cubicBezTo>
                  <a:pt x="655" y="383"/>
                  <a:pt x="677" y="379"/>
                  <a:pt x="705" y="381"/>
                </a:cubicBezTo>
                <a:cubicBezTo>
                  <a:pt x="726" y="385"/>
                  <a:pt x="739" y="393"/>
                  <a:pt x="762" y="396"/>
                </a:cubicBezTo>
                <a:cubicBezTo>
                  <a:pt x="772" y="395"/>
                  <a:pt x="783" y="397"/>
                  <a:pt x="792" y="393"/>
                </a:cubicBezTo>
                <a:cubicBezTo>
                  <a:pt x="802" y="388"/>
                  <a:pt x="804" y="375"/>
                  <a:pt x="813" y="369"/>
                </a:cubicBezTo>
                <a:cubicBezTo>
                  <a:pt x="825" y="351"/>
                  <a:pt x="832" y="357"/>
                  <a:pt x="855" y="360"/>
                </a:cubicBezTo>
                <a:cubicBezTo>
                  <a:pt x="909" y="378"/>
                  <a:pt x="867" y="366"/>
                  <a:pt x="987" y="369"/>
                </a:cubicBezTo>
                <a:cubicBezTo>
                  <a:pt x="1025" y="364"/>
                  <a:pt x="1006" y="358"/>
                  <a:pt x="1035" y="348"/>
                </a:cubicBezTo>
                <a:cubicBezTo>
                  <a:pt x="1030" y="332"/>
                  <a:pt x="1030" y="325"/>
                  <a:pt x="1047" y="321"/>
                </a:cubicBezTo>
                <a:cubicBezTo>
                  <a:pt x="1052" y="305"/>
                  <a:pt x="1054" y="319"/>
                  <a:pt x="1068" y="312"/>
                </a:cubicBezTo>
                <a:cubicBezTo>
                  <a:pt x="1109" y="292"/>
                  <a:pt x="1116" y="302"/>
                  <a:pt x="1185" y="300"/>
                </a:cubicBezTo>
                <a:cubicBezTo>
                  <a:pt x="1198" y="296"/>
                  <a:pt x="1206" y="280"/>
                  <a:pt x="1218" y="279"/>
                </a:cubicBezTo>
                <a:cubicBezTo>
                  <a:pt x="1239" y="277"/>
                  <a:pt x="1260" y="277"/>
                  <a:pt x="1281" y="276"/>
                </a:cubicBezTo>
                <a:cubicBezTo>
                  <a:pt x="1294" y="272"/>
                  <a:pt x="1295" y="263"/>
                  <a:pt x="1305" y="255"/>
                </a:cubicBezTo>
                <a:cubicBezTo>
                  <a:pt x="1314" y="247"/>
                  <a:pt x="1325" y="246"/>
                  <a:pt x="1335" y="240"/>
                </a:cubicBezTo>
                <a:cubicBezTo>
                  <a:pt x="1349" y="232"/>
                  <a:pt x="1358" y="222"/>
                  <a:pt x="1371" y="213"/>
                </a:cubicBezTo>
                <a:cubicBezTo>
                  <a:pt x="1379" y="201"/>
                  <a:pt x="1388" y="202"/>
                  <a:pt x="1398" y="192"/>
                </a:cubicBezTo>
                <a:cubicBezTo>
                  <a:pt x="1399" y="179"/>
                  <a:pt x="1398" y="166"/>
                  <a:pt x="1401" y="153"/>
                </a:cubicBezTo>
                <a:cubicBezTo>
                  <a:pt x="1404" y="142"/>
                  <a:pt x="1422" y="126"/>
                  <a:pt x="1422" y="126"/>
                </a:cubicBezTo>
                <a:cubicBezTo>
                  <a:pt x="1420" y="89"/>
                  <a:pt x="1422" y="55"/>
                  <a:pt x="1389" y="33"/>
                </a:cubicBezTo>
                <a:cubicBezTo>
                  <a:pt x="1379" y="18"/>
                  <a:pt x="1366" y="13"/>
                  <a:pt x="1350" y="6"/>
                </a:cubicBezTo>
                <a:cubicBezTo>
                  <a:pt x="1343" y="3"/>
                  <a:pt x="1329" y="0"/>
                  <a:pt x="1329" y="0"/>
                </a:cubicBezTo>
              </a:path>
            </a:pathLst>
          </a:custGeom>
          <a:noFill/>
          <a:ln w="19050">
            <a:solidFill>
              <a:srgbClr val="00800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84318" name="Freeform 45"/>
          <p:cNvSpPr>
            <a:spLocks/>
          </p:cNvSpPr>
          <p:nvPr/>
        </p:nvSpPr>
        <p:spPr bwMode="auto">
          <a:xfrm>
            <a:off x="6367463" y="1943100"/>
            <a:ext cx="749300" cy="666750"/>
          </a:xfrm>
          <a:custGeom>
            <a:avLst/>
            <a:gdLst>
              <a:gd name="T0" fmla="*/ 0 w 660"/>
              <a:gd name="T1" fmla="*/ 0 h 603"/>
              <a:gd name="T2" fmla="*/ 2147483647 w 660"/>
              <a:gd name="T3" fmla="*/ 2147483647 h 603"/>
              <a:gd name="T4" fmla="*/ 2147483647 w 660"/>
              <a:gd name="T5" fmla="*/ 2147483647 h 603"/>
              <a:gd name="T6" fmla="*/ 2147483647 w 660"/>
              <a:gd name="T7" fmla="*/ 2147483647 h 603"/>
              <a:gd name="T8" fmla="*/ 2147483647 w 660"/>
              <a:gd name="T9" fmla="*/ 2147483647 h 603"/>
              <a:gd name="T10" fmla="*/ 2147483647 w 660"/>
              <a:gd name="T11" fmla="*/ 2147483647 h 603"/>
              <a:gd name="T12" fmla="*/ 2147483647 w 660"/>
              <a:gd name="T13" fmla="*/ 2147483647 h 603"/>
              <a:gd name="T14" fmla="*/ 2147483647 w 660"/>
              <a:gd name="T15" fmla="*/ 2147483647 h 603"/>
              <a:gd name="T16" fmla="*/ 2147483647 w 660"/>
              <a:gd name="T17" fmla="*/ 2147483647 h 603"/>
              <a:gd name="T18" fmla="*/ 2147483647 w 660"/>
              <a:gd name="T19" fmla="*/ 2147483647 h 603"/>
              <a:gd name="T20" fmla="*/ 2147483647 w 660"/>
              <a:gd name="T21" fmla="*/ 2147483647 h 603"/>
              <a:gd name="T22" fmla="*/ 2147483647 w 660"/>
              <a:gd name="T23" fmla="*/ 2147483647 h 603"/>
              <a:gd name="T24" fmla="*/ 2147483647 w 660"/>
              <a:gd name="T25" fmla="*/ 2147483647 h 603"/>
              <a:gd name="T26" fmla="*/ 2147483647 w 660"/>
              <a:gd name="T27" fmla="*/ 2147483647 h 603"/>
              <a:gd name="T28" fmla="*/ 2147483647 w 660"/>
              <a:gd name="T29" fmla="*/ 2147483647 h 603"/>
              <a:gd name="T30" fmla="*/ 2147483647 w 660"/>
              <a:gd name="T31" fmla="*/ 2147483647 h 603"/>
              <a:gd name="T32" fmla="*/ 2147483647 w 660"/>
              <a:gd name="T33" fmla="*/ 2147483647 h 603"/>
              <a:gd name="T34" fmla="*/ 2147483647 w 660"/>
              <a:gd name="T35" fmla="*/ 2147483647 h 603"/>
              <a:gd name="T36" fmla="*/ 2147483647 w 660"/>
              <a:gd name="T37" fmla="*/ 2147483647 h 603"/>
              <a:gd name="T38" fmla="*/ 2147483647 w 660"/>
              <a:gd name="T39" fmla="*/ 2147483647 h 603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660"/>
              <a:gd name="T61" fmla="*/ 0 h 603"/>
              <a:gd name="T62" fmla="*/ 660 w 660"/>
              <a:gd name="T63" fmla="*/ 603 h 603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660" h="603">
                <a:moveTo>
                  <a:pt x="0" y="0"/>
                </a:moveTo>
                <a:cubicBezTo>
                  <a:pt x="19" y="1"/>
                  <a:pt x="38" y="1"/>
                  <a:pt x="57" y="3"/>
                </a:cubicBezTo>
                <a:cubicBezTo>
                  <a:pt x="65" y="4"/>
                  <a:pt x="81" y="9"/>
                  <a:pt x="81" y="9"/>
                </a:cubicBezTo>
                <a:cubicBezTo>
                  <a:pt x="112" y="30"/>
                  <a:pt x="79" y="79"/>
                  <a:pt x="102" y="105"/>
                </a:cubicBezTo>
                <a:cubicBezTo>
                  <a:pt x="108" y="112"/>
                  <a:pt x="120" y="108"/>
                  <a:pt x="129" y="111"/>
                </a:cubicBezTo>
                <a:cubicBezTo>
                  <a:pt x="153" y="118"/>
                  <a:pt x="179" y="120"/>
                  <a:pt x="204" y="123"/>
                </a:cubicBezTo>
                <a:cubicBezTo>
                  <a:pt x="217" y="130"/>
                  <a:pt x="229" y="132"/>
                  <a:pt x="243" y="135"/>
                </a:cubicBezTo>
                <a:cubicBezTo>
                  <a:pt x="265" y="168"/>
                  <a:pt x="317" y="152"/>
                  <a:pt x="351" y="153"/>
                </a:cubicBezTo>
                <a:cubicBezTo>
                  <a:pt x="364" y="157"/>
                  <a:pt x="377" y="164"/>
                  <a:pt x="390" y="168"/>
                </a:cubicBezTo>
                <a:cubicBezTo>
                  <a:pt x="403" y="181"/>
                  <a:pt x="419" y="180"/>
                  <a:pt x="435" y="189"/>
                </a:cubicBezTo>
                <a:cubicBezTo>
                  <a:pt x="441" y="193"/>
                  <a:pt x="447" y="197"/>
                  <a:pt x="453" y="201"/>
                </a:cubicBezTo>
                <a:cubicBezTo>
                  <a:pt x="456" y="203"/>
                  <a:pt x="462" y="207"/>
                  <a:pt x="462" y="207"/>
                </a:cubicBezTo>
                <a:cubicBezTo>
                  <a:pt x="469" y="221"/>
                  <a:pt x="481" y="232"/>
                  <a:pt x="492" y="243"/>
                </a:cubicBezTo>
                <a:cubicBezTo>
                  <a:pt x="494" y="249"/>
                  <a:pt x="500" y="254"/>
                  <a:pt x="501" y="261"/>
                </a:cubicBezTo>
                <a:cubicBezTo>
                  <a:pt x="507" y="305"/>
                  <a:pt x="501" y="324"/>
                  <a:pt x="531" y="354"/>
                </a:cubicBezTo>
                <a:cubicBezTo>
                  <a:pt x="540" y="382"/>
                  <a:pt x="573" y="405"/>
                  <a:pt x="591" y="429"/>
                </a:cubicBezTo>
                <a:cubicBezTo>
                  <a:pt x="598" y="451"/>
                  <a:pt x="593" y="443"/>
                  <a:pt x="606" y="456"/>
                </a:cubicBezTo>
                <a:cubicBezTo>
                  <a:pt x="615" y="483"/>
                  <a:pt x="606" y="452"/>
                  <a:pt x="612" y="516"/>
                </a:cubicBezTo>
                <a:cubicBezTo>
                  <a:pt x="614" y="535"/>
                  <a:pt x="640" y="558"/>
                  <a:pt x="654" y="567"/>
                </a:cubicBezTo>
                <a:cubicBezTo>
                  <a:pt x="658" y="579"/>
                  <a:pt x="660" y="591"/>
                  <a:pt x="660" y="603"/>
                </a:cubicBezTo>
              </a:path>
            </a:pathLst>
          </a:custGeom>
          <a:noFill/>
          <a:ln w="19050" cap="flat" cmpd="sng">
            <a:solidFill>
              <a:srgbClr val="008000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84319" name="Freeform 46"/>
          <p:cNvSpPr>
            <a:spLocks/>
          </p:cNvSpPr>
          <p:nvPr/>
        </p:nvSpPr>
        <p:spPr bwMode="auto">
          <a:xfrm>
            <a:off x="7116763" y="2536825"/>
            <a:ext cx="412750" cy="73025"/>
          </a:xfrm>
          <a:custGeom>
            <a:avLst/>
            <a:gdLst>
              <a:gd name="T0" fmla="*/ 0 w 363"/>
              <a:gd name="T1" fmla="*/ 2147483647 h 64"/>
              <a:gd name="T2" fmla="*/ 2147483647 w 363"/>
              <a:gd name="T3" fmla="*/ 2147483647 h 64"/>
              <a:gd name="T4" fmla="*/ 2147483647 w 363"/>
              <a:gd name="T5" fmla="*/ 2147483647 h 64"/>
              <a:gd name="T6" fmla="*/ 2147483647 w 363"/>
              <a:gd name="T7" fmla="*/ 2147483647 h 64"/>
              <a:gd name="T8" fmla="*/ 2147483647 w 363"/>
              <a:gd name="T9" fmla="*/ 2147483647 h 64"/>
              <a:gd name="T10" fmla="*/ 2147483647 w 363"/>
              <a:gd name="T11" fmla="*/ 2147483647 h 64"/>
              <a:gd name="T12" fmla="*/ 2147483647 w 363"/>
              <a:gd name="T13" fmla="*/ 2147483647 h 64"/>
              <a:gd name="T14" fmla="*/ 2147483647 w 363"/>
              <a:gd name="T15" fmla="*/ 2147483647 h 64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63"/>
              <a:gd name="T25" fmla="*/ 0 h 64"/>
              <a:gd name="T26" fmla="*/ 363 w 363"/>
              <a:gd name="T27" fmla="*/ 64 h 64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63" h="64">
                <a:moveTo>
                  <a:pt x="0" y="64"/>
                </a:moveTo>
                <a:cubicBezTo>
                  <a:pt x="26" y="47"/>
                  <a:pt x="30" y="49"/>
                  <a:pt x="66" y="46"/>
                </a:cubicBezTo>
                <a:cubicBezTo>
                  <a:pt x="79" y="42"/>
                  <a:pt x="80" y="36"/>
                  <a:pt x="90" y="28"/>
                </a:cubicBezTo>
                <a:cubicBezTo>
                  <a:pt x="99" y="21"/>
                  <a:pt x="117" y="15"/>
                  <a:pt x="129" y="13"/>
                </a:cubicBezTo>
                <a:cubicBezTo>
                  <a:pt x="141" y="11"/>
                  <a:pt x="153" y="9"/>
                  <a:pt x="165" y="7"/>
                </a:cubicBezTo>
                <a:cubicBezTo>
                  <a:pt x="173" y="6"/>
                  <a:pt x="189" y="1"/>
                  <a:pt x="189" y="1"/>
                </a:cubicBezTo>
                <a:cubicBezTo>
                  <a:pt x="242" y="2"/>
                  <a:pt x="295" y="0"/>
                  <a:pt x="348" y="4"/>
                </a:cubicBezTo>
                <a:cubicBezTo>
                  <a:pt x="355" y="5"/>
                  <a:pt x="363" y="19"/>
                  <a:pt x="363" y="19"/>
                </a:cubicBezTo>
              </a:path>
            </a:pathLst>
          </a:custGeom>
          <a:noFill/>
          <a:ln w="19050" cap="flat" cmpd="sng">
            <a:solidFill>
              <a:srgbClr val="008000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84320" name="Freeform 47"/>
          <p:cNvSpPr>
            <a:spLocks/>
          </p:cNvSpPr>
          <p:nvPr/>
        </p:nvSpPr>
        <p:spPr bwMode="auto">
          <a:xfrm>
            <a:off x="4819650" y="2019300"/>
            <a:ext cx="157163" cy="157163"/>
          </a:xfrm>
          <a:custGeom>
            <a:avLst/>
            <a:gdLst>
              <a:gd name="T0" fmla="*/ 2147483647 w 138"/>
              <a:gd name="T1" fmla="*/ 2147483647 h 142"/>
              <a:gd name="T2" fmla="*/ 2147483647 w 138"/>
              <a:gd name="T3" fmla="*/ 2147483647 h 142"/>
              <a:gd name="T4" fmla="*/ 2147483647 w 138"/>
              <a:gd name="T5" fmla="*/ 2147483647 h 142"/>
              <a:gd name="T6" fmla="*/ 2147483647 w 138"/>
              <a:gd name="T7" fmla="*/ 2147483647 h 142"/>
              <a:gd name="T8" fmla="*/ 2147483647 w 138"/>
              <a:gd name="T9" fmla="*/ 2147483647 h 142"/>
              <a:gd name="T10" fmla="*/ 2147483647 w 138"/>
              <a:gd name="T11" fmla="*/ 2147483647 h 142"/>
              <a:gd name="T12" fmla="*/ 2147483647 w 138"/>
              <a:gd name="T13" fmla="*/ 2147483647 h 142"/>
              <a:gd name="T14" fmla="*/ 0 w 138"/>
              <a:gd name="T15" fmla="*/ 2147483647 h 142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38"/>
              <a:gd name="T25" fmla="*/ 0 h 142"/>
              <a:gd name="T26" fmla="*/ 138 w 138"/>
              <a:gd name="T27" fmla="*/ 142 h 142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38" h="142">
                <a:moveTo>
                  <a:pt x="138" y="142"/>
                </a:moveTo>
                <a:cubicBezTo>
                  <a:pt x="128" y="139"/>
                  <a:pt x="111" y="127"/>
                  <a:pt x="111" y="127"/>
                </a:cubicBezTo>
                <a:cubicBezTo>
                  <a:pt x="100" y="105"/>
                  <a:pt x="90" y="78"/>
                  <a:pt x="69" y="64"/>
                </a:cubicBezTo>
                <a:cubicBezTo>
                  <a:pt x="67" y="60"/>
                  <a:pt x="66" y="55"/>
                  <a:pt x="63" y="52"/>
                </a:cubicBezTo>
                <a:cubicBezTo>
                  <a:pt x="61" y="50"/>
                  <a:pt x="56" y="51"/>
                  <a:pt x="54" y="49"/>
                </a:cubicBezTo>
                <a:cubicBezTo>
                  <a:pt x="51" y="46"/>
                  <a:pt x="51" y="40"/>
                  <a:pt x="48" y="37"/>
                </a:cubicBezTo>
                <a:cubicBezTo>
                  <a:pt x="39" y="26"/>
                  <a:pt x="22" y="20"/>
                  <a:pt x="12" y="10"/>
                </a:cubicBezTo>
                <a:cubicBezTo>
                  <a:pt x="2" y="0"/>
                  <a:pt x="2" y="2"/>
                  <a:pt x="0" y="1"/>
                </a:cubicBezTo>
              </a:path>
            </a:pathLst>
          </a:custGeom>
          <a:noFill/>
          <a:ln w="19050" cap="flat" cmpd="sng">
            <a:solidFill>
              <a:srgbClr val="008000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84321" name="Freeform 48"/>
          <p:cNvSpPr>
            <a:spLocks/>
          </p:cNvSpPr>
          <p:nvPr/>
        </p:nvSpPr>
        <p:spPr bwMode="auto">
          <a:xfrm>
            <a:off x="6878638" y="2606675"/>
            <a:ext cx="671512" cy="1751013"/>
          </a:xfrm>
          <a:custGeom>
            <a:avLst/>
            <a:gdLst>
              <a:gd name="T0" fmla="*/ 2147483647 w 591"/>
              <a:gd name="T1" fmla="*/ 0 h 1583"/>
              <a:gd name="T2" fmla="*/ 2147483647 w 591"/>
              <a:gd name="T3" fmla="*/ 2147483647 h 1583"/>
              <a:gd name="T4" fmla="*/ 2147483647 w 591"/>
              <a:gd name="T5" fmla="*/ 2147483647 h 1583"/>
              <a:gd name="T6" fmla="*/ 2147483647 w 591"/>
              <a:gd name="T7" fmla="*/ 2147483647 h 1583"/>
              <a:gd name="T8" fmla="*/ 2147483647 w 591"/>
              <a:gd name="T9" fmla="*/ 2147483647 h 1583"/>
              <a:gd name="T10" fmla="*/ 2147483647 w 591"/>
              <a:gd name="T11" fmla="*/ 2147483647 h 1583"/>
              <a:gd name="T12" fmla="*/ 2147483647 w 591"/>
              <a:gd name="T13" fmla="*/ 2147483647 h 1583"/>
              <a:gd name="T14" fmla="*/ 2147483647 w 591"/>
              <a:gd name="T15" fmla="*/ 2147483647 h 1583"/>
              <a:gd name="T16" fmla="*/ 2147483647 w 591"/>
              <a:gd name="T17" fmla="*/ 2147483647 h 1583"/>
              <a:gd name="T18" fmla="*/ 2147483647 w 591"/>
              <a:gd name="T19" fmla="*/ 2147483647 h 1583"/>
              <a:gd name="T20" fmla="*/ 2147483647 w 591"/>
              <a:gd name="T21" fmla="*/ 2147483647 h 1583"/>
              <a:gd name="T22" fmla="*/ 2147483647 w 591"/>
              <a:gd name="T23" fmla="*/ 2147483647 h 1583"/>
              <a:gd name="T24" fmla="*/ 0 w 591"/>
              <a:gd name="T25" fmla="*/ 2147483647 h 1583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591"/>
              <a:gd name="T40" fmla="*/ 0 h 1583"/>
              <a:gd name="T41" fmla="*/ 591 w 591"/>
              <a:gd name="T42" fmla="*/ 1583 h 1583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591" h="1583">
                <a:moveTo>
                  <a:pt x="186" y="0"/>
                </a:moveTo>
                <a:cubicBezTo>
                  <a:pt x="191" y="49"/>
                  <a:pt x="248" y="115"/>
                  <a:pt x="261" y="262"/>
                </a:cubicBezTo>
                <a:cubicBezTo>
                  <a:pt x="261" y="336"/>
                  <a:pt x="200" y="366"/>
                  <a:pt x="186" y="442"/>
                </a:cubicBezTo>
                <a:cubicBezTo>
                  <a:pt x="172" y="518"/>
                  <a:pt x="165" y="647"/>
                  <a:pt x="178" y="721"/>
                </a:cubicBezTo>
                <a:cubicBezTo>
                  <a:pt x="191" y="795"/>
                  <a:pt x="232" y="850"/>
                  <a:pt x="265" y="885"/>
                </a:cubicBezTo>
                <a:cubicBezTo>
                  <a:pt x="298" y="920"/>
                  <a:pt x="347" y="906"/>
                  <a:pt x="378" y="933"/>
                </a:cubicBezTo>
                <a:cubicBezTo>
                  <a:pt x="409" y="960"/>
                  <a:pt x="417" y="1016"/>
                  <a:pt x="448" y="1048"/>
                </a:cubicBezTo>
                <a:cubicBezTo>
                  <a:pt x="479" y="1080"/>
                  <a:pt x="544" y="1101"/>
                  <a:pt x="567" y="1123"/>
                </a:cubicBezTo>
                <a:cubicBezTo>
                  <a:pt x="591" y="1146"/>
                  <a:pt x="581" y="1161"/>
                  <a:pt x="585" y="1177"/>
                </a:cubicBezTo>
                <a:cubicBezTo>
                  <a:pt x="578" y="1197"/>
                  <a:pt x="563" y="1220"/>
                  <a:pt x="526" y="1242"/>
                </a:cubicBezTo>
                <a:cubicBezTo>
                  <a:pt x="526" y="1242"/>
                  <a:pt x="434" y="1300"/>
                  <a:pt x="364" y="1312"/>
                </a:cubicBezTo>
                <a:cubicBezTo>
                  <a:pt x="294" y="1324"/>
                  <a:pt x="217" y="1371"/>
                  <a:pt x="156" y="1416"/>
                </a:cubicBezTo>
                <a:cubicBezTo>
                  <a:pt x="95" y="1461"/>
                  <a:pt x="32" y="1548"/>
                  <a:pt x="0" y="1583"/>
                </a:cubicBezTo>
              </a:path>
            </a:pathLst>
          </a:custGeom>
          <a:noFill/>
          <a:ln w="19050">
            <a:solidFill>
              <a:srgbClr val="00800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84322" name="Text Box 49"/>
          <p:cNvSpPr txBox="1">
            <a:spLocks noChangeArrowheads="1"/>
          </p:cNvSpPr>
          <p:nvPr/>
        </p:nvSpPr>
        <p:spPr bwMode="auto">
          <a:xfrm>
            <a:off x="5691188" y="2051050"/>
            <a:ext cx="571500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/>
            <a:r>
              <a:rPr lang="ru-RU" sz="800"/>
              <a:t>п. Бараниха</a:t>
            </a:r>
          </a:p>
        </p:txBody>
      </p:sp>
      <p:sp>
        <p:nvSpPr>
          <p:cNvPr id="84323" name="Freeform 50"/>
          <p:cNvSpPr>
            <a:spLocks/>
          </p:cNvSpPr>
          <p:nvPr/>
        </p:nvSpPr>
        <p:spPr bwMode="auto">
          <a:xfrm>
            <a:off x="5775325" y="2119313"/>
            <a:ext cx="22225" cy="166687"/>
          </a:xfrm>
          <a:custGeom>
            <a:avLst/>
            <a:gdLst>
              <a:gd name="T0" fmla="*/ 2147483647 w 34"/>
              <a:gd name="T1" fmla="*/ 2147483647 h 272"/>
              <a:gd name="T2" fmla="*/ 2147483647 w 34"/>
              <a:gd name="T3" fmla="*/ 2147483647 h 272"/>
              <a:gd name="T4" fmla="*/ 2147483647 w 34"/>
              <a:gd name="T5" fmla="*/ 2147483647 h 272"/>
              <a:gd name="T6" fmla="*/ 2147483647 w 34"/>
              <a:gd name="T7" fmla="*/ 2147483647 h 272"/>
              <a:gd name="T8" fmla="*/ 2147483647 w 34"/>
              <a:gd name="T9" fmla="*/ 2147483647 h 272"/>
              <a:gd name="T10" fmla="*/ 2147483647 w 34"/>
              <a:gd name="T11" fmla="*/ 0 h 272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4"/>
              <a:gd name="T19" fmla="*/ 0 h 272"/>
              <a:gd name="T20" fmla="*/ 34 w 34"/>
              <a:gd name="T21" fmla="*/ 272 h 272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4" h="272">
                <a:moveTo>
                  <a:pt x="7" y="272"/>
                </a:moveTo>
                <a:cubicBezTo>
                  <a:pt x="7" y="272"/>
                  <a:pt x="34" y="187"/>
                  <a:pt x="34" y="187"/>
                </a:cubicBezTo>
                <a:cubicBezTo>
                  <a:pt x="34" y="187"/>
                  <a:pt x="14" y="151"/>
                  <a:pt x="7" y="136"/>
                </a:cubicBezTo>
                <a:cubicBezTo>
                  <a:pt x="0" y="121"/>
                  <a:pt x="0" y="98"/>
                  <a:pt x="7" y="90"/>
                </a:cubicBezTo>
                <a:cubicBezTo>
                  <a:pt x="14" y="82"/>
                  <a:pt x="21" y="83"/>
                  <a:pt x="21" y="68"/>
                </a:cubicBezTo>
                <a:cubicBezTo>
                  <a:pt x="21" y="53"/>
                  <a:pt x="16" y="19"/>
                  <a:pt x="7" y="0"/>
                </a:cubicBezTo>
              </a:path>
            </a:pathLst>
          </a:custGeom>
          <a:noFill/>
          <a:ln w="25400">
            <a:solidFill>
              <a:srgbClr val="CC00CC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84324" name="Freeform 51"/>
          <p:cNvSpPr>
            <a:spLocks/>
          </p:cNvSpPr>
          <p:nvPr/>
        </p:nvSpPr>
        <p:spPr bwMode="auto">
          <a:xfrm>
            <a:off x="5573713" y="2341563"/>
            <a:ext cx="41275" cy="139700"/>
          </a:xfrm>
          <a:custGeom>
            <a:avLst/>
            <a:gdLst>
              <a:gd name="T0" fmla="*/ 2147483647 w 62"/>
              <a:gd name="T1" fmla="*/ 0 h 226"/>
              <a:gd name="T2" fmla="*/ 2147483647 w 62"/>
              <a:gd name="T3" fmla="*/ 2147483647 h 226"/>
              <a:gd name="T4" fmla="*/ 2147483647 w 62"/>
              <a:gd name="T5" fmla="*/ 2147483647 h 226"/>
              <a:gd name="T6" fmla="*/ 2147483647 w 62"/>
              <a:gd name="T7" fmla="*/ 2147483647 h 226"/>
              <a:gd name="T8" fmla="*/ 0 60000 65536"/>
              <a:gd name="T9" fmla="*/ 0 60000 65536"/>
              <a:gd name="T10" fmla="*/ 0 60000 65536"/>
              <a:gd name="T11" fmla="*/ 0 60000 65536"/>
              <a:gd name="T12" fmla="*/ 0 w 62"/>
              <a:gd name="T13" fmla="*/ 0 h 226"/>
              <a:gd name="T14" fmla="*/ 62 w 62"/>
              <a:gd name="T15" fmla="*/ 226 h 22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62" h="226">
                <a:moveTo>
                  <a:pt x="8" y="0"/>
                </a:moveTo>
                <a:cubicBezTo>
                  <a:pt x="8" y="15"/>
                  <a:pt x="0" y="67"/>
                  <a:pt x="8" y="90"/>
                </a:cubicBezTo>
                <a:cubicBezTo>
                  <a:pt x="16" y="113"/>
                  <a:pt x="46" y="113"/>
                  <a:pt x="54" y="136"/>
                </a:cubicBezTo>
                <a:cubicBezTo>
                  <a:pt x="62" y="159"/>
                  <a:pt x="54" y="207"/>
                  <a:pt x="54" y="226"/>
                </a:cubicBezTo>
              </a:path>
            </a:pathLst>
          </a:custGeom>
          <a:noFill/>
          <a:ln w="25400">
            <a:solidFill>
              <a:srgbClr val="CC00CC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84325" name="Freeform 52"/>
          <p:cNvSpPr>
            <a:spLocks/>
          </p:cNvSpPr>
          <p:nvPr/>
        </p:nvSpPr>
        <p:spPr bwMode="auto">
          <a:xfrm>
            <a:off x="5380038" y="2341563"/>
            <a:ext cx="90487" cy="90487"/>
          </a:xfrm>
          <a:custGeom>
            <a:avLst/>
            <a:gdLst>
              <a:gd name="T0" fmla="*/ 2147483647 w 144"/>
              <a:gd name="T1" fmla="*/ 0 h 144"/>
              <a:gd name="T2" fmla="*/ 2147483647 w 144"/>
              <a:gd name="T3" fmla="*/ 2147483647 h 144"/>
              <a:gd name="T4" fmla="*/ 2147483647 w 144"/>
              <a:gd name="T5" fmla="*/ 2147483647 h 144"/>
              <a:gd name="T6" fmla="*/ 2147483647 w 144"/>
              <a:gd name="T7" fmla="*/ 2147483647 h 144"/>
              <a:gd name="T8" fmla="*/ 2147483647 w 144"/>
              <a:gd name="T9" fmla="*/ 2147483647 h 144"/>
              <a:gd name="T10" fmla="*/ 0 w 144"/>
              <a:gd name="T11" fmla="*/ 2147483647 h 144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44"/>
              <a:gd name="T19" fmla="*/ 0 h 144"/>
              <a:gd name="T20" fmla="*/ 144 w 144"/>
              <a:gd name="T21" fmla="*/ 144 h 144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44" h="144">
                <a:moveTo>
                  <a:pt x="136" y="0"/>
                </a:moveTo>
                <a:cubicBezTo>
                  <a:pt x="136" y="7"/>
                  <a:pt x="144" y="38"/>
                  <a:pt x="136" y="45"/>
                </a:cubicBezTo>
                <a:cubicBezTo>
                  <a:pt x="128" y="52"/>
                  <a:pt x="98" y="38"/>
                  <a:pt x="90" y="45"/>
                </a:cubicBezTo>
                <a:cubicBezTo>
                  <a:pt x="82" y="52"/>
                  <a:pt x="97" y="75"/>
                  <a:pt x="90" y="90"/>
                </a:cubicBezTo>
                <a:cubicBezTo>
                  <a:pt x="83" y="105"/>
                  <a:pt x="60" y="128"/>
                  <a:pt x="45" y="136"/>
                </a:cubicBezTo>
                <a:cubicBezTo>
                  <a:pt x="30" y="144"/>
                  <a:pt x="9" y="136"/>
                  <a:pt x="0" y="136"/>
                </a:cubicBezTo>
              </a:path>
            </a:pathLst>
          </a:custGeom>
          <a:noFill/>
          <a:ln w="25400">
            <a:solidFill>
              <a:srgbClr val="CC00CC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84326" name="Oval 55"/>
          <p:cNvSpPr>
            <a:spLocks noChangeArrowheads="1"/>
          </p:cNvSpPr>
          <p:nvPr/>
        </p:nvSpPr>
        <p:spPr bwMode="auto">
          <a:xfrm>
            <a:off x="5133975" y="2906713"/>
            <a:ext cx="39688" cy="38100"/>
          </a:xfrm>
          <a:prstGeom prst="ellipse">
            <a:avLst/>
          </a:prstGeom>
          <a:solidFill>
            <a:srgbClr val="808080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84327" name="Oval 56"/>
          <p:cNvSpPr>
            <a:spLocks noChangeArrowheads="1"/>
          </p:cNvSpPr>
          <p:nvPr/>
        </p:nvSpPr>
        <p:spPr bwMode="auto">
          <a:xfrm>
            <a:off x="5351463" y="2405063"/>
            <a:ext cx="39687" cy="38100"/>
          </a:xfrm>
          <a:prstGeom prst="ellipse">
            <a:avLst/>
          </a:prstGeom>
          <a:solidFill>
            <a:srgbClr val="808080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84328" name="Oval 57"/>
          <p:cNvSpPr>
            <a:spLocks noChangeArrowheads="1"/>
          </p:cNvSpPr>
          <p:nvPr/>
        </p:nvSpPr>
        <p:spPr bwMode="auto">
          <a:xfrm>
            <a:off x="5591175" y="2657475"/>
            <a:ext cx="41275" cy="38100"/>
          </a:xfrm>
          <a:prstGeom prst="ellipse">
            <a:avLst/>
          </a:prstGeom>
          <a:solidFill>
            <a:srgbClr val="808080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84329" name="Oval 58"/>
          <p:cNvSpPr>
            <a:spLocks noChangeArrowheads="1"/>
          </p:cNvSpPr>
          <p:nvPr/>
        </p:nvSpPr>
        <p:spPr bwMode="auto">
          <a:xfrm>
            <a:off x="5767388" y="2774950"/>
            <a:ext cx="38100" cy="38100"/>
          </a:xfrm>
          <a:prstGeom prst="ellipse">
            <a:avLst/>
          </a:prstGeom>
          <a:solidFill>
            <a:srgbClr val="808080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84330" name="Oval 59"/>
          <p:cNvSpPr>
            <a:spLocks noChangeArrowheads="1"/>
          </p:cNvSpPr>
          <p:nvPr/>
        </p:nvSpPr>
        <p:spPr bwMode="auto">
          <a:xfrm>
            <a:off x="5738813" y="2511425"/>
            <a:ext cx="41275" cy="38100"/>
          </a:xfrm>
          <a:prstGeom prst="ellipse">
            <a:avLst/>
          </a:prstGeom>
          <a:solidFill>
            <a:srgbClr val="808080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84331" name="Oval 60"/>
          <p:cNvSpPr>
            <a:spLocks noChangeArrowheads="1"/>
          </p:cNvSpPr>
          <p:nvPr/>
        </p:nvSpPr>
        <p:spPr bwMode="auto">
          <a:xfrm>
            <a:off x="5594350" y="2468563"/>
            <a:ext cx="39688" cy="39687"/>
          </a:xfrm>
          <a:prstGeom prst="ellipse">
            <a:avLst/>
          </a:prstGeom>
          <a:solidFill>
            <a:srgbClr val="808080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84332" name="Oval 61"/>
          <p:cNvSpPr>
            <a:spLocks noChangeArrowheads="1"/>
          </p:cNvSpPr>
          <p:nvPr/>
        </p:nvSpPr>
        <p:spPr bwMode="auto">
          <a:xfrm>
            <a:off x="5751513" y="2090738"/>
            <a:ext cx="39687" cy="38100"/>
          </a:xfrm>
          <a:prstGeom prst="ellipse">
            <a:avLst/>
          </a:prstGeom>
          <a:solidFill>
            <a:srgbClr val="808080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84333" name="Line 62"/>
          <p:cNvSpPr>
            <a:spLocks noChangeShapeType="1"/>
          </p:cNvSpPr>
          <p:nvPr/>
        </p:nvSpPr>
        <p:spPr bwMode="auto">
          <a:xfrm>
            <a:off x="6351588" y="1865313"/>
            <a:ext cx="198437" cy="0"/>
          </a:xfrm>
          <a:prstGeom prst="line">
            <a:avLst/>
          </a:prstGeom>
          <a:noFill/>
          <a:ln w="25400">
            <a:solidFill>
              <a:srgbClr val="CC00CC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84334" name="Oval 63"/>
          <p:cNvSpPr>
            <a:spLocks noChangeArrowheads="1"/>
          </p:cNvSpPr>
          <p:nvPr/>
        </p:nvSpPr>
        <p:spPr bwMode="auto">
          <a:xfrm>
            <a:off x="6321425" y="1825625"/>
            <a:ext cx="39688" cy="39688"/>
          </a:xfrm>
          <a:prstGeom prst="ellipse">
            <a:avLst/>
          </a:prstGeom>
          <a:solidFill>
            <a:srgbClr val="808080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84335" name="Oval 64"/>
          <p:cNvSpPr>
            <a:spLocks noChangeArrowheads="1"/>
          </p:cNvSpPr>
          <p:nvPr/>
        </p:nvSpPr>
        <p:spPr bwMode="auto">
          <a:xfrm>
            <a:off x="5978525" y="1700213"/>
            <a:ext cx="41275" cy="38100"/>
          </a:xfrm>
          <a:prstGeom prst="ellipse">
            <a:avLst/>
          </a:prstGeom>
          <a:solidFill>
            <a:srgbClr val="808080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1114177" name="Oval 65"/>
          <p:cNvSpPr>
            <a:spLocks noChangeArrowheads="1"/>
          </p:cNvSpPr>
          <p:nvPr/>
        </p:nvSpPr>
        <p:spPr bwMode="auto">
          <a:xfrm>
            <a:off x="7053263" y="3357563"/>
            <a:ext cx="101600" cy="98425"/>
          </a:xfrm>
          <a:prstGeom prst="ellipse">
            <a:avLst/>
          </a:prstGeom>
          <a:solidFill>
            <a:schemeClr val="hlink"/>
          </a:solidFill>
          <a:ln w="9525">
            <a:solidFill>
              <a:schemeClr val="bg1"/>
            </a:solidFill>
            <a:round/>
            <a:headEnd/>
            <a:tailEnd/>
          </a:ln>
          <a:effectLst>
            <a:prstShdw prst="shdw17" dist="17961" dir="2700000">
              <a:schemeClr val="bg1">
                <a:gamma/>
                <a:shade val="60000"/>
                <a:invGamma/>
              </a:schemeClr>
            </a:prstShdw>
          </a:effectLst>
        </p:spPr>
        <p:txBody>
          <a:bodyPr wrap="none" anchor="ctr"/>
          <a:lstStyle/>
          <a:p>
            <a:pPr>
              <a:defRPr/>
            </a:pPr>
            <a:endParaRPr lang="en-US"/>
          </a:p>
        </p:txBody>
      </p:sp>
      <p:sp>
        <p:nvSpPr>
          <p:cNvPr id="84337" name="Oval 66"/>
          <p:cNvSpPr>
            <a:spLocks noChangeArrowheads="1"/>
          </p:cNvSpPr>
          <p:nvPr/>
        </p:nvSpPr>
        <p:spPr bwMode="auto">
          <a:xfrm>
            <a:off x="5991225" y="3438525"/>
            <a:ext cx="74613" cy="76200"/>
          </a:xfrm>
          <a:prstGeom prst="ellipse">
            <a:avLst/>
          </a:prstGeom>
          <a:solidFill>
            <a:schemeClr val="hlink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1114179" name="Oval 67"/>
          <p:cNvSpPr>
            <a:spLocks noChangeArrowheads="1"/>
          </p:cNvSpPr>
          <p:nvPr/>
        </p:nvSpPr>
        <p:spPr bwMode="auto">
          <a:xfrm>
            <a:off x="7493000" y="3819525"/>
            <a:ext cx="101600" cy="98425"/>
          </a:xfrm>
          <a:prstGeom prst="ellipse">
            <a:avLst/>
          </a:prstGeom>
          <a:solidFill>
            <a:schemeClr val="hlink"/>
          </a:solidFill>
          <a:ln w="22225">
            <a:solidFill>
              <a:schemeClr val="bg1"/>
            </a:solidFill>
            <a:round/>
            <a:headEnd/>
            <a:tailEnd/>
          </a:ln>
          <a:effectLst>
            <a:prstShdw prst="shdw17" dist="17961" dir="2700000">
              <a:schemeClr val="bg1">
                <a:gamma/>
                <a:shade val="60000"/>
                <a:invGamma/>
              </a:schemeClr>
            </a:prstShdw>
          </a:effectLst>
        </p:spPr>
        <p:txBody>
          <a:bodyPr wrap="none" anchor="ctr"/>
          <a:lstStyle/>
          <a:p>
            <a:pPr>
              <a:defRPr/>
            </a:pPr>
            <a:endParaRPr lang="en-US"/>
          </a:p>
        </p:txBody>
      </p:sp>
      <p:sp>
        <p:nvSpPr>
          <p:cNvPr id="84339" name="Oval 68"/>
          <p:cNvSpPr>
            <a:spLocks noChangeArrowheads="1"/>
          </p:cNvSpPr>
          <p:nvPr/>
        </p:nvSpPr>
        <p:spPr bwMode="auto">
          <a:xfrm>
            <a:off x="5908675" y="1706563"/>
            <a:ext cx="76200" cy="74612"/>
          </a:xfrm>
          <a:prstGeom prst="ellipse">
            <a:avLst/>
          </a:prstGeom>
          <a:solidFill>
            <a:schemeClr val="hlink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1114181" name="Oval 69"/>
          <p:cNvSpPr>
            <a:spLocks noChangeArrowheads="1"/>
          </p:cNvSpPr>
          <p:nvPr/>
        </p:nvSpPr>
        <p:spPr bwMode="auto">
          <a:xfrm>
            <a:off x="8467725" y="3089275"/>
            <a:ext cx="73025" cy="74613"/>
          </a:xfrm>
          <a:prstGeom prst="ellipse">
            <a:avLst/>
          </a:prstGeom>
          <a:solidFill>
            <a:srgbClr val="808080"/>
          </a:solidFill>
          <a:ln w="22225">
            <a:solidFill>
              <a:schemeClr val="bg1"/>
            </a:solidFill>
            <a:round/>
            <a:headEnd/>
            <a:tailEnd/>
          </a:ln>
          <a:effectLst>
            <a:prstShdw prst="shdw17" dist="17961" dir="2700000">
              <a:schemeClr val="bg1">
                <a:gamma/>
                <a:shade val="60000"/>
                <a:invGamma/>
              </a:schemeClr>
            </a:prstShdw>
          </a:effectLst>
        </p:spPr>
        <p:txBody>
          <a:bodyPr wrap="none" anchor="ctr"/>
          <a:lstStyle/>
          <a:p>
            <a:pPr>
              <a:defRPr/>
            </a:pPr>
            <a:endParaRPr lang="en-US"/>
          </a:p>
        </p:txBody>
      </p:sp>
      <p:sp>
        <p:nvSpPr>
          <p:cNvPr id="1114182" name="Oval 70"/>
          <p:cNvSpPr>
            <a:spLocks noChangeArrowheads="1"/>
          </p:cNvSpPr>
          <p:nvPr/>
        </p:nvSpPr>
        <p:spPr bwMode="auto">
          <a:xfrm>
            <a:off x="7275513" y="1812925"/>
            <a:ext cx="74612" cy="74613"/>
          </a:xfrm>
          <a:prstGeom prst="ellipse">
            <a:avLst/>
          </a:prstGeom>
          <a:solidFill>
            <a:srgbClr val="808080"/>
          </a:solidFill>
          <a:ln w="9525">
            <a:solidFill>
              <a:schemeClr val="bg1"/>
            </a:solidFill>
            <a:round/>
            <a:headEnd/>
            <a:tailEnd/>
          </a:ln>
          <a:effectLst>
            <a:prstShdw prst="shdw17" dist="17961" dir="2700000">
              <a:schemeClr val="bg1">
                <a:gamma/>
                <a:shade val="60000"/>
                <a:invGamma/>
              </a:schemeClr>
            </a:prstShdw>
          </a:effectLst>
        </p:spPr>
        <p:txBody>
          <a:bodyPr wrap="none" anchor="ctr"/>
          <a:lstStyle/>
          <a:p>
            <a:pPr>
              <a:defRPr/>
            </a:pPr>
            <a:endParaRPr lang="en-US"/>
          </a:p>
        </p:txBody>
      </p:sp>
      <p:sp>
        <p:nvSpPr>
          <p:cNvPr id="1114183" name="Oval 71"/>
          <p:cNvSpPr>
            <a:spLocks noChangeArrowheads="1"/>
          </p:cNvSpPr>
          <p:nvPr/>
        </p:nvSpPr>
        <p:spPr bwMode="auto">
          <a:xfrm>
            <a:off x="7513638" y="2684463"/>
            <a:ext cx="76200" cy="76200"/>
          </a:xfrm>
          <a:prstGeom prst="ellipse">
            <a:avLst/>
          </a:prstGeom>
          <a:solidFill>
            <a:srgbClr val="808080"/>
          </a:solidFill>
          <a:ln w="9525">
            <a:solidFill>
              <a:schemeClr val="bg1"/>
            </a:solidFill>
            <a:round/>
            <a:headEnd/>
            <a:tailEnd/>
          </a:ln>
          <a:effectLst>
            <a:prstShdw prst="shdw17" dist="17961" dir="2700000">
              <a:schemeClr val="bg1">
                <a:gamma/>
                <a:shade val="60000"/>
                <a:invGamma/>
              </a:schemeClr>
            </a:prstShdw>
          </a:effectLst>
        </p:spPr>
        <p:txBody>
          <a:bodyPr wrap="none" anchor="ctr"/>
          <a:lstStyle/>
          <a:p>
            <a:pPr>
              <a:defRPr/>
            </a:pPr>
            <a:endParaRPr lang="en-US"/>
          </a:p>
        </p:txBody>
      </p:sp>
      <p:sp>
        <p:nvSpPr>
          <p:cNvPr id="1114184" name="Oval 72"/>
          <p:cNvSpPr>
            <a:spLocks noChangeArrowheads="1"/>
          </p:cNvSpPr>
          <p:nvPr/>
        </p:nvSpPr>
        <p:spPr bwMode="auto">
          <a:xfrm>
            <a:off x="8721725" y="2500313"/>
            <a:ext cx="76200" cy="76200"/>
          </a:xfrm>
          <a:prstGeom prst="ellipse">
            <a:avLst/>
          </a:prstGeom>
          <a:solidFill>
            <a:srgbClr val="808080"/>
          </a:solidFill>
          <a:ln w="9525">
            <a:solidFill>
              <a:schemeClr val="bg1"/>
            </a:solidFill>
            <a:round/>
            <a:headEnd/>
            <a:tailEnd/>
          </a:ln>
          <a:effectLst>
            <a:prstShdw prst="shdw17" dist="17961" dir="2700000">
              <a:schemeClr val="bg1">
                <a:gamma/>
                <a:shade val="60000"/>
                <a:invGamma/>
              </a:schemeClr>
            </a:prstShdw>
          </a:effectLst>
        </p:spPr>
        <p:txBody>
          <a:bodyPr wrap="none" anchor="ctr"/>
          <a:lstStyle/>
          <a:p>
            <a:pPr>
              <a:defRPr/>
            </a:pPr>
            <a:endParaRPr lang="en-US"/>
          </a:p>
        </p:txBody>
      </p:sp>
      <p:sp>
        <p:nvSpPr>
          <p:cNvPr id="84344" name="Text Box 73"/>
          <p:cNvSpPr txBox="1">
            <a:spLocks noChangeArrowheads="1"/>
          </p:cNvSpPr>
          <p:nvPr/>
        </p:nvSpPr>
        <p:spPr bwMode="auto">
          <a:xfrm>
            <a:off x="6835775" y="2439988"/>
            <a:ext cx="957263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/>
            <a:r>
              <a:rPr lang="ru-RU" sz="800" i="1"/>
              <a:t>Иультинский район</a:t>
            </a:r>
          </a:p>
        </p:txBody>
      </p:sp>
      <p:sp>
        <p:nvSpPr>
          <p:cNvPr id="84345" name="Text Box 74"/>
          <p:cNvSpPr txBox="1">
            <a:spLocks noChangeArrowheads="1"/>
          </p:cNvSpPr>
          <p:nvPr/>
        </p:nvSpPr>
        <p:spPr bwMode="auto">
          <a:xfrm>
            <a:off x="5867400" y="2947988"/>
            <a:ext cx="892175" cy="120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/>
            <a:r>
              <a:rPr lang="ru-RU" sz="800" i="1"/>
              <a:t>Анадырский район</a:t>
            </a:r>
          </a:p>
        </p:txBody>
      </p:sp>
      <p:sp>
        <p:nvSpPr>
          <p:cNvPr id="84346" name="Text Box 76"/>
          <p:cNvSpPr txBox="1">
            <a:spLocks noChangeArrowheads="1"/>
          </p:cNvSpPr>
          <p:nvPr/>
        </p:nvSpPr>
        <p:spPr bwMode="auto">
          <a:xfrm>
            <a:off x="4597400" y="2513013"/>
            <a:ext cx="935038" cy="123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/>
            <a:r>
              <a:rPr lang="ru-RU" sz="800" i="1"/>
              <a:t>Билибинский район</a:t>
            </a:r>
          </a:p>
        </p:txBody>
      </p:sp>
      <p:sp>
        <p:nvSpPr>
          <p:cNvPr id="84347" name="Text Box 77"/>
          <p:cNvSpPr txBox="1">
            <a:spLocks noChangeArrowheads="1"/>
          </p:cNvSpPr>
          <p:nvPr/>
        </p:nvSpPr>
        <p:spPr bwMode="auto">
          <a:xfrm rot="1258252">
            <a:off x="7616825" y="2708275"/>
            <a:ext cx="990600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/>
            <a:r>
              <a:rPr lang="ru-RU" sz="800" i="1"/>
              <a:t>Провиденский район</a:t>
            </a:r>
          </a:p>
        </p:txBody>
      </p:sp>
      <p:sp>
        <p:nvSpPr>
          <p:cNvPr id="84348" name="Text Box 79"/>
          <p:cNvSpPr txBox="1">
            <a:spLocks noChangeArrowheads="1"/>
          </p:cNvSpPr>
          <p:nvPr/>
        </p:nvSpPr>
        <p:spPr bwMode="auto">
          <a:xfrm>
            <a:off x="5599113" y="3525838"/>
            <a:ext cx="411162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/>
            <a:r>
              <a:rPr lang="ru-RU" sz="800"/>
              <a:t>Марково</a:t>
            </a:r>
          </a:p>
        </p:txBody>
      </p:sp>
      <p:sp>
        <p:nvSpPr>
          <p:cNvPr id="84349" name="Text Box 80"/>
          <p:cNvSpPr txBox="1">
            <a:spLocks noChangeArrowheads="1"/>
          </p:cNvSpPr>
          <p:nvPr/>
        </p:nvSpPr>
        <p:spPr bwMode="auto">
          <a:xfrm>
            <a:off x="7110413" y="3219450"/>
            <a:ext cx="422275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/>
            <a:r>
              <a:rPr lang="ru-RU" sz="800"/>
              <a:t>Анадырь</a:t>
            </a:r>
          </a:p>
        </p:txBody>
      </p:sp>
      <p:sp>
        <p:nvSpPr>
          <p:cNvPr id="84350" name="Text Box 81"/>
          <p:cNvSpPr txBox="1">
            <a:spLocks noChangeArrowheads="1"/>
          </p:cNvSpPr>
          <p:nvPr/>
        </p:nvSpPr>
        <p:spPr bwMode="auto">
          <a:xfrm>
            <a:off x="7627938" y="3808413"/>
            <a:ext cx="650875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/>
            <a:r>
              <a:rPr lang="ru-RU" sz="800"/>
              <a:t>Беринговский</a:t>
            </a:r>
          </a:p>
        </p:txBody>
      </p:sp>
      <p:sp>
        <p:nvSpPr>
          <p:cNvPr id="84351" name="Text Box 82"/>
          <p:cNvSpPr txBox="1">
            <a:spLocks noChangeArrowheads="1"/>
          </p:cNvSpPr>
          <p:nvPr/>
        </p:nvSpPr>
        <p:spPr bwMode="auto">
          <a:xfrm>
            <a:off x="7235825" y="2852738"/>
            <a:ext cx="481013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/>
            <a:r>
              <a:rPr lang="ru-RU" sz="800"/>
              <a:t>Эгвекинот</a:t>
            </a:r>
          </a:p>
        </p:txBody>
      </p:sp>
      <p:sp>
        <p:nvSpPr>
          <p:cNvPr id="84352" name="Text Box 83"/>
          <p:cNvSpPr txBox="1">
            <a:spLocks noChangeArrowheads="1"/>
          </p:cNvSpPr>
          <p:nvPr/>
        </p:nvSpPr>
        <p:spPr bwMode="auto">
          <a:xfrm>
            <a:off x="8002588" y="3119438"/>
            <a:ext cx="582612" cy="122237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/>
            <a:r>
              <a:rPr lang="ru-RU" sz="800"/>
              <a:t>Провидения</a:t>
            </a:r>
          </a:p>
        </p:txBody>
      </p:sp>
      <p:sp>
        <p:nvSpPr>
          <p:cNvPr id="84353" name="Text Box 84"/>
          <p:cNvSpPr txBox="1">
            <a:spLocks noChangeArrowheads="1"/>
          </p:cNvSpPr>
          <p:nvPr/>
        </p:nvSpPr>
        <p:spPr bwMode="auto">
          <a:xfrm>
            <a:off x="7148513" y="1712913"/>
            <a:ext cx="619125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/>
            <a:r>
              <a:rPr lang="ru-RU" sz="800"/>
              <a:t>Мыс Шмидта</a:t>
            </a:r>
          </a:p>
        </p:txBody>
      </p:sp>
      <p:sp>
        <p:nvSpPr>
          <p:cNvPr id="84354" name="Text Box 85"/>
          <p:cNvSpPr txBox="1">
            <a:spLocks noChangeArrowheads="1"/>
          </p:cNvSpPr>
          <p:nvPr/>
        </p:nvSpPr>
        <p:spPr bwMode="auto">
          <a:xfrm>
            <a:off x="5038725" y="2235200"/>
            <a:ext cx="468313" cy="123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/>
            <a:r>
              <a:rPr lang="ru-RU" sz="800"/>
              <a:t>Билибино</a:t>
            </a:r>
          </a:p>
        </p:txBody>
      </p:sp>
      <p:sp>
        <p:nvSpPr>
          <p:cNvPr id="84355" name="Text Box 86"/>
          <p:cNvSpPr txBox="1">
            <a:spLocks noChangeArrowheads="1"/>
          </p:cNvSpPr>
          <p:nvPr/>
        </p:nvSpPr>
        <p:spPr bwMode="auto">
          <a:xfrm>
            <a:off x="5746750" y="1763713"/>
            <a:ext cx="285750" cy="123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/>
            <a:r>
              <a:rPr lang="ru-RU" sz="800"/>
              <a:t>Певек</a:t>
            </a:r>
          </a:p>
        </p:txBody>
      </p:sp>
      <p:sp>
        <p:nvSpPr>
          <p:cNvPr id="84356" name="Text Box 87"/>
          <p:cNvSpPr txBox="1">
            <a:spLocks noChangeArrowheads="1"/>
          </p:cNvSpPr>
          <p:nvPr/>
        </p:nvSpPr>
        <p:spPr bwMode="auto">
          <a:xfrm>
            <a:off x="8532813" y="2636838"/>
            <a:ext cx="506412" cy="120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/>
            <a:r>
              <a:rPr lang="ru-RU" sz="800"/>
              <a:t>Лаврентия</a:t>
            </a:r>
          </a:p>
        </p:txBody>
      </p:sp>
      <p:sp>
        <p:nvSpPr>
          <p:cNvPr id="84357" name="Text Box 88"/>
          <p:cNvSpPr txBox="1">
            <a:spLocks noChangeArrowheads="1"/>
          </p:cNvSpPr>
          <p:nvPr/>
        </p:nvSpPr>
        <p:spPr bwMode="auto">
          <a:xfrm>
            <a:off x="8078788" y="2387600"/>
            <a:ext cx="833437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/>
            <a:r>
              <a:rPr lang="ru-RU" sz="800" i="1"/>
              <a:t>Чукотский район</a:t>
            </a:r>
          </a:p>
        </p:txBody>
      </p:sp>
      <p:sp>
        <p:nvSpPr>
          <p:cNvPr id="84358" name="Text Box 89"/>
          <p:cNvSpPr txBox="1">
            <a:spLocks noChangeArrowheads="1"/>
          </p:cNvSpPr>
          <p:nvPr/>
        </p:nvSpPr>
        <p:spPr bwMode="auto">
          <a:xfrm>
            <a:off x="4692650" y="2330450"/>
            <a:ext cx="638175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/>
            <a:r>
              <a:rPr lang="ru-RU" sz="800"/>
              <a:t>п. Кепервеем</a:t>
            </a:r>
          </a:p>
        </p:txBody>
      </p:sp>
      <p:sp>
        <p:nvSpPr>
          <p:cNvPr id="84359" name="Text Box 90"/>
          <p:cNvSpPr txBox="1">
            <a:spLocks noChangeArrowheads="1"/>
          </p:cNvSpPr>
          <p:nvPr/>
        </p:nvSpPr>
        <p:spPr bwMode="auto">
          <a:xfrm>
            <a:off x="4997450" y="2952750"/>
            <a:ext cx="447675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/>
            <a:r>
              <a:rPr lang="ru-RU" sz="800"/>
              <a:t>Песчанка</a:t>
            </a:r>
          </a:p>
        </p:txBody>
      </p:sp>
      <p:sp>
        <p:nvSpPr>
          <p:cNvPr id="84360" name="Text Box 91"/>
          <p:cNvSpPr txBox="1">
            <a:spLocks noChangeArrowheads="1"/>
          </p:cNvSpPr>
          <p:nvPr/>
        </p:nvSpPr>
        <p:spPr bwMode="auto">
          <a:xfrm>
            <a:off x="4967288" y="2620963"/>
            <a:ext cx="612775" cy="123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algn="ctr"/>
            <a:r>
              <a:rPr lang="ru-RU" sz="800"/>
              <a:t>п. Илирней</a:t>
            </a:r>
          </a:p>
        </p:txBody>
      </p:sp>
      <p:sp>
        <p:nvSpPr>
          <p:cNvPr id="84361" name="Text Box 92"/>
          <p:cNvSpPr txBox="1">
            <a:spLocks noChangeArrowheads="1"/>
          </p:cNvSpPr>
          <p:nvPr/>
        </p:nvSpPr>
        <p:spPr bwMode="auto">
          <a:xfrm>
            <a:off x="5781675" y="2540000"/>
            <a:ext cx="406400" cy="120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/>
            <a:r>
              <a:rPr lang="ru-RU" sz="800"/>
              <a:t>Двойное</a:t>
            </a:r>
          </a:p>
        </p:txBody>
      </p:sp>
      <p:sp>
        <p:nvSpPr>
          <p:cNvPr id="84362" name="Text Box 93"/>
          <p:cNvSpPr txBox="1">
            <a:spLocks noChangeArrowheads="1"/>
          </p:cNvSpPr>
          <p:nvPr/>
        </p:nvSpPr>
        <p:spPr bwMode="auto">
          <a:xfrm>
            <a:off x="5646738" y="2395538"/>
            <a:ext cx="681037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/>
            <a:r>
              <a:rPr lang="ru-RU" sz="800"/>
              <a:t>п. Алискерова</a:t>
            </a:r>
          </a:p>
        </p:txBody>
      </p:sp>
      <p:sp>
        <p:nvSpPr>
          <p:cNvPr id="84363" name="Text Box 94"/>
          <p:cNvSpPr txBox="1">
            <a:spLocks noChangeArrowheads="1"/>
          </p:cNvSpPr>
          <p:nvPr/>
        </p:nvSpPr>
        <p:spPr bwMode="auto">
          <a:xfrm>
            <a:off x="6084888" y="1866900"/>
            <a:ext cx="854075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/>
            <a:r>
              <a:rPr lang="ru-RU" sz="800"/>
              <a:t>п. Комсомольский</a:t>
            </a:r>
          </a:p>
        </p:txBody>
      </p:sp>
      <p:sp>
        <p:nvSpPr>
          <p:cNvPr id="84364" name="Text Box 96"/>
          <p:cNvSpPr txBox="1">
            <a:spLocks noChangeArrowheads="1"/>
          </p:cNvSpPr>
          <p:nvPr/>
        </p:nvSpPr>
        <p:spPr bwMode="auto">
          <a:xfrm>
            <a:off x="5691188" y="2149475"/>
            <a:ext cx="754062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/>
            <a:r>
              <a:rPr lang="ru-RU" sz="800" i="1"/>
              <a:t>Чаунский район</a:t>
            </a:r>
          </a:p>
        </p:txBody>
      </p:sp>
      <p:sp>
        <p:nvSpPr>
          <p:cNvPr id="84365" name="Text Box 97"/>
          <p:cNvSpPr txBox="1">
            <a:spLocks noChangeArrowheads="1"/>
          </p:cNvSpPr>
          <p:nvPr/>
        </p:nvSpPr>
        <p:spPr bwMode="auto">
          <a:xfrm>
            <a:off x="4441825" y="3316288"/>
            <a:ext cx="406400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/>
            <a:r>
              <a:rPr lang="ru-RU" sz="800"/>
              <a:t>Омолон </a:t>
            </a:r>
          </a:p>
        </p:txBody>
      </p:sp>
      <p:sp>
        <p:nvSpPr>
          <p:cNvPr id="84366" name="Text Box 98"/>
          <p:cNvSpPr txBox="1">
            <a:spLocks noChangeArrowheads="1"/>
          </p:cNvSpPr>
          <p:nvPr/>
        </p:nvSpPr>
        <p:spPr bwMode="auto">
          <a:xfrm>
            <a:off x="6497638" y="2768600"/>
            <a:ext cx="558800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/>
            <a:r>
              <a:rPr lang="ru-RU" sz="800"/>
              <a:t>Валунистое</a:t>
            </a:r>
          </a:p>
        </p:txBody>
      </p:sp>
      <p:sp>
        <p:nvSpPr>
          <p:cNvPr id="84367" name="Line 99"/>
          <p:cNvSpPr>
            <a:spLocks noChangeShapeType="1"/>
          </p:cNvSpPr>
          <p:nvPr/>
        </p:nvSpPr>
        <p:spPr bwMode="auto">
          <a:xfrm>
            <a:off x="5651500" y="2708275"/>
            <a:ext cx="1441450" cy="73025"/>
          </a:xfrm>
          <a:prstGeom prst="line">
            <a:avLst/>
          </a:prstGeom>
          <a:noFill/>
          <a:ln w="28575">
            <a:solidFill>
              <a:srgbClr val="FF3300"/>
            </a:solidFill>
            <a:prstDash val="lgDash"/>
            <a:round/>
            <a:headEnd/>
            <a:tailEnd/>
          </a:ln>
        </p:spPr>
        <p:txBody>
          <a:bodyPr wrap="none" lIns="90000" tIns="46800" rIns="90000" bIns="46800" anchor="ctr"/>
          <a:lstStyle/>
          <a:p>
            <a:endParaRPr lang="ru-RU"/>
          </a:p>
        </p:txBody>
      </p:sp>
      <p:sp>
        <p:nvSpPr>
          <p:cNvPr id="84368" name="Line 100"/>
          <p:cNvSpPr>
            <a:spLocks noChangeShapeType="1"/>
          </p:cNvSpPr>
          <p:nvPr/>
        </p:nvSpPr>
        <p:spPr bwMode="auto">
          <a:xfrm flipH="1">
            <a:off x="7092950" y="2781300"/>
            <a:ext cx="0" cy="647700"/>
          </a:xfrm>
          <a:prstGeom prst="line">
            <a:avLst/>
          </a:prstGeom>
          <a:noFill/>
          <a:ln w="28575">
            <a:solidFill>
              <a:srgbClr val="FF3300"/>
            </a:solidFill>
            <a:prstDash val="lgDash"/>
            <a:round/>
            <a:headEnd/>
            <a:tailEnd/>
          </a:ln>
        </p:spPr>
        <p:txBody>
          <a:bodyPr wrap="none" lIns="90000" tIns="46800" rIns="90000" bIns="46800" anchor="ctr"/>
          <a:lstStyle/>
          <a:p>
            <a:endParaRPr lang="ru-RU"/>
          </a:p>
        </p:txBody>
      </p:sp>
      <p:sp>
        <p:nvSpPr>
          <p:cNvPr id="84369" name="Freeform 101"/>
          <p:cNvSpPr>
            <a:spLocks/>
          </p:cNvSpPr>
          <p:nvPr/>
        </p:nvSpPr>
        <p:spPr bwMode="auto">
          <a:xfrm flipH="1">
            <a:off x="7043738" y="2747963"/>
            <a:ext cx="119062" cy="781050"/>
          </a:xfrm>
          <a:custGeom>
            <a:avLst/>
            <a:gdLst>
              <a:gd name="T0" fmla="*/ 2147483647 w 627"/>
              <a:gd name="T1" fmla="*/ 2147483647 h 725"/>
              <a:gd name="T2" fmla="*/ 2147483647 w 627"/>
              <a:gd name="T3" fmla="*/ 2147483647 h 725"/>
              <a:gd name="T4" fmla="*/ 2147483647 w 627"/>
              <a:gd name="T5" fmla="*/ 0 h 725"/>
              <a:gd name="T6" fmla="*/ 0 60000 65536"/>
              <a:gd name="T7" fmla="*/ 0 60000 65536"/>
              <a:gd name="T8" fmla="*/ 0 60000 65536"/>
              <a:gd name="T9" fmla="*/ 0 w 627"/>
              <a:gd name="T10" fmla="*/ 0 h 725"/>
              <a:gd name="T11" fmla="*/ 627 w 627"/>
              <a:gd name="T12" fmla="*/ 725 h 725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627" h="725">
                <a:moveTo>
                  <a:pt x="128" y="725"/>
                </a:moveTo>
                <a:cubicBezTo>
                  <a:pt x="64" y="513"/>
                  <a:pt x="0" y="302"/>
                  <a:pt x="83" y="181"/>
                </a:cubicBezTo>
                <a:cubicBezTo>
                  <a:pt x="166" y="60"/>
                  <a:pt x="536" y="30"/>
                  <a:pt x="627" y="0"/>
                </a:cubicBezTo>
              </a:path>
            </a:pathLst>
          </a:custGeom>
          <a:noFill/>
          <a:ln w="28575" cap="flat" cmpd="sng">
            <a:solidFill>
              <a:srgbClr val="990099"/>
            </a:solidFill>
            <a:prstDash val="sysDot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84370" name="Text Box 102"/>
          <p:cNvSpPr txBox="1">
            <a:spLocks noChangeArrowheads="1"/>
          </p:cNvSpPr>
          <p:nvPr/>
        </p:nvSpPr>
        <p:spPr bwMode="auto">
          <a:xfrm>
            <a:off x="4794250" y="1068388"/>
            <a:ext cx="3455988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ru-RU" sz="1000" b="1">
                <a:solidFill>
                  <a:srgbClr val="000000"/>
                </a:solidFill>
              </a:rPr>
              <a:t>Основные направления развития инфраструктуры на территории Чукотского АО*</a:t>
            </a:r>
          </a:p>
        </p:txBody>
      </p:sp>
      <p:sp>
        <p:nvSpPr>
          <p:cNvPr id="84371" name="Rectangle 103"/>
          <p:cNvSpPr>
            <a:spLocks noChangeArrowheads="1"/>
          </p:cNvSpPr>
          <p:nvPr/>
        </p:nvSpPr>
        <p:spPr bwMode="auto">
          <a:xfrm>
            <a:off x="252413" y="4706938"/>
            <a:ext cx="3959225" cy="428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ru-RU"/>
              <a:t>Минимальный объем инвестиций в инфраструктуру до 2030 г., млрд. руб. **</a:t>
            </a:r>
            <a:endParaRPr lang="ru-RU" sz="800"/>
          </a:p>
        </p:txBody>
      </p:sp>
      <p:sp>
        <p:nvSpPr>
          <p:cNvPr id="32868" name="AutoShape 104"/>
          <p:cNvSpPr>
            <a:spLocks noChangeArrowheads="1"/>
          </p:cNvSpPr>
          <p:nvPr/>
        </p:nvSpPr>
        <p:spPr bwMode="auto">
          <a:xfrm>
            <a:off x="682625" y="4495800"/>
            <a:ext cx="3024188" cy="206375"/>
          </a:xfrm>
          <a:prstGeom prst="downArrow">
            <a:avLst>
              <a:gd name="adj1" fmla="val 100000"/>
              <a:gd name="adj2" fmla="val 100000"/>
            </a:avLst>
          </a:prstGeom>
          <a:solidFill>
            <a:srgbClr val="6699FF"/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pPr>
              <a:defRPr/>
            </a:pPr>
            <a:endParaRPr lang="en-US"/>
          </a:p>
        </p:txBody>
      </p:sp>
      <p:sp>
        <p:nvSpPr>
          <p:cNvPr id="32869" name="Freeform 105"/>
          <p:cNvSpPr>
            <a:spLocks/>
          </p:cNvSpPr>
          <p:nvPr/>
        </p:nvSpPr>
        <p:spPr bwMode="auto">
          <a:xfrm rot="-7298297">
            <a:off x="6380162" y="3106738"/>
            <a:ext cx="822325" cy="603250"/>
          </a:xfrm>
          <a:custGeom>
            <a:avLst/>
            <a:gdLst>
              <a:gd name="T0" fmla="*/ 522727374 w 394"/>
              <a:gd name="T1" fmla="*/ 142862176 h 307"/>
              <a:gd name="T2" fmla="*/ 544508551 w 394"/>
              <a:gd name="T3" fmla="*/ 119695018 h 307"/>
              <a:gd name="T4" fmla="*/ 609849995 w 394"/>
              <a:gd name="T5" fmla="*/ 100391018 h 307"/>
              <a:gd name="T6" fmla="*/ 718751705 w 394"/>
              <a:gd name="T7" fmla="*/ 84946246 h 307"/>
              <a:gd name="T8" fmla="*/ 823297598 w 394"/>
              <a:gd name="T9" fmla="*/ 73362667 h 307"/>
              <a:gd name="T10" fmla="*/ 779735244 w 394"/>
              <a:gd name="T11" fmla="*/ 46334316 h 307"/>
              <a:gd name="T12" fmla="*/ 696970528 w 394"/>
              <a:gd name="T13" fmla="*/ 34750737 h 307"/>
              <a:gd name="T14" fmla="*/ 710037982 w 394"/>
              <a:gd name="T15" fmla="*/ 19305965 h 307"/>
              <a:gd name="T16" fmla="*/ 801516421 w 394"/>
              <a:gd name="T17" fmla="*/ 15444772 h 307"/>
              <a:gd name="T18" fmla="*/ 1014964023 w 394"/>
              <a:gd name="T19" fmla="*/ 0 h 307"/>
              <a:gd name="T20" fmla="*/ 1167426000 w 394"/>
              <a:gd name="T21" fmla="*/ 15444772 h 307"/>
              <a:gd name="T22" fmla="*/ 1267616075 w 394"/>
              <a:gd name="T23" fmla="*/ 42473123 h 307"/>
              <a:gd name="T24" fmla="*/ 1341669154 w 394"/>
              <a:gd name="T25" fmla="*/ 61779088 h 307"/>
              <a:gd name="T26" fmla="*/ 1402652693 w 394"/>
              <a:gd name="T27" fmla="*/ 92668632 h 307"/>
              <a:gd name="T28" fmla="*/ 1476705772 w 394"/>
              <a:gd name="T29" fmla="*/ 158306948 h 307"/>
              <a:gd name="T30" fmla="*/ 1568184211 w 394"/>
              <a:gd name="T31" fmla="*/ 254836773 h 307"/>
              <a:gd name="T32" fmla="*/ 1620456113 w 394"/>
              <a:gd name="T33" fmla="*/ 274142738 h 307"/>
              <a:gd name="T34" fmla="*/ 1659660562 w 394"/>
              <a:gd name="T35" fmla="*/ 266420352 h 307"/>
              <a:gd name="T36" fmla="*/ 1694509193 w 394"/>
              <a:gd name="T37" fmla="*/ 293448703 h 307"/>
              <a:gd name="T38" fmla="*/ 1716290370 w 394"/>
              <a:gd name="T39" fmla="*/ 366809405 h 307"/>
              <a:gd name="T40" fmla="*/ 1707578734 w 394"/>
              <a:gd name="T41" fmla="*/ 432449686 h 307"/>
              <a:gd name="T42" fmla="*/ 1650948926 w 394"/>
              <a:gd name="T43" fmla="*/ 501951160 h 307"/>
              <a:gd name="T44" fmla="*/ 1589965388 w 394"/>
              <a:gd name="T45" fmla="*/ 567591441 h 307"/>
              <a:gd name="T46" fmla="*/ 1520268126 w 394"/>
              <a:gd name="T47" fmla="*/ 617784985 h 307"/>
              <a:gd name="T48" fmla="*/ 1424433870 w 394"/>
              <a:gd name="T49" fmla="*/ 671841686 h 307"/>
              <a:gd name="T50" fmla="*/ 1359092426 w 394"/>
              <a:gd name="T51" fmla="*/ 702731230 h 307"/>
              <a:gd name="T52" fmla="*/ 1315532159 w 394"/>
              <a:gd name="T53" fmla="*/ 710453616 h 307"/>
              <a:gd name="T54" fmla="*/ 1210986267 w 394"/>
              <a:gd name="T55" fmla="*/ 741343160 h 307"/>
              <a:gd name="T56" fmla="*/ 1084661285 w 394"/>
              <a:gd name="T57" fmla="*/ 826289406 h 307"/>
              <a:gd name="T58" fmla="*/ 945266762 w 394"/>
              <a:gd name="T59" fmla="*/ 911233687 h 307"/>
              <a:gd name="T60" fmla="*/ 858146228 w 394"/>
              <a:gd name="T61" fmla="*/ 938262038 h 307"/>
              <a:gd name="T62" fmla="*/ 836365051 w 394"/>
              <a:gd name="T63" fmla="*/ 918956073 h 307"/>
              <a:gd name="T64" fmla="*/ 827653416 w 394"/>
              <a:gd name="T65" fmla="*/ 880344143 h 307"/>
              <a:gd name="T66" fmla="*/ 705682164 w 394"/>
              <a:gd name="T67" fmla="*/ 853315792 h 307"/>
              <a:gd name="T68" fmla="*/ 557576005 w 394"/>
              <a:gd name="T69" fmla="*/ 918956073 h 307"/>
              <a:gd name="T70" fmla="*/ 470455472 w 394"/>
              <a:gd name="T71" fmla="*/ 1023208284 h 307"/>
              <a:gd name="T72" fmla="*/ 426895205 w 394"/>
              <a:gd name="T73" fmla="*/ 1042514249 h 307"/>
              <a:gd name="T74" fmla="*/ 405114028 w 394"/>
              <a:gd name="T75" fmla="*/ 1034791863 h 307"/>
              <a:gd name="T76" fmla="*/ 352842126 w 394"/>
              <a:gd name="T77" fmla="*/ 1027069477 h 307"/>
              <a:gd name="T78" fmla="*/ 287500682 w 394"/>
              <a:gd name="T79" fmla="*/ 1050236635 h 307"/>
              <a:gd name="T80" fmla="*/ 204735967 w 394"/>
              <a:gd name="T81" fmla="*/ 1131319723 h 307"/>
              <a:gd name="T82" fmla="*/ 148106159 w 394"/>
              <a:gd name="T83" fmla="*/ 1139042109 h 307"/>
              <a:gd name="T84" fmla="*/ 95834256 w 394"/>
              <a:gd name="T85" fmla="*/ 1054097828 h 307"/>
              <a:gd name="T86" fmla="*/ 30492813 w 394"/>
              <a:gd name="T87" fmla="*/ 965290389 h 307"/>
              <a:gd name="T88" fmla="*/ 0 w 394"/>
              <a:gd name="T89" fmla="*/ 880344143 h 307"/>
              <a:gd name="T90" fmla="*/ 8711636 w 394"/>
              <a:gd name="T91" fmla="*/ 795399862 h 307"/>
              <a:gd name="T92" fmla="*/ 43560267 w 394"/>
              <a:gd name="T93" fmla="*/ 710453616 h 307"/>
              <a:gd name="T94" fmla="*/ 65341444 w 394"/>
              <a:gd name="T95" fmla="*/ 644813336 h 307"/>
              <a:gd name="T96" fmla="*/ 104545892 w 394"/>
              <a:gd name="T97" fmla="*/ 613923792 h 307"/>
              <a:gd name="T98" fmla="*/ 169887336 w 394"/>
              <a:gd name="T99" fmla="*/ 575313827 h 307"/>
              <a:gd name="T100" fmla="*/ 222159239 w 394"/>
              <a:gd name="T101" fmla="*/ 490367581 h 307"/>
              <a:gd name="T102" fmla="*/ 257007869 w 394"/>
              <a:gd name="T103" fmla="*/ 389976563 h 307"/>
              <a:gd name="T104" fmla="*/ 300568136 w 394"/>
              <a:gd name="T105" fmla="*/ 320477054 h 307"/>
              <a:gd name="T106" fmla="*/ 361553762 w 394"/>
              <a:gd name="T107" fmla="*/ 301171089 h 307"/>
              <a:gd name="T108" fmla="*/ 383332851 w 394"/>
              <a:gd name="T109" fmla="*/ 301171089 h 307"/>
              <a:gd name="T110" fmla="*/ 396402392 w 394"/>
              <a:gd name="T111" fmla="*/ 266420352 h 307"/>
              <a:gd name="T112" fmla="*/ 405114028 w 394"/>
              <a:gd name="T113" fmla="*/ 216224843 h 307"/>
              <a:gd name="T114" fmla="*/ 439962659 w 394"/>
              <a:gd name="T115" fmla="*/ 177612913 h 307"/>
              <a:gd name="T116" fmla="*/ 483522926 w 394"/>
              <a:gd name="T117" fmla="*/ 166029334 h 307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394" h="307">
                <a:moveTo>
                  <a:pt x="118" y="43"/>
                </a:moveTo>
                <a:lnTo>
                  <a:pt x="120" y="37"/>
                </a:lnTo>
                <a:lnTo>
                  <a:pt x="121" y="34"/>
                </a:lnTo>
                <a:lnTo>
                  <a:pt x="125" y="31"/>
                </a:lnTo>
                <a:lnTo>
                  <a:pt x="130" y="27"/>
                </a:lnTo>
                <a:lnTo>
                  <a:pt x="140" y="26"/>
                </a:lnTo>
                <a:lnTo>
                  <a:pt x="152" y="24"/>
                </a:lnTo>
                <a:lnTo>
                  <a:pt x="165" y="22"/>
                </a:lnTo>
                <a:lnTo>
                  <a:pt x="179" y="21"/>
                </a:lnTo>
                <a:lnTo>
                  <a:pt x="189" y="19"/>
                </a:lnTo>
                <a:lnTo>
                  <a:pt x="195" y="14"/>
                </a:lnTo>
                <a:lnTo>
                  <a:pt x="179" y="12"/>
                </a:lnTo>
                <a:lnTo>
                  <a:pt x="162" y="11"/>
                </a:lnTo>
                <a:lnTo>
                  <a:pt x="160" y="9"/>
                </a:lnTo>
                <a:lnTo>
                  <a:pt x="160" y="7"/>
                </a:lnTo>
                <a:lnTo>
                  <a:pt x="163" y="5"/>
                </a:lnTo>
                <a:lnTo>
                  <a:pt x="167" y="5"/>
                </a:lnTo>
                <a:lnTo>
                  <a:pt x="184" y="4"/>
                </a:lnTo>
                <a:lnTo>
                  <a:pt x="209" y="2"/>
                </a:lnTo>
                <a:lnTo>
                  <a:pt x="233" y="0"/>
                </a:lnTo>
                <a:lnTo>
                  <a:pt x="256" y="2"/>
                </a:lnTo>
                <a:lnTo>
                  <a:pt x="268" y="4"/>
                </a:lnTo>
                <a:lnTo>
                  <a:pt x="280" y="5"/>
                </a:lnTo>
                <a:lnTo>
                  <a:pt x="291" y="11"/>
                </a:lnTo>
                <a:lnTo>
                  <a:pt x="303" y="14"/>
                </a:lnTo>
                <a:lnTo>
                  <a:pt x="308" y="16"/>
                </a:lnTo>
                <a:lnTo>
                  <a:pt x="315" y="19"/>
                </a:lnTo>
                <a:lnTo>
                  <a:pt x="322" y="24"/>
                </a:lnTo>
                <a:lnTo>
                  <a:pt x="327" y="29"/>
                </a:lnTo>
                <a:lnTo>
                  <a:pt x="339" y="41"/>
                </a:lnTo>
                <a:lnTo>
                  <a:pt x="352" y="59"/>
                </a:lnTo>
                <a:lnTo>
                  <a:pt x="360" y="66"/>
                </a:lnTo>
                <a:lnTo>
                  <a:pt x="369" y="71"/>
                </a:lnTo>
                <a:lnTo>
                  <a:pt x="372" y="71"/>
                </a:lnTo>
                <a:lnTo>
                  <a:pt x="376" y="71"/>
                </a:lnTo>
                <a:lnTo>
                  <a:pt x="381" y="69"/>
                </a:lnTo>
                <a:lnTo>
                  <a:pt x="384" y="68"/>
                </a:lnTo>
                <a:lnTo>
                  <a:pt x="389" y="76"/>
                </a:lnTo>
                <a:lnTo>
                  <a:pt x="392" y="85"/>
                </a:lnTo>
                <a:lnTo>
                  <a:pt x="394" y="95"/>
                </a:lnTo>
                <a:lnTo>
                  <a:pt x="394" y="103"/>
                </a:lnTo>
                <a:lnTo>
                  <a:pt x="392" y="112"/>
                </a:lnTo>
                <a:lnTo>
                  <a:pt x="387" y="122"/>
                </a:lnTo>
                <a:lnTo>
                  <a:pt x="379" y="130"/>
                </a:lnTo>
                <a:lnTo>
                  <a:pt x="369" y="139"/>
                </a:lnTo>
                <a:lnTo>
                  <a:pt x="365" y="147"/>
                </a:lnTo>
                <a:lnTo>
                  <a:pt x="359" y="154"/>
                </a:lnTo>
                <a:lnTo>
                  <a:pt x="349" y="160"/>
                </a:lnTo>
                <a:lnTo>
                  <a:pt x="334" y="164"/>
                </a:lnTo>
                <a:lnTo>
                  <a:pt x="327" y="174"/>
                </a:lnTo>
                <a:lnTo>
                  <a:pt x="317" y="181"/>
                </a:lnTo>
                <a:lnTo>
                  <a:pt x="312" y="182"/>
                </a:lnTo>
                <a:lnTo>
                  <a:pt x="307" y="184"/>
                </a:lnTo>
                <a:lnTo>
                  <a:pt x="302" y="184"/>
                </a:lnTo>
                <a:lnTo>
                  <a:pt x="295" y="184"/>
                </a:lnTo>
                <a:lnTo>
                  <a:pt x="278" y="192"/>
                </a:lnTo>
                <a:lnTo>
                  <a:pt x="263" y="203"/>
                </a:lnTo>
                <a:lnTo>
                  <a:pt x="249" y="214"/>
                </a:lnTo>
                <a:lnTo>
                  <a:pt x="236" y="226"/>
                </a:lnTo>
                <a:lnTo>
                  <a:pt x="217" y="236"/>
                </a:lnTo>
                <a:lnTo>
                  <a:pt x="202" y="243"/>
                </a:lnTo>
                <a:lnTo>
                  <a:pt x="197" y="243"/>
                </a:lnTo>
                <a:lnTo>
                  <a:pt x="194" y="243"/>
                </a:lnTo>
                <a:lnTo>
                  <a:pt x="192" y="238"/>
                </a:lnTo>
                <a:lnTo>
                  <a:pt x="195" y="231"/>
                </a:lnTo>
                <a:lnTo>
                  <a:pt x="190" y="228"/>
                </a:lnTo>
                <a:lnTo>
                  <a:pt x="179" y="224"/>
                </a:lnTo>
                <a:lnTo>
                  <a:pt x="162" y="221"/>
                </a:lnTo>
                <a:lnTo>
                  <a:pt x="143" y="218"/>
                </a:lnTo>
                <a:lnTo>
                  <a:pt x="128" y="238"/>
                </a:lnTo>
                <a:lnTo>
                  <a:pt x="115" y="256"/>
                </a:lnTo>
                <a:lnTo>
                  <a:pt x="108" y="265"/>
                </a:lnTo>
                <a:lnTo>
                  <a:pt x="101" y="268"/>
                </a:lnTo>
                <a:lnTo>
                  <a:pt x="98" y="270"/>
                </a:lnTo>
                <a:lnTo>
                  <a:pt x="94" y="270"/>
                </a:lnTo>
                <a:lnTo>
                  <a:pt x="93" y="268"/>
                </a:lnTo>
                <a:lnTo>
                  <a:pt x="89" y="266"/>
                </a:lnTo>
                <a:lnTo>
                  <a:pt x="81" y="266"/>
                </a:lnTo>
                <a:lnTo>
                  <a:pt x="73" y="268"/>
                </a:lnTo>
                <a:lnTo>
                  <a:pt x="66" y="272"/>
                </a:lnTo>
                <a:lnTo>
                  <a:pt x="59" y="278"/>
                </a:lnTo>
                <a:lnTo>
                  <a:pt x="47" y="293"/>
                </a:lnTo>
                <a:lnTo>
                  <a:pt x="36" y="307"/>
                </a:lnTo>
                <a:lnTo>
                  <a:pt x="34" y="295"/>
                </a:lnTo>
                <a:lnTo>
                  <a:pt x="32" y="283"/>
                </a:lnTo>
                <a:lnTo>
                  <a:pt x="22" y="273"/>
                </a:lnTo>
                <a:lnTo>
                  <a:pt x="14" y="261"/>
                </a:lnTo>
                <a:lnTo>
                  <a:pt x="7" y="250"/>
                </a:lnTo>
                <a:lnTo>
                  <a:pt x="2" y="238"/>
                </a:lnTo>
                <a:lnTo>
                  <a:pt x="0" y="228"/>
                </a:lnTo>
                <a:lnTo>
                  <a:pt x="0" y="216"/>
                </a:lnTo>
                <a:lnTo>
                  <a:pt x="2" y="206"/>
                </a:lnTo>
                <a:lnTo>
                  <a:pt x="9" y="194"/>
                </a:lnTo>
                <a:lnTo>
                  <a:pt x="10" y="184"/>
                </a:lnTo>
                <a:lnTo>
                  <a:pt x="12" y="174"/>
                </a:lnTo>
                <a:lnTo>
                  <a:pt x="15" y="167"/>
                </a:lnTo>
                <a:lnTo>
                  <a:pt x="19" y="164"/>
                </a:lnTo>
                <a:lnTo>
                  <a:pt x="24" y="159"/>
                </a:lnTo>
                <a:lnTo>
                  <a:pt x="31" y="155"/>
                </a:lnTo>
                <a:lnTo>
                  <a:pt x="39" y="149"/>
                </a:lnTo>
                <a:lnTo>
                  <a:pt x="46" y="139"/>
                </a:lnTo>
                <a:lnTo>
                  <a:pt x="51" y="127"/>
                </a:lnTo>
                <a:lnTo>
                  <a:pt x="56" y="115"/>
                </a:lnTo>
                <a:lnTo>
                  <a:pt x="59" y="101"/>
                </a:lnTo>
                <a:lnTo>
                  <a:pt x="64" y="91"/>
                </a:lnTo>
                <a:lnTo>
                  <a:pt x="69" y="83"/>
                </a:lnTo>
                <a:lnTo>
                  <a:pt x="78" y="78"/>
                </a:lnTo>
                <a:lnTo>
                  <a:pt x="83" y="78"/>
                </a:lnTo>
                <a:lnTo>
                  <a:pt x="84" y="78"/>
                </a:lnTo>
                <a:lnTo>
                  <a:pt x="88" y="78"/>
                </a:lnTo>
                <a:lnTo>
                  <a:pt x="89" y="76"/>
                </a:lnTo>
                <a:lnTo>
                  <a:pt x="91" y="69"/>
                </a:lnTo>
                <a:lnTo>
                  <a:pt x="91" y="63"/>
                </a:lnTo>
                <a:lnTo>
                  <a:pt x="93" y="56"/>
                </a:lnTo>
                <a:lnTo>
                  <a:pt x="98" y="49"/>
                </a:lnTo>
                <a:lnTo>
                  <a:pt x="101" y="46"/>
                </a:lnTo>
                <a:lnTo>
                  <a:pt x="105" y="44"/>
                </a:lnTo>
                <a:lnTo>
                  <a:pt x="111" y="43"/>
                </a:lnTo>
                <a:lnTo>
                  <a:pt x="118" y="43"/>
                </a:lnTo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3175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84374" name="Freeform 106"/>
          <p:cNvSpPr>
            <a:spLocks/>
          </p:cNvSpPr>
          <p:nvPr/>
        </p:nvSpPr>
        <p:spPr bwMode="auto">
          <a:xfrm>
            <a:off x="6088063" y="3213100"/>
            <a:ext cx="1076325" cy="357188"/>
          </a:xfrm>
          <a:custGeom>
            <a:avLst/>
            <a:gdLst>
              <a:gd name="T0" fmla="*/ 0 w 949"/>
              <a:gd name="T1" fmla="*/ 2147483647 h 324"/>
              <a:gd name="T2" fmla="*/ 2147483647 w 949"/>
              <a:gd name="T3" fmla="*/ 2147483647 h 324"/>
              <a:gd name="T4" fmla="*/ 2147483647 w 949"/>
              <a:gd name="T5" fmla="*/ 2147483647 h 324"/>
              <a:gd name="T6" fmla="*/ 2147483647 w 949"/>
              <a:gd name="T7" fmla="*/ 2147483647 h 324"/>
              <a:gd name="T8" fmla="*/ 2147483647 w 949"/>
              <a:gd name="T9" fmla="*/ 2147483647 h 324"/>
              <a:gd name="T10" fmla="*/ 2147483647 w 949"/>
              <a:gd name="T11" fmla="*/ 2147483647 h 324"/>
              <a:gd name="T12" fmla="*/ 2147483647 w 949"/>
              <a:gd name="T13" fmla="*/ 2147483647 h 324"/>
              <a:gd name="T14" fmla="*/ 2147483647 w 949"/>
              <a:gd name="T15" fmla="*/ 2147483647 h 324"/>
              <a:gd name="T16" fmla="*/ 2147483647 w 949"/>
              <a:gd name="T17" fmla="*/ 2147483647 h 324"/>
              <a:gd name="T18" fmla="*/ 2147483647 w 949"/>
              <a:gd name="T19" fmla="*/ 2147483647 h 324"/>
              <a:gd name="T20" fmla="*/ 2147483647 w 949"/>
              <a:gd name="T21" fmla="*/ 2147483647 h 324"/>
              <a:gd name="T22" fmla="*/ 2147483647 w 949"/>
              <a:gd name="T23" fmla="*/ 2147483647 h 324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949"/>
              <a:gd name="T37" fmla="*/ 0 h 324"/>
              <a:gd name="T38" fmla="*/ 949 w 949"/>
              <a:gd name="T39" fmla="*/ 324 h 324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949" h="324">
                <a:moveTo>
                  <a:pt x="0" y="324"/>
                </a:moveTo>
                <a:cubicBezTo>
                  <a:pt x="0" y="324"/>
                  <a:pt x="260" y="286"/>
                  <a:pt x="308" y="208"/>
                </a:cubicBezTo>
                <a:cubicBezTo>
                  <a:pt x="371" y="179"/>
                  <a:pt x="362" y="176"/>
                  <a:pt x="376" y="160"/>
                </a:cubicBezTo>
                <a:cubicBezTo>
                  <a:pt x="390" y="144"/>
                  <a:pt x="379" y="138"/>
                  <a:pt x="392" y="112"/>
                </a:cubicBezTo>
                <a:cubicBezTo>
                  <a:pt x="405" y="86"/>
                  <a:pt x="435" y="17"/>
                  <a:pt x="454" y="6"/>
                </a:cubicBezTo>
                <a:cubicBezTo>
                  <a:pt x="468" y="0"/>
                  <a:pt x="498" y="30"/>
                  <a:pt x="504" y="48"/>
                </a:cubicBezTo>
                <a:cubicBezTo>
                  <a:pt x="514" y="69"/>
                  <a:pt x="500" y="92"/>
                  <a:pt x="514" y="130"/>
                </a:cubicBezTo>
                <a:cubicBezTo>
                  <a:pt x="528" y="168"/>
                  <a:pt x="563" y="254"/>
                  <a:pt x="590" y="278"/>
                </a:cubicBezTo>
                <a:cubicBezTo>
                  <a:pt x="628" y="323"/>
                  <a:pt x="650" y="281"/>
                  <a:pt x="679" y="275"/>
                </a:cubicBezTo>
                <a:cubicBezTo>
                  <a:pt x="708" y="269"/>
                  <a:pt x="738" y="235"/>
                  <a:pt x="763" y="239"/>
                </a:cubicBezTo>
                <a:cubicBezTo>
                  <a:pt x="788" y="243"/>
                  <a:pt x="800" y="291"/>
                  <a:pt x="831" y="298"/>
                </a:cubicBezTo>
                <a:cubicBezTo>
                  <a:pt x="862" y="305"/>
                  <a:pt x="924" y="284"/>
                  <a:pt x="949" y="280"/>
                </a:cubicBezTo>
              </a:path>
            </a:pathLst>
          </a:custGeom>
          <a:noFill/>
          <a:ln w="19050">
            <a:solidFill>
              <a:srgbClr val="00800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84375" name="Freeform 107"/>
          <p:cNvSpPr>
            <a:spLocks/>
          </p:cNvSpPr>
          <p:nvPr/>
        </p:nvSpPr>
        <p:spPr bwMode="auto">
          <a:xfrm>
            <a:off x="4905375" y="1717675"/>
            <a:ext cx="1463675" cy="631825"/>
          </a:xfrm>
          <a:custGeom>
            <a:avLst/>
            <a:gdLst>
              <a:gd name="T0" fmla="*/ 0 w 2325"/>
              <a:gd name="T1" fmla="*/ 2147483647 h 1024"/>
              <a:gd name="T2" fmla="*/ 2147483647 w 2325"/>
              <a:gd name="T3" fmla="*/ 2147483647 h 1024"/>
              <a:gd name="T4" fmla="*/ 2147483647 w 2325"/>
              <a:gd name="T5" fmla="*/ 2147483647 h 1024"/>
              <a:gd name="T6" fmla="*/ 2147483647 w 2325"/>
              <a:gd name="T7" fmla="*/ 2147483647 h 1024"/>
              <a:gd name="T8" fmla="*/ 2147483647 w 2325"/>
              <a:gd name="T9" fmla="*/ 2147483647 h 1024"/>
              <a:gd name="T10" fmla="*/ 2147483647 w 2325"/>
              <a:gd name="T11" fmla="*/ 2147483647 h 1024"/>
              <a:gd name="T12" fmla="*/ 2147483647 w 2325"/>
              <a:gd name="T13" fmla="*/ 2147483647 h 1024"/>
              <a:gd name="T14" fmla="*/ 2147483647 w 2325"/>
              <a:gd name="T15" fmla="*/ 2147483647 h 1024"/>
              <a:gd name="T16" fmla="*/ 2147483647 w 2325"/>
              <a:gd name="T17" fmla="*/ 2147483647 h 1024"/>
              <a:gd name="T18" fmla="*/ 2147483647 w 2325"/>
              <a:gd name="T19" fmla="*/ 2147483647 h 1024"/>
              <a:gd name="T20" fmla="*/ 2147483647 w 2325"/>
              <a:gd name="T21" fmla="*/ 2147483647 h 1024"/>
              <a:gd name="T22" fmla="*/ 2147483647 w 2325"/>
              <a:gd name="T23" fmla="*/ 2147483647 h 1024"/>
              <a:gd name="T24" fmla="*/ 2147483647 w 2325"/>
              <a:gd name="T25" fmla="*/ 2147483647 h 1024"/>
              <a:gd name="T26" fmla="*/ 2147483647 w 2325"/>
              <a:gd name="T27" fmla="*/ 2147483647 h 1024"/>
              <a:gd name="T28" fmla="*/ 2147483647 w 2325"/>
              <a:gd name="T29" fmla="*/ 2147483647 h 1024"/>
              <a:gd name="T30" fmla="*/ 2147483647 w 2325"/>
              <a:gd name="T31" fmla="*/ 2147483647 h 1024"/>
              <a:gd name="T32" fmla="*/ 2147483647 w 2325"/>
              <a:gd name="T33" fmla="*/ 2147483647 h 1024"/>
              <a:gd name="T34" fmla="*/ 2147483647 w 2325"/>
              <a:gd name="T35" fmla="*/ 2147483647 h 1024"/>
              <a:gd name="T36" fmla="*/ 2147483647 w 2325"/>
              <a:gd name="T37" fmla="*/ 2147483647 h 1024"/>
              <a:gd name="T38" fmla="*/ 2147483647 w 2325"/>
              <a:gd name="T39" fmla="*/ 2147483647 h 1024"/>
              <a:gd name="T40" fmla="*/ 2147483647 w 2325"/>
              <a:gd name="T41" fmla="*/ 2147483647 h 1024"/>
              <a:gd name="T42" fmla="*/ 2147483647 w 2325"/>
              <a:gd name="T43" fmla="*/ 2147483647 h 1024"/>
              <a:gd name="T44" fmla="*/ 2147483647 w 2325"/>
              <a:gd name="T45" fmla="*/ 2147483647 h 1024"/>
              <a:gd name="T46" fmla="*/ 2147483647 w 2325"/>
              <a:gd name="T47" fmla="*/ 2147483647 h 1024"/>
              <a:gd name="T48" fmla="*/ 2147483647 w 2325"/>
              <a:gd name="T49" fmla="*/ 2147483647 h 1024"/>
              <a:gd name="T50" fmla="*/ 2147483647 w 2325"/>
              <a:gd name="T51" fmla="*/ 2147483647 h 1024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w 2325"/>
              <a:gd name="T79" fmla="*/ 0 h 1024"/>
              <a:gd name="T80" fmla="*/ 2325 w 2325"/>
              <a:gd name="T81" fmla="*/ 1024 h 1024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T78" t="T79" r="T80" b="T81"/>
            <a:pathLst>
              <a:path w="2325" h="1024">
                <a:moveTo>
                  <a:pt x="0" y="683"/>
                </a:moveTo>
                <a:cubicBezTo>
                  <a:pt x="59" y="694"/>
                  <a:pt x="270" y="726"/>
                  <a:pt x="357" y="751"/>
                </a:cubicBezTo>
                <a:cubicBezTo>
                  <a:pt x="444" y="776"/>
                  <a:pt x="455" y="817"/>
                  <a:pt x="520" y="833"/>
                </a:cubicBezTo>
                <a:cubicBezTo>
                  <a:pt x="585" y="849"/>
                  <a:pt x="683" y="821"/>
                  <a:pt x="745" y="845"/>
                </a:cubicBezTo>
                <a:cubicBezTo>
                  <a:pt x="807" y="869"/>
                  <a:pt x="841" y="949"/>
                  <a:pt x="895" y="977"/>
                </a:cubicBezTo>
                <a:cubicBezTo>
                  <a:pt x="949" y="1005"/>
                  <a:pt x="1018" y="1024"/>
                  <a:pt x="1070" y="1015"/>
                </a:cubicBezTo>
                <a:cubicBezTo>
                  <a:pt x="1115" y="1000"/>
                  <a:pt x="1161" y="939"/>
                  <a:pt x="1206" y="924"/>
                </a:cubicBezTo>
                <a:cubicBezTo>
                  <a:pt x="1251" y="909"/>
                  <a:pt x="1304" y="924"/>
                  <a:pt x="1342" y="924"/>
                </a:cubicBezTo>
                <a:cubicBezTo>
                  <a:pt x="1380" y="924"/>
                  <a:pt x="1403" y="909"/>
                  <a:pt x="1433" y="924"/>
                </a:cubicBezTo>
                <a:cubicBezTo>
                  <a:pt x="1463" y="939"/>
                  <a:pt x="1501" y="1015"/>
                  <a:pt x="1524" y="1015"/>
                </a:cubicBezTo>
                <a:cubicBezTo>
                  <a:pt x="1547" y="1015"/>
                  <a:pt x="1531" y="924"/>
                  <a:pt x="1569" y="924"/>
                </a:cubicBezTo>
                <a:cubicBezTo>
                  <a:pt x="1607" y="924"/>
                  <a:pt x="1706" y="1008"/>
                  <a:pt x="1751" y="1015"/>
                </a:cubicBezTo>
                <a:cubicBezTo>
                  <a:pt x="1796" y="1022"/>
                  <a:pt x="1803" y="977"/>
                  <a:pt x="1841" y="969"/>
                </a:cubicBezTo>
                <a:cubicBezTo>
                  <a:pt x="1879" y="961"/>
                  <a:pt x="1939" y="976"/>
                  <a:pt x="1977" y="969"/>
                </a:cubicBezTo>
                <a:cubicBezTo>
                  <a:pt x="2015" y="962"/>
                  <a:pt x="2038" y="931"/>
                  <a:pt x="2068" y="924"/>
                </a:cubicBezTo>
                <a:cubicBezTo>
                  <a:pt x="2098" y="917"/>
                  <a:pt x="2136" y="939"/>
                  <a:pt x="2159" y="924"/>
                </a:cubicBezTo>
                <a:cubicBezTo>
                  <a:pt x="2182" y="909"/>
                  <a:pt x="2197" y="878"/>
                  <a:pt x="2204" y="833"/>
                </a:cubicBezTo>
                <a:cubicBezTo>
                  <a:pt x="2211" y="788"/>
                  <a:pt x="2211" y="690"/>
                  <a:pt x="2204" y="652"/>
                </a:cubicBezTo>
                <a:cubicBezTo>
                  <a:pt x="2197" y="614"/>
                  <a:pt x="2144" y="651"/>
                  <a:pt x="2159" y="606"/>
                </a:cubicBezTo>
                <a:cubicBezTo>
                  <a:pt x="2174" y="561"/>
                  <a:pt x="2272" y="440"/>
                  <a:pt x="2295" y="380"/>
                </a:cubicBezTo>
                <a:cubicBezTo>
                  <a:pt x="2318" y="320"/>
                  <a:pt x="2325" y="281"/>
                  <a:pt x="2295" y="243"/>
                </a:cubicBezTo>
                <a:cubicBezTo>
                  <a:pt x="2265" y="205"/>
                  <a:pt x="2151" y="183"/>
                  <a:pt x="2113" y="153"/>
                </a:cubicBezTo>
                <a:cubicBezTo>
                  <a:pt x="2075" y="123"/>
                  <a:pt x="2121" y="77"/>
                  <a:pt x="2068" y="62"/>
                </a:cubicBezTo>
                <a:cubicBezTo>
                  <a:pt x="2015" y="47"/>
                  <a:pt x="1872" y="70"/>
                  <a:pt x="1796" y="62"/>
                </a:cubicBezTo>
                <a:cubicBezTo>
                  <a:pt x="1720" y="54"/>
                  <a:pt x="1494" y="34"/>
                  <a:pt x="1614" y="17"/>
                </a:cubicBezTo>
                <a:cubicBezTo>
                  <a:pt x="1734" y="0"/>
                  <a:pt x="1715" y="8"/>
                  <a:pt x="1741" y="6"/>
                </a:cubicBezTo>
              </a:path>
            </a:pathLst>
          </a:custGeom>
          <a:noFill/>
          <a:ln w="25400">
            <a:solidFill>
              <a:srgbClr val="CC00CC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grpSp>
        <p:nvGrpSpPr>
          <p:cNvPr id="84376" name="Group 108"/>
          <p:cNvGrpSpPr>
            <a:grpSpLocks/>
          </p:cNvGrpSpPr>
          <p:nvPr/>
        </p:nvGrpSpPr>
        <p:grpSpPr bwMode="auto">
          <a:xfrm>
            <a:off x="7077075" y="3443288"/>
            <a:ext cx="103188" cy="101600"/>
            <a:chOff x="3969" y="3475"/>
            <a:chExt cx="90" cy="91"/>
          </a:xfrm>
        </p:grpSpPr>
        <p:sp>
          <p:nvSpPr>
            <p:cNvPr id="84432" name="Line 109"/>
            <p:cNvSpPr>
              <a:spLocks noChangeShapeType="1"/>
            </p:cNvSpPr>
            <p:nvPr/>
          </p:nvSpPr>
          <p:spPr bwMode="auto">
            <a:xfrm>
              <a:off x="3969" y="3475"/>
              <a:ext cx="90" cy="91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84433" name="Line 110"/>
            <p:cNvSpPr>
              <a:spLocks noChangeShapeType="1"/>
            </p:cNvSpPr>
            <p:nvPr/>
          </p:nvSpPr>
          <p:spPr bwMode="auto">
            <a:xfrm flipH="1">
              <a:off x="3969" y="3475"/>
              <a:ext cx="90" cy="91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84434" name="Oval 111"/>
            <p:cNvSpPr>
              <a:spLocks noChangeArrowheads="1"/>
            </p:cNvSpPr>
            <p:nvPr/>
          </p:nvSpPr>
          <p:spPr bwMode="auto">
            <a:xfrm>
              <a:off x="3980" y="3487"/>
              <a:ext cx="66" cy="66"/>
            </a:xfrm>
            <a:prstGeom prst="ellipse">
              <a:avLst/>
            </a:prstGeom>
            <a:solidFill>
              <a:srgbClr val="000000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84377" name="Group 116"/>
          <p:cNvGrpSpPr>
            <a:grpSpLocks/>
          </p:cNvGrpSpPr>
          <p:nvPr/>
        </p:nvGrpSpPr>
        <p:grpSpPr bwMode="auto">
          <a:xfrm>
            <a:off x="7408863" y="2679700"/>
            <a:ext cx="101600" cy="101600"/>
            <a:chOff x="3969" y="3475"/>
            <a:chExt cx="90" cy="91"/>
          </a:xfrm>
        </p:grpSpPr>
        <p:sp>
          <p:nvSpPr>
            <p:cNvPr id="84429" name="Line 117"/>
            <p:cNvSpPr>
              <a:spLocks noChangeShapeType="1"/>
            </p:cNvSpPr>
            <p:nvPr/>
          </p:nvSpPr>
          <p:spPr bwMode="auto">
            <a:xfrm>
              <a:off x="3969" y="3475"/>
              <a:ext cx="90" cy="91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84430" name="Line 118"/>
            <p:cNvSpPr>
              <a:spLocks noChangeShapeType="1"/>
            </p:cNvSpPr>
            <p:nvPr/>
          </p:nvSpPr>
          <p:spPr bwMode="auto">
            <a:xfrm flipH="1">
              <a:off x="3969" y="3475"/>
              <a:ext cx="90" cy="91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84431" name="Oval 119"/>
            <p:cNvSpPr>
              <a:spLocks noChangeArrowheads="1"/>
            </p:cNvSpPr>
            <p:nvPr/>
          </p:nvSpPr>
          <p:spPr bwMode="auto">
            <a:xfrm>
              <a:off x="3980" y="3487"/>
              <a:ext cx="66" cy="66"/>
            </a:xfrm>
            <a:prstGeom prst="ellipse">
              <a:avLst/>
            </a:prstGeom>
            <a:solidFill>
              <a:srgbClr val="000000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84378" name="Line 120"/>
          <p:cNvSpPr>
            <a:spLocks noChangeShapeType="1"/>
          </p:cNvSpPr>
          <p:nvPr/>
        </p:nvSpPr>
        <p:spPr bwMode="auto">
          <a:xfrm flipH="1">
            <a:off x="4643438" y="2349500"/>
            <a:ext cx="865187" cy="935038"/>
          </a:xfrm>
          <a:prstGeom prst="line">
            <a:avLst/>
          </a:prstGeom>
          <a:noFill/>
          <a:ln w="28575">
            <a:solidFill>
              <a:srgbClr val="FF3300"/>
            </a:solidFill>
            <a:prstDash val="lgDash"/>
            <a:round/>
            <a:headEnd/>
            <a:tailEnd/>
          </a:ln>
        </p:spPr>
        <p:txBody>
          <a:bodyPr wrap="none" lIns="90000" tIns="46800" rIns="90000" bIns="46800" anchor="ctr"/>
          <a:lstStyle/>
          <a:p>
            <a:endParaRPr lang="ru-RU"/>
          </a:p>
        </p:txBody>
      </p:sp>
      <p:grpSp>
        <p:nvGrpSpPr>
          <p:cNvPr id="84379" name="Group 121"/>
          <p:cNvGrpSpPr>
            <a:grpSpLocks/>
          </p:cNvGrpSpPr>
          <p:nvPr/>
        </p:nvGrpSpPr>
        <p:grpSpPr bwMode="auto">
          <a:xfrm>
            <a:off x="5502275" y="2276475"/>
            <a:ext cx="101600" cy="101600"/>
            <a:chOff x="3969" y="3475"/>
            <a:chExt cx="90" cy="91"/>
          </a:xfrm>
        </p:grpSpPr>
        <p:sp>
          <p:nvSpPr>
            <p:cNvPr id="84426" name="Line 122"/>
            <p:cNvSpPr>
              <a:spLocks noChangeShapeType="1"/>
            </p:cNvSpPr>
            <p:nvPr/>
          </p:nvSpPr>
          <p:spPr bwMode="auto">
            <a:xfrm>
              <a:off x="3969" y="3475"/>
              <a:ext cx="90" cy="91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84427" name="Line 123"/>
            <p:cNvSpPr>
              <a:spLocks noChangeShapeType="1"/>
            </p:cNvSpPr>
            <p:nvPr/>
          </p:nvSpPr>
          <p:spPr bwMode="auto">
            <a:xfrm flipH="1">
              <a:off x="3969" y="3475"/>
              <a:ext cx="90" cy="91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2" name="Oval 124"/>
            <p:cNvSpPr>
              <a:spLocks noChangeArrowheads="1"/>
            </p:cNvSpPr>
            <p:nvPr/>
          </p:nvSpPr>
          <p:spPr bwMode="auto">
            <a:xfrm>
              <a:off x="3980" y="3487"/>
              <a:ext cx="66" cy="66"/>
            </a:xfrm>
            <a:prstGeom prst="ellipse">
              <a:avLst/>
            </a:prstGeom>
            <a:solidFill>
              <a:srgbClr val="000000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84380" name="Group 125"/>
          <p:cNvGrpSpPr>
            <a:grpSpLocks/>
          </p:cNvGrpSpPr>
          <p:nvPr/>
        </p:nvGrpSpPr>
        <p:grpSpPr bwMode="auto">
          <a:xfrm>
            <a:off x="4643438" y="4646613"/>
            <a:ext cx="4095750" cy="763587"/>
            <a:chOff x="2925" y="2993"/>
            <a:chExt cx="2580" cy="481"/>
          </a:xfrm>
        </p:grpSpPr>
        <p:sp>
          <p:nvSpPr>
            <p:cNvPr id="84411" name="Line 126"/>
            <p:cNvSpPr>
              <a:spLocks noChangeAspect="1" noChangeShapeType="1"/>
            </p:cNvSpPr>
            <p:nvPr>
              <p:custDataLst>
                <p:tags r:id="rId4"/>
              </p:custDataLst>
            </p:nvPr>
          </p:nvSpPr>
          <p:spPr bwMode="auto">
            <a:xfrm>
              <a:off x="4594" y="3405"/>
              <a:ext cx="100" cy="1"/>
            </a:xfrm>
            <a:prstGeom prst="line">
              <a:avLst/>
            </a:prstGeom>
            <a:noFill/>
            <a:ln w="25400">
              <a:solidFill>
                <a:srgbClr val="CC00CC"/>
              </a:solidFill>
              <a:prstDash val="sysDot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84412" name="Text Box 127"/>
            <p:cNvSpPr txBox="1"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4760" y="3339"/>
              <a:ext cx="745" cy="13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ru-RU" sz="800"/>
                <a:t>Проектируемые ЛЭП</a:t>
              </a:r>
            </a:p>
          </p:txBody>
        </p:sp>
        <p:sp>
          <p:nvSpPr>
            <p:cNvPr id="84413" name="Line 128"/>
            <p:cNvSpPr>
              <a:spLocks noChangeShapeType="1"/>
            </p:cNvSpPr>
            <p:nvPr>
              <p:custDataLst>
                <p:tags r:id="rId6"/>
              </p:custDataLst>
            </p:nvPr>
          </p:nvSpPr>
          <p:spPr bwMode="auto">
            <a:xfrm>
              <a:off x="2933" y="3344"/>
              <a:ext cx="100" cy="0"/>
            </a:xfrm>
            <a:prstGeom prst="line">
              <a:avLst/>
            </a:prstGeom>
            <a:noFill/>
            <a:ln w="1905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84414" name="Line 129"/>
            <p:cNvSpPr>
              <a:spLocks noChangeShapeType="1"/>
            </p:cNvSpPr>
            <p:nvPr>
              <p:custDataLst>
                <p:tags r:id="rId7"/>
              </p:custDataLst>
            </p:nvPr>
          </p:nvSpPr>
          <p:spPr bwMode="auto">
            <a:xfrm>
              <a:off x="2933" y="3185"/>
              <a:ext cx="100" cy="0"/>
            </a:xfrm>
            <a:prstGeom prst="line">
              <a:avLst/>
            </a:prstGeom>
            <a:noFill/>
            <a:ln w="1905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84415" name="Text Box 130"/>
            <p:cNvSpPr txBox="1"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3174" y="3302"/>
              <a:ext cx="589" cy="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r>
                <a:rPr lang="ru-RU" sz="800"/>
                <a:t>Автозимники</a:t>
              </a:r>
            </a:p>
          </p:txBody>
        </p:sp>
        <p:sp>
          <p:nvSpPr>
            <p:cNvPr id="84416" name="Text Box 131"/>
            <p:cNvSpPr txBox="1"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3174" y="3112"/>
              <a:ext cx="884" cy="1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r>
                <a:rPr lang="ru-RU" sz="800"/>
                <a:t>Автодороги с переходным типом покрытия</a:t>
              </a:r>
            </a:p>
          </p:txBody>
        </p:sp>
        <p:sp>
          <p:nvSpPr>
            <p:cNvPr id="84417" name="Line 132"/>
            <p:cNvSpPr>
              <a:spLocks noChangeShapeType="1"/>
            </p:cNvSpPr>
            <p:nvPr>
              <p:custDataLst>
                <p:tags r:id="rId10"/>
              </p:custDataLst>
            </p:nvPr>
          </p:nvSpPr>
          <p:spPr bwMode="auto">
            <a:xfrm>
              <a:off x="4594" y="3290"/>
              <a:ext cx="100" cy="0"/>
            </a:xfrm>
            <a:prstGeom prst="line">
              <a:avLst/>
            </a:prstGeom>
            <a:noFill/>
            <a:ln w="19050">
              <a:solidFill>
                <a:srgbClr val="CC00CC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84418" name="Text Box 133"/>
            <p:cNvSpPr txBox="1"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4760" y="3223"/>
              <a:ext cx="735" cy="13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ru-RU" sz="800"/>
                <a:t>Существующие ЛЭП</a:t>
              </a:r>
            </a:p>
          </p:txBody>
        </p:sp>
        <p:grpSp>
          <p:nvGrpSpPr>
            <p:cNvPr id="84419" name="Group 134"/>
            <p:cNvGrpSpPr>
              <a:grpSpLocks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4582" y="3083"/>
              <a:ext cx="90" cy="91"/>
              <a:chOff x="3969" y="3475"/>
              <a:chExt cx="90" cy="91"/>
            </a:xfrm>
          </p:grpSpPr>
          <p:sp>
            <p:nvSpPr>
              <p:cNvPr id="84423" name="Line 135"/>
              <p:cNvSpPr>
                <a:spLocks noChangeShapeType="1"/>
              </p:cNvSpPr>
              <p:nvPr/>
            </p:nvSpPr>
            <p:spPr bwMode="auto">
              <a:xfrm>
                <a:off x="3969" y="3475"/>
                <a:ext cx="90" cy="91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84424" name="Line 136"/>
              <p:cNvSpPr>
                <a:spLocks noChangeShapeType="1"/>
              </p:cNvSpPr>
              <p:nvPr/>
            </p:nvSpPr>
            <p:spPr bwMode="auto">
              <a:xfrm flipH="1">
                <a:off x="3969" y="3475"/>
                <a:ext cx="90" cy="91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84425" name="Oval 137"/>
              <p:cNvSpPr>
                <a:spLocks noChangeArrowheads="1"/>
              </p:cNvSpPr>
              <p:nvPr/>
            </p:nvSpPr>
            <p:spPr bwMode="auto">
              <a:xfrm>
                <a:off x="3980" y="3487"/>
                <a:ext cx="66" cy="66"/>
              </a:xfrm>
              <a:prstGeom prst="ellipse">
                <a:avLst/>
              </a:prstGeom>
              <a:solidFill>
                <a:srgbClr val="000000"/>
              </a:solidFill>
              <a:ln w="1270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sp>
          <p:nvSpPr>
            <p:cNvPr id="84420" name="Text Box 138"/>
            <p:cNvSpPr txBox="1"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4760" y="3055"/>
              <a:ext cx="422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ru-RU" sz="800"/>
                <a:t>АЭС, ТЭЦ</a:t>
              </a:r>
            </a:p>
          </p:txBody>
        </p:sp>
        <p:sp>
          <p:nvSpPr>
            <p:cNvPr id="84421" name="Line 139"/>
            <p:cNvSpPr>
              <a:spLocks noChangeShapeType="1"/>
            </p:cNvSpPr>
            <p:nvPr>
              <p:custDataLst>
                <p:tags r:id="rId14"/>
              </p:custDataLst>
            </p:nvPr>
          </p:nvSpPr>
          <p:spPr bwMode="auto">
            <a:xfrm flipH="1">
              <a:off x="2925" y="3054"/>
              <a:ext cx="136" cy="0"/>
            </a:xfrm>
            <a:prstGeom prst="line">
              <a:avLst/>
            </a:prstGeom>
            <a:noFill/>
            <a:ln w="19050">
              <a:solidFill>
                <a:srgbClr val="FF3300"/>
              </a:solidFill>
              <a:prstDash val="dash"/>
              <a:round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endParaRPr lang="ru-RU"/>
            </a:p>
          </p:txBody>
        </p:sp>
        <p:sp>
          <p:nvSpPr>
            <p:cNvPr id="84422" name="Text Box 140"/>
            <p:cNvSpPr txBox="1"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3107" y="2993"/>
              <a:ext cx="950" cy="13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ru-RU" sz="800"/>
                <a:t>Проектируемые автодороги</a:t>
              </a:r>
            </a:p>
          </p:txBody>
        </p:sp>
      </p:grpSp>
      <p:sp>
        <p:nvSpPr>
          <p:cNvPr id="84381" name="Rectangle 156"/>
          <p:cNvSpPr>
            <a:spLocks noChangeArrowheads="1"/>
          </p:cNvSpPr>
          <p:nvPr/>
        </p:nvSpPr>
        <p:spPr bwMode="gray">
          <a:xfrm>
            <a:off x="2195513" y="5516563"/>
            <a:ext cx="30321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/>
          <a:lstStyle/>
          <a:p>
            <a:pPr algn="ctr"/>
            <a:r>
              <a:rPr lang="ru-RU" b="1">
                <a:solidFill>
                  <a:schemeClr val="bg1"/>
                </a:solidFill>
              </a:rPr>
              <a:t>53,5%</a:t>
            </a:r>
          </a:p>
        </p:txBody>
      </p:sp>
      <p:graphicFrame>
        <p:nvGraphicFramePr>
          <p:cNvPr id="84280" name="AutoShape 312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-38100" y="-19050"/>
          <a:ext cx="158750" cy="158750"/>
        </p:xfrm>
        <a:graphic>
          <a:graphicData uri="http://schemas.openxmlformats.org/presentationml/2006/ole">
            <p:oleObj spid="_x0000_s84280" name="think-cell Slide" r:id="rId17" imgW="0" imgH="0" progId="">
              <p:embed/>
            </p:oleObj>
          </a:graphicData>
        </a:graphic>
      </p:graphicFrame>
      <p:sp>
        <p:nvSpPr>
          <p:cNvPr id="84382" name="Rectangle 158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25400" tIns="0" rIns="25400" bIns="0" anchor="ctr"/>
          <a:lstStyle/>
          <a:p>
            <a:pPr algn="ctr"/>
            <a:r>
              <a:rPr lang="ru-RU" sz="1400"/>
              <a:t>33%</a:t>
            </a:r>
          </a:p>
        </p:txBody>
      </p:sp>
      <p:sp>
        <p:nvSpPr>
          <p:cNvPr id="84383" name="Text Box 160"/>
          <p:cNvSpPr txBox="1">
            <a:spLocks noChangeArrowheads="1"/>
          </p:cNvSpPr>
          <p:nvPr/>
        </p:nvSpPr>
        <p:spPr bwMode="auto">
          <a:xfrm>
            <a:off x="4284663" y="5472113"/>
            <a:ext cx="4859337" cy="814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92075" indent="-92075">
              <a:lnSpc>
                <a:spcPct val="95000"/>
              </a:lnSpc>
            </a:pPr>
            <a:r>
              <a:rPr lang="ru-RU" sz="1000">
                <a:solidFill>
                  <a:srgbClr val="000000"/>
                </a:solidFill>
              </a:rPr>
              <a:t>*   Дополнительные частные инвестиции в разработку Баимской рудной зоны</a:t>
            </a:r>
          </a:p>
          <a:p>
            <a:pPr marL="92075" indent="-92075">
              <a:lnSpc>
                <a:spcPct val="95000"/>
              </a:lnSpc>
            </a:pPr>
            <a:r>
              <a:rPr lang="ru-RU" sz="1000">
                <a:solidFill>
                  <a:srgbClr val="000000"/>
                </a:solidFill>
              </a:rPr>
              <a:t>    составляют 65 млрд. руб. (из них 11 млрд. руб. – инфраструктура) в 2021- </a:t>
            </a:r>
          </a:p>
          <a:p>
            <a:pPr marL="92075" indent="-92075">
              <a:lnSpc>
                <a:spcPct val="95000"/>
              </a:lnSpc>
            </a:pPr>
            <a:r>
              <a:rPr lang="ru-RU" sz="1000">
                <a:solidFill>
                  <a:srgbClr val="000000"/>
                </a:solidFill>
              </a:rPr>
              <a:t>    2023 гг.</a:t>
            </a:r>
          </a:p>
          <a:p>
            <a:pPr marL="92075" indent="-92075">
              <a:lnSpc>
                <a:spcPct val="95000"/>
              </a:lnSpc>
            </a:pPr>
            <a:r>
              <a:rPr lang="ru-RU" sz="1000">
                <a:solidFill>
                  <a:srgbClr val="000000"/>
                </a:solidFill>
              </a:rPr>
              <a:t>** Предварительная оценка. Для более точной оценки необходима    </a:t>
            </a:r>
          </a:p>
          <a:p>
            <a:pPr marL="92075" indent="-92075">
              <a:lnSpc>
                <a:spcPct val="95000"/>
              </a:lnSpc>
            </a:pPr>
            <a:r>
              <a:rPr lang="ru-RU" sz="1000">
                <a:solidFill>
                  <a:srgbClr val="000000"/>
                </a:solidFill>
              </a:rPr>
              <a:t>    проработка соответствующих ТЭО</a:t>
            </a:r>
          </a:p>
        </p:txBody>
      </p:sp>
      <p:grpSp>
        <p:nvGrpSpPr>
          <p:cNvPr id="84384" name="Group 161"/>
          <p:cNvGrpSpPr>
            <a:grpSpLocks/>
          </p:cNvGrpSpPr>
          <p:nvPr/>
        </p:nvGrpSpPr>
        <p:grpSpPr bwMode="auto">
          <a:xfrm>
            <a:off x="6040438" y="1638300"/>
            <a:ext cx="101600" cy="101600"/>
            <a:chOff x="3969" y="3475"/>
            <a:chExt cx="90" cy="91"/>
          </a:xfrm>
        </p:grpSpPr>
        <p:sp>
          <p:nvSpPr>
            <p:cNvPr id="84408" name="Line 162"/>
            <p:cNvSpPr>
              <a:spLocks noChangeShapeType="1"/>
            </p:cNvSpPr>
            <p:nvPr/>
          </p:nvSpPr>
          <p:spPr bwMode="auto">
            <a:xfrm>
              <a:off x="3969" y="3475"/>
              <a:ext cx="90" cy="91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84409" name="Line 163"/>
            <p:cNvSpPr>
              <a:spLocks noChangeShapeType="1"/>
            </p:cNvSpPr>
            <p:nvPr/>
          </p:nvSpPr>
          <p:spPr bwMode="auto">
            <a:xfrm flipH="1">
              <a:off x="3969" y="3475"/>
              <a:ext cx="90" cy="91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84410" name="Oval 164"/>
            <p:cNvSpPr>
              <a:spLocks noChangeArrowheads="1"/>
            </p:cNvSpPr>
            <p:nvPr/>
          </p:nvSpPr>
          <p:spPr bwMode="auto">
            <a:xfrm>
              <a:off x="3980" y="3487"/>
              <a:ext cx="66" cy="66"/>
            </a:xfrm>
            <a:prstGeom prst="ellipse">
              <a:avLst/>
            </a:prstGeom>
            <a:solidFill>
              <a:srgbClr val="000000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</p:grpSp>
      <p:graphicFrame>
        <p:nvGraphicFramePr>
          <p:cNvPr id="84428" name="Group 460"/>
          <p:cNvGraphicFramePr>
            <a:graphicFrameLocks noGrp="1"/>
          </p:cNvGraphicFramePr>
          <p:nvPr/>
        </p:nvGraphicFramePr>
        <p:xfrm>
          <a:off x="234950" y="5130800"/>
          <a:ext cx="4030663" cy="1125538"/>
        </p:xfrm>
        <a:graphic>
          <a:graphicData uri="http://schemas.openxmlformats.org/drawingml/2006/table">
            <a:tbl>
              <a:tblPr/>
              <a:tblGrid>
                <a:gridCol w="2765425"/>
                <a:gridCol w="1265238"/>
              </a:tblGrid>
              <a:tr h="2444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10000"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Источник </a:t>
                      </a:r>
                    </a:p>
                  </a:txBody>
                  <a:tcPr marT="45686" marB="45686" horzOverflow="overflow">
                    <a:lnL w="12700" cap="flat" cmpd="sng" algn="ctr">
                      <a:solidFill>
                        <a:srgbClr val="0000CC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CC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10000"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Объем</a:t>
                      </a:r>
                    </a:p>
                  </a:txBody>
                  <a:tcPr marT="45686" marB="45686" horzOverflow="overflow">
                    <a:lnL>
                      <a:noFill/>
                    </a:lnL>
                    <a:lnR w="12700" cap="flat" cmpd="sng" algn="ctr">
                      <a:solidFill>
                        <a:srgbClr val="0000CC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CC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ECFF"/>
                    </a:solidFill>
                  </a:tcPr>
                </a:tc>
              </a:tr>
              <a:tr h="36512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10000"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Минимально необходимые государственные инвестиции</a:t>
                      </a:r>
                    </a:p>
                  </a:txBody>
                  <a:tcPr marT="45686" marB="45686" horzOverflow="overflow">
                    <a:lnL w="12700" cap="flat" cmpd="sng" algn="ctr">
                      <a:solidFill>
                        <a:srgbClr val="0000CC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10000"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193 млрд. руб.</a:t>
                      </a:r>
                    </a:p>
                  </a:txBody>
                  <a:tcPr marT="45686" marB="45686" horzOverflow="overflow">
                    <a:lnL>
                      <a:noFill/>
                    </a:lnL>
                    <a:lnR w="12700" cap="flat" cmpd="sng" algn="ctr">
                      <a:solidFill>
                        <a:srgbClr val="0000CC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305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10000"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Минимально необходимые частные инвестиции</a:t>
                      </a:r>
                    </a:p>
                  </a:txBody>
                  <a:tcPr marT="45686" marB="45686" horzOverflow="overflow">
                    <a:lnL w="12700" cap="flat" cmpd="sng" algn="ctr">
                      <a:solidFill>
                        <a:srgbClr val="0000CC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10000"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32 млрд. руб.</a:t>
                      </a:r>
                    </a:p>
                  </a:txBody>
                  <a:tcPr marT="45686" marB="45686" horzOverflow="overflow">
                    <a:lnL>
                      <a:noFill/>
                    </a:lnL>
                    <a:lnR w="12700" cap="flat" cmpd="sng" algn="ctr">
                      <a:solidFill>
                        <a:srgbClr val="0000CC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288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10000"/>
                        <a:buFontTx/>
                        <a:buNone/>
                        <a:tabLst/>
                      </a:pPr>
                      <a:r>
                        <a:rPr kumimoji="0" lang="ru-RU" sz="9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ИТОГО</a:t>
                      </a:r>
                    </a:p>
                  </a:txBody>
                  <a:tcPr marT="45686" marB="45686" horzOverflow="overflow">
                    <a:lnL w="12700" cap="flat" cmpd="sng" algn="ctr">
                      <a:solidFill>
                        <a:srgbClr val="0000CC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CC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10000"/>
                        <a:buFontTx/>
                        <a:buNone/>
                        <a:tabLst/>
                      </a:pPr>
                      <a:r>
                        <a:rPr kumimoji="0" lang="ru-RU" sz="9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225 млрд. руб.</a:t>
                      </a:r>
                    </a:p>
                  </a:txBody>
                  <a:tcPr marT="45686" marB="45686" horzOverflow="overflow">
                    <a:lnL>
                      <a:noFill/>
                    </a:lnL>
                    <a:lnR w="12700" cap="flat" cmpd="sng" algn="ctr">
                      <a:solidFill>
                        <a:srgbClr val="0000CC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CC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84398" name="Line 178"/>
          <p:cNvSpPr>
            <a:spLocks noChangeShapeType="1"/>
          </p:cNvSpPr>
          <p:nvPr/>
        </p:nvSpPr>
        <p:spPr bwMode="auto">
          <a:xfrm>
            <a:off x="5580063" y="2349500"/>
            <a:ext cx="71437" cy="358775"/>
          </a:xfrm>
          <a:prstGeom prst="line">
            <a:avLst/>
          </a:prstGeom>
          <a:noFill/>
          <a:ln w="28575">
            <a:solidFill>
              <a:srgbClr val="FF3300"/>
            </a:solidFill>
            <a:prstDash val="lgDash"/>
            <a:round/>
            <a:headEnd/>
            <a:tailEnd/>
          </a:ln>
        </p:spPr>
        <p:txBody>
          <a:bodyPr wrap="none" lIns="90000" tIns="46800" rIns="90000" bIns="46800" anchor="ctr"/>
          <a:lstStyle/>
          <a:p>
            <a:endParaRPr lang="ru-RU"/>
          </a:p>
        </p:txBody>
      </p:sp>
      <p:sp>
        <p:nvSpPr>
          <p:cNvPr id="84399" name="AutoShape 179"/>
          <p:cNvSpPr>
            <a:spLocks noChangeArrowheads="1"/>
          </p:cNvSpPr>
          <p:nvPr/>
        </p:nvSpPr>
        <p:spPr bwMode="auto">
          <a:xfrm>
            <a:off x="7596188" y="4149725"/>
            <a:ext cx="576262" cy="215900"/>
          </a:xfrm>
          <a:prstGeom prst="wedgeRoundRectCallout">
            <a:avLst>
              <a:gd name="adj1" fmla="val -65153"/>
              <a:gd name="adj2" fmla="val -75736"/>
              <a:gd name="adj3" fmla="val 16667"/>
            </a:avLst>
          </a:prstGeom>
          <a:noFill/>
          <a:ln w="9525" algn="ctr">
            <a:solidFill>
              <a:srgbClr val="3333CC"/>
            </a:solidFill>
            <a:prstDash val="dash"/>
            <a:miter lim="800000"/>
            <a:headEnd/>
            <a:tailEnd/>
          </a:ln>
        </p:spPr>
        <p:txBody>
          <a:bodyPr/>
          <a:lstStyle/>
          <a:p>
            <a:pPr marL="342900" indent="-342900" algn="ctr"/>
            <a:r>
              <a:rPr lang="ru-RU" sz="800"/>
              <a:t>порт</a:t>
            </a:r>
          </a:p>
        </p:txBody>
      </p:sp>
      <p:sp>
        <p:nvSpPr>
          <p:cNvPr id="84400" name="Line 180"/>
          <p:cNvSpPr>
            <a:spLocks noChangeShapeType="1"/>
          </p:cNvSpPr>
          <p:nvPr/>
        </p:nvSpPr>
        <p:spPr bwMode="auto">
          <a:xfrm flipH="1">
            <a:off x="6731000" y="3490913"/>
            <a:ext cx="144463" cy="0"/>
          </a:xfrm>
          <a:prstGeom prst="line">
            <a:avLst/>
          </a:prstGeom>
          <a:noFill/>
          <a:ln w="28575">
            <a:solidFill>
              <a:srgbClr val="FF0000"/>
            </a:solidFill>
            <a:prstDash val="dash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84401" name="Line 181"/>
          <p:cNvSpPr>
            <a:spLocks noChangeShapeType="1"/>
          </p:cNvSpPr>
          <p:nvPr/>
        </p:nvSpPr>
        <p:spPr bwMode="auto">
          <a:xfrm flipH="1">
            <a:off x="6659563" y="3471863"/>
            <a:ext cx="71437" cy="73025"/>
          </a:xfrm>
          <a:prstGeom prst="line">
            <a:avLst/>
          </a:prstGeom>
          <a:noFill/>
          <a:ln w="28575">
            <a:solidFill>
              <a:srgbClr val="FF0000"/>
            </a:solidFill>
            <a:prstDash val="dash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84402" name="Freeform 101"/>
          <p:cNvSpPr>
            <a:spLocks/>
          </p:cNvSpPr>
          <p:nvPr/>
        </p:nvSpPr>
        <p:spPr bwMode="auto">
          <a:xfrm rot="220262" flipH="1">
            <a:off x="7477125" y="2146300"/>
            <a:ext cx="79375" cy="566738"/>
          </a:xfrm>
          <a:custGeom>
            <a:avLst/>
            <a:gdLst>
              <a:gd name="T0" fmla="*/ 2147483647 w 627"/>
              <a:gd name="T1" fmla="*/ 2147483647 h 725"/>
              <a:gd name="T2" fmla="*/ 2147483647 w 627"/>
              <a:gd name="T3" fmla="*/ 2147483647 h 725"/>
              <a:gd name="T4" fmla="*/ 2147483647 w 627"/>
              <a:gd name="T5" fmla="*/ 0 h 725"/>
              <a:gd name="T6" fmla="*/ 0 60000 65536"/>
              <a:gd name="T7" fmla="*/ 0 60000 65536"/>
              <a:gd name="T8" fmla="*/ 0 60000 65536"/>
              <a:gd name="T9" fmla="*/ 0 w 627"/>
              <a:gd name="T10" fmla="*/ 0 h 725"/>
              <a:gd name="T11" fmla="*/ 627 w 627"/>
              <a:gd name="T12" fmla="*/ 725 h 725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627" h="725">
                <a:moveTo>
                  <a:pt x="128" y="725"/>
                </a:moveTo>
                <a:cubicBezTo>
                  <a:pt x="64" y="513"/>
                  <a:pt x="0" y="302"/>
                  <a:pt x="83" y="181"/>
                </a:cubicBezTo>
                <a:cubicBezTo>
                  <a:pt x="166" y="60"/>
                  <a:pt x="536" y="30"/>
                  <a:pt x="627" y="0"/>
                </a:cubicBezTo>
              </a:path>
            </a:pathLst>
          </a:custGeom>
          <a:noFill/>
          <a:ln w="28575" cap="flat" cmpd="sng">
            <a:solidFill>
              <a:srgbClr val="990099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84403" name="Freeform 101"/>
          <p:cNvSpPr>
            <a:spLocks/>
          </p:cNvSpPr>
          <p:nvPr/>
        </p:nvSpPr>
        <p:spPr bwMode="auto">
          <a:xfrm rot="-4800000" flipH="1" flipV="1">
            <a:off x="7210425" y="2522538"/>
            <a:ext cx="85725" cy="574675"/>
          </a:xfrm>
          <a:custGeom>
            <a:avLst/>
            <a:gdLst>
              <a:gd name="T0" fmla="*/ 2147483647 w 627"/>
              <a:gd name="T1" fmla="*/ 2147483647 h 725"/>
              <a:gd name="T2" fmla="*/ 2147483647 w 627"/>
              <a:gd name="T3" fmla="*/ 2147483647 h 725"/>
              <a:gd name="T4" fmla="*/ 2147483647 w 627"/>
              <a:gd name="T5" fmla="*/ 0 h 725"/>
              <a:gd name="T6" fmla="*/ 0 60000 65536"/>
              <a:gd name="T7" fmla="*/ 0 60000 65536"/>
              <a:gd name="T8" fmla="*/ 0 60000 65536"/>
              <a:gd name="T9" fmla="*/ 0 w 627"/>
              <a:gd name="T10" fmla="*/ 0 h 725"/>
              <a:gd name="T11" fmla="*/ 627 w 627"/>
              <a:gd name="T12" fmla="*/ 725 h 725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627" h="725">
                <a:moveTo>
                  <a:pt x="128" y="725"/>
                </a:moveTo>
                <a:cubicBezTo>
                  <a:pt x="64" y="513"/>
                  <a:pt x="0" y="302"/>
                  <a:pt x="83" y="181"/>
                </a:cubicBezTo>
                <a:cubicBezTo>
                  <a:pt x="166" y="60"/>
                  <a:pt x="536" y="30"/>
                  <a:pt x="627" y="0"/>
                </a:cubicBezTo>
              </a:path>
            </a:pathLst>
          </a:custGeom>
          <a:noFill/>
          <a:ln w="28575" cap="flat" cmpd="sng">
            <a:solidFill>
              <a:srgbClr val="990099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84404" name="Rectangle 2"/>
          <p:cNvSpPr txBox="1">
            <a:spLocks noChangeArrowheads="1"/>
          </p:cNvSpPr>
          <p:nvPr/>
        </p:nvSpPr>
        <p:spPr bwMode="auto">
          <a:xfrm>
            <a:off x="396875" y="260350"/>
            <a:ext cx="8407400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17" tIns="45709" rIns="91417" bIns="45709" anchor="ctr"/>
          <a:lstStyle/>
          <a:p>
            <a:pPr>
              <a:lnSpc>
                <a:spcPct val="90000"/>
              </a:lnSpc>
            </a:pPr>
            <a:r>
              <a:rPr lang="ru-RU" sz="2000">
                <a:solidFill>
                  <a:srgbClr val="000000"/>
                </a:solidFill>
              </a:rPr>
              <a:t>Стратегия  развития предусматривает значительное увеличение инвестиций в развитие транспорта и энергетики округа</a:t>
            </a:r>
          </a:p>
        </p:txBody>
      </p:sp>
      <p:sp>
        <p:nvSpPr>
          <p:cNvPr id="84405" name="Line 120"/>
          <p:cNvSpPr>
            <a:spLocks noChangeShapeType="1"/>
          </p:cNvSpPr>
          <p:nvPr/>
        </p:nvSpPr>
        <p:spPr bwMode="auto">
          <a:xfrm flipH="1">
            <a:off x="4656138" y="2330450"/>
            <a:ext cx="887412" cy="1027113"/>
          </a:xfrm>
          <a:prstGeom prst="line">
            <a:avLst/>
          </a:prstGeom>
          <a:noFill/>
          <a:ln w="25400">
            <a:solidFill>
              <a:srgbClr val="CC00CC"/>
            </a:solidFill>
            <a:prstDash val="sysDot"/>
            <a:round/>
            <a:headEnd/>
            <a:tailEnd/>
          </a:ln>
        </p:spPr>
        <p:txBody>
          <a:bodyPr wrap="none" lIns="90000" tIns="46800" rIns="90000" bIns="46800" anchor="ctr"/>
          <a:lstStyle/>
          <a:p>
            <a:endParaRPr lang="ru-RU"/>
          </a:p>
        </p:txBody>
      </p:sp>
      <p:sp>
        <p:nvSpPr>
          <p:cNvPr id="84406" name="Freeform 107"/>
          <p:cNvSpPr>
            <a:spLocks/>
          </p:cNvSpPr>
          <p:nvPr/>
        </p:nvSpPr>
        <p:spPr bwMode="auto">
          <a:xfrm>
            <a:off x="5513388" y="1708150"/>
            <a:ext cx="895350" cy="622300"/>
          </a:xfrm>
          <a:custGeom>
            <a:avLst/>
            <a:gdLst>
              <a:gd name="T0" fmla="*/ 2147483647 w 9050"/>
              <a:gd name="T1" fmla="*/ 2147483647 h 9991"/>
              <a:gd name="T2" fmla="*/ 2147483647 w 9050"/>
              <a:gd name="T3" fmla="*/ 2147483647 h 9991"/>
              <a:gd name="T4" fmla="*/ 2147483647 w 9050"/>
              <a:gd name="T5" fmla="*/ 2147483647 h 9991"/>
              <a:gd name="T6" fmla="*/ 2147483647 w 9050"/>
              <a:gd name="T7" fmla="*/ 2147483647 h 9991"/>
              <a:gd name="T8" fmla="*/ 2147483647 w 9050"/>
              <a:gd name="T9" fmla="*/ 2147483647 h 9991"/>
              <a:gd name="T10" fmla="*/ 2147483647 w 9050"/>
              <a:gd name="T11" fmla="*/ 2147483647 h 9991"/>
              <a:gd name="T12" fmla="*/ 2147483647 w 9050"/>
              <a:gd name="T13" fmla="*/ 2147483647 h 9991"/>
              <a:gd name="T14" fmla="*/ 2147483647 w 9050"/>
              <a:gd name="T15" fmla="*/ 2147483647 h 9991"/>
              <a:gd name="T16" fmla="*/ 2147483647 w 9050"/>
              <a:gd name="T17" fmla="*/ 2147483647 h 9991"/>
              <a:gd name="T18" fmla="*/ 2147483647 w 9050"/>
              <a:gd name="T19" fmla="*/ 2147483647 h 9991"/>
              <a:gd name="T20" fmla="*/ 2147483647 w 9050"/>
              <a:gd name="T21" fmla="*/ 2147483647 h 9991"/>
              <a:gd name="T22" fmla="*/ 2147483647 w 9050"/>
              <a:gd name="T23" fmla="*/ 2147483647 h 9991"/>
              <a:gd name="T24" fmla="*/ 2147483647 w 9050"/>
              <a:gd name="T25" fmla="*/ 2147483647 h 9991"/>
              <a:gd name="T26" fmla="*/ 2147483647 w 9050"/>
              <a:gd name="T27" fmla="*/ 2147483647 h 9991"/>
              <a:gd name="T28" fmla="*/ 2147483647 w 9050"/>
              <a:gd name="T29" fmla="*/ 2147483647 h 9991"/>
              <a:gd name="T30" fmla="*/ 2147483647 w 9050"/>
              <a:gd name="T31" fmla="*/ 2147483647 h 9991"/>
              <a:gd name="T32" fmla="*/ 2147483647 w 9050"/>
              <a:gd name="T33" fmla="*/ 2147483647 h 9991"/>
              <a:gd name="T34" fmla="*/ 2147483647 w 9050"/>
              <a:gd name="T35" fmla="*/ 2147483647 h 9991"/>
              <a:gd name="T36" fmla="*/ 2147483647 w 9050"/>
              <a:gd name="T37" fmla="*/ 2147483647 h 9991"/>
              <a:gd name="T38" fmla="*/ 2147483647 w 9050"/>
              <a:gd name="T39" fmla="*/ 2147483647 h 9991"/>
              <a:gd name="T40" fmla="*/ 2147483647 w 9050"/>
              <a:gd name="T41" fmla="*/ 2147483647 h 9991"/>
              <a:gd name="T42" fmla="*/ 2147483647 w 9050"/>
              <a:gd name="T43" fmla="*/ 2147483647 h 9991"/>
              <a:gd name="T44" fmla="*/ 2147483647 w 9050"/>
              <a:gd name="T45" fmla="*/ 2147483647 h 9991"/>
              <a:gd name="T46" fmla="*/ 2147483647 w 9050"/>
              <a:gd name="T47" fmla="*/ 2147483647 h 9991"/>
              <a:gd name="T48" fmla="*/ 2147483647 w 9050"/>
              <a:gd name="T49" fmla="*/ 2147483647 h 9991"/>
              <a:gd name="T50" fmla="*/ 2147483647 w 9050"/>
              <a:gd name="T51" fmla="*/ 2147483647 h 9991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w 9050"/>
              <a:gd name="T79" fmla="*/ 0 h 9991"/>
              <a:gd name="T80" fmla="*/ 9050 w 9050"/>
              <a:gd name="T81" fmla="*/ 9991 h 9991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T78" t="T79" r="T80" b="T81"/>
            <a:pathLst>
              <a:path w="9050" h="9991">
                <a:moveTo>
                  <a:pt x="563" y="9740"/>
                </a:moveTo>
                <a:cubicBezTo>
                  <a:pt x="938" y="9848"/>
                  <a:pt x="541" y="9436"/>
                  <a:pt x="552" y="9461"/>
                </a:cubicBezTo>
                <a:cubicBezTo>
                  <a:pt x="564" y="9486"/>
                  <a:pt x="639" y="9895"/>
                  <a:pt x="631" y="9891"/>
                </a:cubicBezTo>
                <a:cubicBezTo>
                  <a:pt x="623" y="9887"/>
                  <a:pt x="604" y="9487"/>
                  <a:pt x="501" y="9439"/>
                </a:cubicBezTo>
                <a:cubicBezTo>
                  <a:pt x="398" y="9391"/>
                  <a:pt x="-90" y="9512"/>
                  <a:pt x="15" y="9602"/>
                </a:cubicBezTo>
                <a:cubicBezTo>
                  <a:pt x="120" y="9692"/>
                  <a:pt x="799" y="10067"/>
                  <a:pt x="1130" y="9978"/>
                </a:cubicBezTo>
                <a:cubicBezTo>
                  <a:pt x="1416" y="9830"/>
                  <a:pt x="1709" y="9227"/>
                  <a:pt x="1994" y="9078"/>
                </a:cubicBezTo>
                <a:cubicBezTo>
                  <a:pt x="2282" y="8930"/>
                  <a:pt x="2618" y="9078"/>
                  <a:pt x="2860" y="9078"/>
                </a:cubicBezTo>
                <a:cubicBezTo>
                  <a:pt x="3102" y="9078"/>
                  <a:pt x="3248" y="8930"/>
                  <a:pt x="3439" y="9078"/>
                </a:cubicBezTo>
                <a:cubicBezTo>
                  <a:pt x="3628" y="9227"/>
                  <a:pt x="3871" y="9978"/>
                  <a:pt x="4019" y="9978"/>
                </a:cubicBezTo>
                <a:cubicBezTo>
                  <a:pt x="4164" y="9978"/>
                  <a:pt x="4062" y="9078"/>
                  <a:pt x="4304" y="9078"/>
                </a:cubicBezTo>
                <a:cubicBezTo>
                  <a:pt x="4547" y="9078"/>
                  <a:pt x="5177" y="9909"/>
                  <a:pt x="5462" y="9978"/>
                </a:cubicBezTo>
                <a:cubicBezTo>
                  <a:pt x="5750" y="10047"/>
                  <a:pt x="5794" y="9602"/>
                  <a:pt x="6035" y="9523"/>
                </a:cubicBezTo>
                <a:cubicBezTo>
                  <a:pt x="6277" y="9444"/>
                  <a:pt x="6660" y="9592"/>
                  <a:pt x="6900" y="9523"/>
                </a:cubicBezTo>
                <a:cubicBezTo>
                  <a:pt x="7143" y="9454"/>
                  <a:pt x="7290" y="9148"/>
                  <a:pt x="7480" y="9078"/>
                </a:cubicBezTo>
                <a:cubicBezTo>
                  <a:pt x="7671" y="9009"/>
                  <a:pt x="7913" y="9227"/>
                  <a:pt x="8058" y="9078"/>
                </a:cubicBezTo>
                <a:cubicBezTo>
                  <a:pt x="8206" y="8930"/>
                  <a:pt x="8300" y="8623"/>
                  <a:pt x="8346" y="8179"/>
                </a:cubicBezTo>
                <a:cubicBezTo>
                  <a:pt x="8390" y="7733"/>
                  <a:pt x="8390" y="6765"/>
                  <a:pt x="8346" y="6389"/>
                </a:cubicBezTo>
                <a:cubicBezTo>
                  <a:pt x="8300" y="6013"/>
                  <a:pt x="7964" y="6379"/>
                  <a:pt x="8058" y="5934"/>
                </a:cubicBezTo>
                <a:cubicBezTo>
                  <a:pt x="8155" y="5490"/>
                  <a:pt x="8778" y="4293"/>
                  <a:pt x="8924" y="3700"/>
                </a:cubicBezTo>
                <a:cubicBezTo>
                  <a:pt x="9070" y="3107"/>
                  <a:pt x="9115" y="2721"/>
                  <a:pt x="8924" y="2346"/>
                </a:cubicBezTo>
                <a:cubicBezTo>
                  <a:pt x="8733" y="1970"/>
                  <a:pt x="8008" y="1752"/>
                  <a:pt x="7765" y="1456"/>
                </a:cubicBezTo>
                <a:cubicBezTo>
                  <a:pt x="7526" y="1159"/>
                  <a:pt x="7816" y="705"/>
                  <a:pt x="7480" y="556"/>
                </a:cubicBezTo>
                <a:cubicBezTo>
                  <a:pt x="7143" y="408"/>
                  <a:pt x="6233" y="636"/>
                  <a:pt x="5750" y="556"/>
                </a:cubicBezTo>
                <a:cubicBezTo>
                  <a:pt x="5266" y="477"/>
                  <a:pt x="3828" y="279"/>
                  <a:pt x="4592" y="111"/>
                </a:cubicBezTo>
                <a:cubicBezTo>
                  <a:pt x="5355" y="-57"/>
                  <a:pt x="5233" y="22"/>
                  <a:pt x="5399" y="3"/>
                </a:cubicBezTo>
              </a:path>
            </a:pathLst>
          </a:custGeom>
          <a:noFill/>
          <a:ln w="25400">
            <a:solidFill>
              <a:srgbClr val="CC00CC"/>
            </a:solidFill>
            <a:prstDash val="sysDot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84407" name="Line 468"/>
          <p:cNvSpPr>
            <a:spLocks noChangeShapeType="1"/>
          </p:cNvSpPr>
          <p:nvPr/>
        </p:nvSpPr>
        <p:spPr bwMode="auto">
          <a:xfrm flipV="1">
            <a:off x="138113" y="939800"/>
            <a:ext cx="8899525" cy="7938"/>
          </a:xfrm>
          <a:prstGeom prst="line">
            <a:avLst/>
          </a:prstGeom>
          <a:noFill/>
          <a:ln w="9525">
            <a:solidFill>
              <a:srgbClr val="C0C0C0"/>
            </a:solidFill>
            <a:round/>
            <a:headEnd/>
            <a:tailEnd/>
          </a:ln>
          <a:effectLst>
            <a:prstShdw prst="shdw17" dist="17961" dir="2700000">
              <a:srgbClr val="737373"/>
            </a:prstShdw>
          </a:effectLst>
        </p:spPr>
        <p:txBody>
          <a:bodyPr/>
          <a:lstStyle/>
          <a:p>
            <a:endParaRPr lang="ru-RU"/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2211&quot;/&gt;&lt;CPresentation id=&quot;1&quot;&gt;&lt;m_precDefaultNumber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/m_precDefaultPercent&gt;&lt;m_precDefaultDate&gt;&lt;m_strFormatTime&gt;%#m/%#d&lt;/m_strFormatTime&gt;&lt;/m_precDefaultDate&gt;&lt;m_precDefaultYear&gt;&lt;m_strFormatTime&gt;%Y&lt;/m_strFormatTime&gt;&lt;/m_precDefaultYear&gt;&lt;m_precDefaultQuarter&gt;&lt;m_strFormatTime&gt;Q%5&lt;/m_strFormatTime&gt;&lt;/m_precDefaultQuarter&gt;&lt;m_precDefaultMonth&gt;&lt;m_strFormatTime&gt;%1&lt;/m_strFormatTime&gt;&lt;/m_precDefaultMonth&gt;&lt;m_precDefaultWeek&gt;&lt;m_strFormatTime&gt;%d&lt;/m_strFormatTime&gt;&lt;/m_precDefaultWeek&gt;&lt;m_precDefaultDay&gt;&lt;m_strFormatTime&gt;%#d&lt;/m_strFormatTime&gt;&lt;/m_precDefaultDay&gt;&lt;m_mruColor&gt;&lt;m_vecMRU length=&quot;9&quot;&gt;&lt;elem m_fUsage=&quot;3.48982023052442660000E+000&quot;&gt;&lt;m_ppcolschidx val=&quot;0&quot;/&gt;&lt;m_rgb r=&quot;b&quot; g=&quot;3a&quot; b=&quot;73&quot;/&gt;&lt;m_nBrightness val=&quot;0&quot;/&gt;&lt;/elem&gt;&lt;elem m_fUsage=&quot;2.01927552340660470000E+000&quot;&gt;&lt;m_ppcolschidx val=&quot;0&quot;/&gt;&lt;m_rgb r=&quot;6f&quot; g=&quot;8d&quot; b=&quot;b9&quot;/&gt;&lt;m_nBrightness val=&quot;0&quot;/&gt;&lt;/elem&gt;&lt;elem m_fUsage=&quot;1.43746918716748300000E+000&quot;&gt;&lt;m_ppcolschidx val=&quot;0&quot;/&gt;&lt;m_rgb r=&quot;44&quot; g=&quot;3a&quot; b=&quot;7c&quot;/&gt;&lt;m_nBrightness val=&quot;0&quot;/&gt;&lt;/elem&gt;&lt;elem m_fUsage=&quot;7.97380352070404590000E-001&quot;&gt;&lt;m_ppcolschidx val=&quot;0&quot;/&gt;&lt;m_rgb r=&quot;6f&quot; g=&quot;91&quot; b=&quot;b9&quot;/&gt;&lt;m_nBrightness val=&quot;0&quot;/&gt;&lt;/elem&gt;&lt;elem m_fUsage=&quot;6.56100000000000130000E-001&quot;&gt;&lt;m_ppcolschidx val=&quot;0&quot;/&gt;&lt;m_rgb r=&quot;97&quot; g=&quot;20&quot; b=&quot;2c&quot;/&gt;&lt;m_nBrightness val=&quot;0&quot;/&gt;&lt;/elem&gt;&lt;elem m_fUsage=&quot;6.48639737003040230000E-001&quot;&gt;&lt;m_ppcolschidx val=&quot;0&quot;/&gt;&lt;m_rgb r=&quot;16&quot; g=&quot;1c&quot; b=&quot;50&quot;/&gt;&lt;m_nBrightness val=&quot;0&quot;/&gt;&lt;/elem&gt;&lt;elem m_fUsage=&quot;4.78296900000000140000E-001&quot;&gt;&lt;m_ppcolschidx val=&quot;0&quot;/&gt;&lt;m_rgb r=&quot;26&quot; g=&quot;2f&quot; b=&quot;91&quot;/&gt;&lt;m_nBrightness val=&quot;0&quot;/&gt;&lt;/elem&gt;&lt;elem m_fUsage=&quot;4.02321564926533540000E-001&quot;&gt;&lt;m_ppcolschidx val=&quot;0&quot;/&gt;&lt;m_rgb r=&quot;7&quot; g=&quot;26&quot; b=&quot;4d&quot;/&gt;&lt;m_nBrightness val=&quot;0&quot;/&gt;&lt;/elem&gt;&lt;elem m_fUsage=&quot;7.06965049015105540000E-003&quot;&gt;&lt;m_ppcolschidx val=&quot;0&quot;/&gt;&lt;m_rgb r=&quot;f4&quot; g=&quot;9f&quot; b=&quot;6c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ITiSLjok2f3zvIPW.uL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hTXaLZYUS6Wx.V1oZ5l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ZfocH6ApUSf0QAgh8tHh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X2bdMKoQUabR874M0WmZ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vWgSZwFJUm6NTMp7iyr2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81tEJOKU0KYh7fPLk.Aa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kJZpO0ZkeH0qjXHSn4O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hnzrhk0kups8iUherFx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m8OvA27USwTWXXmcZEY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083HOKvkiJDqi_pcZIY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WiYth5fkSlPiYylOyAX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ITiSLjok2f3zvIPW.uL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xjI5NCYUOf630XDRxq6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b2fofEJJ0GX8dcssdoOw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dUcAqSsiEyAmC6TZLGpn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_mN2LtxWGk6XRwTkTrBmr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_cAOytOO0yP2COKlCKhZ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BiiYjyiY0mlRCcjBnXYj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nGKuNWqk2Xc2zSP8yOS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Lcq1Px6EaZjCpc52eGY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vWzrd1l0.npg036uytr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_5m8gS20EGHVkIWS0QRv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ITiSLjok2f3zvIPW.uL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V6sYeq7c065nJ4cZ3EYs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aT.v0ZUo0C4QXDW9Fe8U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O6KkQV2k2ViMD_JONrJ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50ilIstEOPnyD4r_1go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KwCbadVUyThYI6eXZpA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fRDf2Qw7EygctHDJsNLi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ISFPtUmUSyqlADwJBy3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VllGSwfq0yXsy054OvcG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7Hkf1e8qEaG82EieUsSZ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nLTBbD9UGJ6E47NosTB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ITiSLjok2f3zvIPW.uL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se5hzTo0Ga6zjDbzWbL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2.W27tZk.g_saBlNl3T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6IpOZj370.Ek6tZOiAxF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6oKKmu80iOKjtZKaXkd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ydfntKZx0CgM4fRHKPTR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pBXd43JU2ezWPLVZwQL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Mdk2pEdmkqdhAuAzGLiy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CavuyRX10KP1D7tfwNBB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ciGvxcYk24GX7olpuf5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y_5zit_U.CvstHgVWOU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ITiSLjok2f3zvIPW.uLQ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utGBypwZ0OLmMCvUgMae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ligRgqpUGdPh58zc.21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8z9AFFDUGuyFKZPHihzg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dApp.rk3ESpUm04KLs9z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2LFbs6QxEmpiMlX8neyUw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LMErFkU0kCwuO3ebhuR0Q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Ez88R3Ad0a8FIo3kVlq1w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ALlI0Qv0S3Z5oflOWPzg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pgdSlmhs0Od62NSChECXg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LHf9c_9O0qxP8HJk6jqw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ITiSLjok2f3zvIPW.uLQ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Xgkj3RvvUevSfJcVCosd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Noi8nncO0mEOljVvjNEtQ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g5J_XYdkO3MLiquyGVS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dqFHI9Ij0Cv2uobGmN0Zg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FdYB2uWMEu6ysEHrRsr6g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15RLhdvbkKRglkS9qAmr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UAKyPumU.Gu9oNxkbl8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4W9xP3q_0OghEaZ2ikrtg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LBgr0SSEWbkrAka3BLDw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bFJlutiUW9BpFPfXmy1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ITiSLjok2f3zvIPW.uLQ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aR49ir80COvg2RWw925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CVwzqNdrEa0j5c_.RS06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rkW.w_I1k.BANgu5LheVg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j5XOkYuR0yDLOfLJ.bJ1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5MgXLMFkkii1.Rdx2S3Y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R8SONpCk6gS.yk80vfiQ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kgym1OdlEG5K7vyyDF5Hw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nxS9r1XkuMB0at1i5V4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hni79ayU2M_jGUYKuTYA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UyvA.KI0iEJfLCSpbpE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ITiSLjok2f3zvIPW.uLQ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7Tzu1MokG9ADpZcVara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rF1f8H.W0yeA6g8c7azsg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dI4.X6A0WdJ3JxBjavg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8M34ZT.EqIdlmU7KKw8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8FZkgQu3U6NIHvIj29lW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noiQTAjU.0QKaWSJ0gZA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20IYHe5q0KoK4C_aYa7wQ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CMX67ufkSiTiyaO3yO0g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Zq4J8NAHkGlhgZUWv9tDQ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Sax5QctzEywuHWNMW954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ITiSLjok2f3zvIPW.uLQ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oM2xbKYO0KC.NqQHm8dsg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s4mpA7C702bhefFCdOZFw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1ai.cxTxEa1zVR2JAQ_3Q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eugzod6BEOOTGt.odRcSw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rLIcFlx.EWzUk57TXfRa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0RLhRrm2kq81Pz.xowbP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_MKm5hA0KWiVy9tkXYjA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oDwIdC73UCBXbxEd8YkyQ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9WWt6v3Y068rfvEZiIYLw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TpPUpYTEabZcS7smGsu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y_RZhtS0OCCvS3H.qTl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ajCwiZmB0SqJpVzJf_QbA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JDtk_hGwUOO611fKaExEw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qG4TJyIkqXOfIPx35fnA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HlpP95ZkqigazWY7h_pA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SVm9KVRU2lq.tGtb09WQ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4LTsXP20UaMEhH4evta6Q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ckTajaSk6B6vbfKKVikQ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DggB65TkesWVhZHmY1RA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HieDBgVvkq6wyetq3Jrq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TJgE_Rk02RcLlCavShD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FWOU5W5Wpkqh_KaylBvyAQ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hni79ayU2M_jGUYKuTYA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dWYVWu1TU6hAyoto46Z6w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29RGDcbaU29HGxOrxNrI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wOsEyH.M02P9pqt2JUsvw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qG4TJyIkqXOfIPx35fn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qG4TJyIkqXOfIPx35fnA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4LTsXP20UaMEhH4evta6Q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qG4TJyIkqXOfIPx35fnA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s4mpA7C702bhefFCdOZF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3o0i58q.EW8n7iaXIAB0Q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rLIcFlx.EWzUk57TXfRag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s4mpA7C702bhefFCdOZFw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s4mpA7C702bhefFCdOZF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rLIcFlx.EWzUk57TXfRag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oM2xbKYO0KC.NqQHm8ds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5MgXLMFkkii1.Rdx2S3YA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JDtk_hGwUOO611fKaExEw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Sqx5IunkGECPOZvNDPO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Sqx5IunkGECPOZvNDPOg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4LTsXP20UaMEhH4evta6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5uaLNbZZESDqZmP5QSXoQ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Sqx5IunkGECPOZvNDPOg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Sqx5IunkGECPOZvNDPOg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Sqx5IunkGECPOZvNDPOg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Sqx5IunkGECPOZvNDPOg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kgym1OdlEG5K7vyyDF5Hw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kgym1OdlEG5K7vyyDF5Hw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LBgr0SSEWbkrAka3BLDw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maYjKG4a0yUe0RE59HgWQ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s4mpA7C702bhefFCdOZFw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hni79ayU2M_jGUYKuTY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FZ9AcqtS0mH4jKRvSkeYw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j5XOkYuR0yDLOfLJ.bJ1Q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x4dw0Vj0un9s6dnHy0kA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s4mpA7C702bhefFCdOZFw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SVm9KVRU2lq.tGtb09WQ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s4mpA7C702bhefFCdOZFw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rLIcFlx.EWzUk57TXfRa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s4mpA7C702bhefFCdOZFw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rF1f8H.W0yeA6g8c7azsg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s4mpA7C702bhefFCdOZFw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rF1f8H.W0yeA6g8c7azs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OVN8yCz0iYQ4RQj0VCRg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s4mpA7C702bhefFCdOZFw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s4mpA7C702bhefFCdOZFw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rLIcFlx.EWzUk57TXfRag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s4mpA7C702bhefFCdOZFw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noiQTAjU.0QKaWSJ0gZ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JDtk_hGwUOO611fKaExEw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Sqx5IunkGECPOZvNDPOg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ckTajaSk6B6vbfKKVikQ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Zq4J8NAHkGlhgZUWv9tDQ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OueS1LjOECbOStIzRCVu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tbIjOxpEWUlqRYMd0IEw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s4mpA7C702bhefFCdOZFw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s4mpA7C702bhefFCdOZFw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x4dw0Vj0un9s6dnHy0kA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x4dw0Vj0un9s6dnHy0kA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x4dw0Vj0un9s6dnHy0k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maYjKG4a0yUe0RE59HgWQ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rLIcFlx.EWzUk57TXfRag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x4dw0Vj0un9s6dnHy0kA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VzO3uA50OFmV0fTBzOig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maYjKG4a0yUe0RE59HgW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ibES75xkGdJWF8C1DlpA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LBgr0SSEWbkrAka3BLD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gqcHnIFMb0CHFOkzOQX2KQ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za90ga6EqM3B03cxrwFQ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RlCiqAskCsdaUsm_IDFA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YQrQoSpkab1un1d.gCUw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0k9l2lL0SlTonaTZSNuA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ISe7qeDkaHVi2OHy4qZA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GovktXV0mycIaSeQ2E3A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5kAuH2ZkisUHOjwTgJJQ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oeaQJPVUk6t45IuOLVzq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ZwgMHbCUOYWX_YtovSmQ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fBu0Rn_j0CyetYcNQ5r.A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Ef26zCNIkGJHurb6aLvdg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6.GPyDj7vki1Xh70bOdj3Q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.Jbl8sotd06Dx6akaRNYUA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Ws92V_LREuONxVdSdUBoQ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PmcP8hVgkCChlP_cEFlFQ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hAQp9YawS0Ow1_FPpKYgQw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zxj9PQQA0ektnf2BEveJQ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SwC5rnAqUmaCspaRGEHAA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GoU_6Tid0mT5s3avrOYm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.zRnPxkEScHX06dhsvNA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SwC5rnAqUmaCspaRGEHAA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1Z0PAwjR5E2nIm31.U1I5A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un9pABiZL0eGT_ehIpTwBQ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u8jq6XaQ_EG_J9iINNdrNA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iVUOC.ZvW0KAUbLPFbh4yQ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3rR6IyQESkCo4vi8vZa.lA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1vl8eu51E240.pB43oP8Q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XAkiqO_i02Lro1gVh7d5Q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6ErPfVoO10KVYTFQV2URcQ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ApmoRrEi.0ixGHTjRuimB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MrESlyl06JGQojiQDKpA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M08xeLzAkeRVX3c5sobXg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LSNH4GFvUiu7IqDXG0EFA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qngwT6kKEW0vasz54RzDw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gujLnQotE.pdLPncyYctg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BYrIpi_GkOxqx5AGsQ5Bw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UAKmGwWCeEa0.rGs5Jc.lQ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EMANi7r0Ak.i23l.1RLixw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6.SVHzYlnUqwxkAI2_l8SA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uC81K5i7PUS55fzAz8Ncyg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6fWMcEZ0Z0Sz6P1QetB..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4Zsjk81GUqWBa1jxWXHZ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IUK8jwj0Wa0_sB5kyJpw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B_itYNBwBkWvwYAeMot4Lw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M08xeLzAkeRVX3c5sobXg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M08xeLzAkeRVX3c5sobXg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A01TbsngEO5AC4_cpRlOQ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PyXEGnI7.UibacvLKF4Y9Q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e_8FEENE2P5PPyapvpnw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gqcHnIFMb0CHFOkzOQX2KQ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nUw.cpVUKGhcr7VYF57A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VnSQv0Dn0Kp2qXeLn812Q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IYZZwSM.s0WmmGUGDHUBt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9Pzo2TDlEy4IstWIjb5IQ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s6bDBr0uTOnaI1lpzCA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HnxKMeuuO06.ag1xqSohcw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HIyjHk9_NUmkNKKbgI1ToQ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evrzqICz_UukUJtcZc1yZA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40VHH.j906qM.klkOrr1Q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hRjBkocLG0OnfYdoc8beuQ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GKHS06_skKq23QLfDrlEw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u5QHVUoaEkiFPuiEy0WTEg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uNbKlm4GNEmSoLWcUndcsg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UABDgDmA1kCIUHdXlXs9n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5PkJFiZUunhGROGwnkVg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PyXEGnI7.UibacvLKF4Y9Q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e_8FEENE2P5PPyapvpnw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PyXEGnI7.UibacvLKF4Y9Q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e_8FEENE2P5PPyapvpnw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PyXEGnI7.UibacvLKF4Y9Q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e_8FEENE2P5PPyapvpnw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PyXEGnI7.UibacvLKF4Y9Q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e_8FEENE2P5PPyapvpnw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PyXEGnI7.UibacvLKF4Y9Q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e_8FEENE2P5PPyapvpn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bxVgtPvpUiNZrhbzaHw5Q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ATmbRGSFU6zFb8LMZR6_Q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JJokIbk0OJguivNeJE3g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taRslEVE.Qq2fwG2dp9g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VZUK3DfUu_sedh_0iIqQ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iNLQ8i4EiuPpu5ZtBn5A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ePvxhTb06w8Ex9IjVJuA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7QqpkYkESjKrc7Bmsclg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gZystAKUmiFAOqd0ylOg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6KLgBOquEePH2Vts4l9DQ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k9WGTUi9UeiUBRPWhsCM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uJbEl3NEqc34nDDECj3g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pYvgJziUO2hlF_Vq2a6g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MU.yGZt2UKqNiY3cCKcdA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9WQPC4Bdk2_zat8PsQFtw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_Zd6fziAESAFh73TdmpEA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LoUuOGukOC6VAheQ5CNQ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ulIdoUryUOK4TwL.r3Fzg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6yMTfwbkK63fAAFCjPdw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ZgJPMl3S0SzTmIy9yCQrg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nSEaADsk2y3nW51UaogQ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X082z.kU2yYRZ.iVGo3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0czYvjxzEq1oMQIreffjw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gK1xd5N40GooqvXbz5gog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KsPjMRgzEGhd7Nx8jE6yg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H9mvld70CAufnJntBKUg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_Yz5yWCEkisro2BKPiVtw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1lOrkyjA0q7bK6fzo0mrg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3Jn2lG6JUSN3b6amNic2Q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F28DFIMkqRQ.n7Sd2iNw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0ZfwzSZiEO2ghAKrym7KQ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25xeRg_EECV94lp0ouu6Q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6nniXt70UqFl1Ll0p5_L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5IzYjQgxU.qgTRYGHiccg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VKBvrwxEWcdsj1fBYGCQ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7uDIG48wE.jhqPSUxFZdQ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dTd3evrkWpGzMsEZdQhA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zxs1OrAEClOopKNj5Qlw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vjEN6pnESYXw2pKhKxiw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dlYcJQI0abyh6DexwWgQ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vyA6sxG0u49WExouQ6bA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iT519zlPE2Y3uvGoGXVlQ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9enyazaTEiFp5yGMajm9w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UDfYjiqk.EsDtp5CWgm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cIyWskDEeGY1HdpVFTrg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cR_Hpo9.Em4aTx37qiWrA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PMGq_zAEmoR0jkXYE5yA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4auk3sDpUqbp7hN51pmFA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6gxraPmgU6DzDhngHgUaw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qJUplBdLUGSwXzvMogTqQ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djWAptRsEuDAAqFfs0iTg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L4jlKVZq0qt3pKy_444RA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vnqnuZHUSfcV0LNvcvQA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vFkf9rfkKq1Zq0NwR_T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.c55lEfS0qjmwuCU_.GpQ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3o7LALX0i7ZrtB4udh5A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ORbRkTtkqvxUlPfGVjzA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z1zXc3BUy24HBuxbRxSw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m4Pc96Pq02flGmSoJW7kw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tusrCarRki6BbSWHV_EDA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n15PjX2u0mjlDmSyrf7_Q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JMWNguDOU2hB6JHbrTMig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Yoe5Ntl0atG_1RR0CQqg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8q3esOEJ0CIsWWS3l7iug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F9kQiWcECoiYlEv_XKt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x0Boa.DQke8GVe3.ml2FQ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OsExc0ofUGJ1ka6pLedRg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6KXFe7XNES6mqCMKWFYbA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TP9PXZJUyhO9k9PH1u_Q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.8Dcdtcn0e2tLyk8niomw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A4OcppM0ujZ93fYkssUw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gOzqisMiEy5J44zvUsGBQ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itZL9DsUaKRSI6pmbvPg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9ZEXhGPBUCtDzBSBYEyiA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U43_nvEOUO5UdY3LgT43g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Eg.d2cU_EKwgrq3s6Opq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n40RU3SZkeyb5x3OoFrA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9bZYKXSkuQBK.SlDuebw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89KeQm2p0y5w58_lCcLWg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vnqnuZHUSfcV0LNvcvQA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5LXjTGNDEa0UG0zcLbYVQ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I0QMlQUEGB.29b6s3Yew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SQt0NPPQUGl9svsepFY7Q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5f6wYVF3kWyFde7BQTlNA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zkKKsw8E6gQDroRpqodQ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kdotwUv0SrcfZ2whDRgQ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gTeog9jdUmVokUV3jF_i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_0vlkHi.UC0l5LjG7LY4A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7PTWq5dfkW6MIJTFlF9Fw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SrBP2QFlkS7aRNQTSF0aw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2wUSAxfUqerpHXMW.E9Q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UkrtNqkTU6Bv0jO7roTXw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mhPCO2c0WeJ.FS2QXaPg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2XiTZcIEGE1OgrrXRW3Q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kxMLMrOUuAdesGsXk_yg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kUd0MXb_UWdlFRS.8Xmyg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OGxvGJck6bjRAd1aUtiw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nbEylDq0i4lgMNOkWXZ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liNOikGR0GaF8NRxWUe.A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jw5le0LlUWvcjtFyMWoAw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UrLgHck0eva7YBloA2XA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AXejnaNaEynaNzT07gF9w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4A8wW6vEaJp.buIvfwYw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J0Ej0WFEESe8Dfz3RnKWA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J5ACWGzSUyir1QpC9JojQ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LfTQbAbHUOy.dvSl4EcsQ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Vg3MA45E6eCiLUFc27Tw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x3uC8cQ0WyyXQVYdjQwQ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35jrRwb50WtRqvto56Dq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2jBivvwy0622uYrw1xBww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KfD1Pnw8E6HDnWLd8fZVw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4aW9pSBmECoqvSZfxfH7w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TQhTQeu0mPJO1tStlpHQ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RGzd6hw70m38ULO3K8AUw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6rfPlDPY0aFGQYO5HPS7w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WInmw0FyESfr2JEzMNBVA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sumuYvvkqwiewgCoqgug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isW_uS9KUeleruc6UVpsQ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ralzsEo_0CUqdjemhGwdw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7j8VfPnk2gfREIdncCu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8V9Mb4.06aumcTib1Wdw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q6zOh8FVEGYLdibnm8nPQ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7vyKL7LI0y3IMhR3cVgFQ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G0Et48MbUSW8K1sOnfSOg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q5iDidvkCTFDYv3xkkaw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NosznGPW0.qty.d5yPReQ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tDiCIU3k6POSyQeFvRJQ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3vAn_K7UiBKLgGOUEYZQ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w7VjaK_cE68wY.0JeAcjQ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F.uvirV0e_Zw_luwpsm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e9d0uSkTEK7Ol.ZfPL.NQ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mjp5nGJEiAMjhJk.aJpQ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QpqVmFcyUiEtyCGFWko.Q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i9MQhQc0UKNuM1uBGKK.w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HFCqU.orUqI8GhW_yLOXQ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NXxdMkhKUSnWejJ_S1YMg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29zZWKSbUivSEICh_qCag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bKd9VIK5kC6K0fLnLuMog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_CR8gS72kKDykQXVmbjvw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NqEHBZK0GVe1cKcxSzgg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4Z56itNUa9SPGeDE4JQ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oLHv8A1kaip_E7BP3pmA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50E3s.iYUOmyD6roCT45w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IYTkp1ngEW0i48_u5wYIw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Mwy3HnvMUuGWG1KT3ru7A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aZjon7HUqtdELVjG7V5A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cBhhjVpkWN0gN1wt9D7w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h4kmB7V0yEeftxdBGi4g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oUsfh8rE.4IjuRimnzIA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NI1VBtzEWnj93rMkzMFQ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aamL6JNgUGfvv2R5H2Ohg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QfyyuAuUCnEaLVX5PFk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wAudbNUDUSlDOwnLNEa1g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RkgKE_hk2BPSFIlnVpTQ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WMXloptkiu51_aygFgGA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.tncgkLhE69zTSBjv99tA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0hPlnLWS0SfsCMjB3O6RA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5iM7l9sUmQTR60VDtb2Q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xNY.u61UWEclKwJf8Ymw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XkIsiFDk6zIvH3yLax2w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dwQoY2KUCSJHPW6EiZzw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ShJrvyf0KdRfBVV43FMQ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uzx3HSH8EayLgcSCZ7y8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09LsqB8bUW6faRXVx0PbA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BMbSm9VUWTjDH9RFrCgQ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SQnl.lNEWV2Uq.HkNWbw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m4kW7kNQEijsk911xB03w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NWJcNlPEuecVLPuE3mxw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_EObCz_60GstYAuUW4Mag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cSihr5gv0uGw1j_9NIDPA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fzGZ_H.UCdZeSTuX1wbQ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9dN.ZBpUSyhG774fRsMQ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1Xs4DU0EmopG3iqd_Y5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ubp.RsC_0qrtHE5.Voe7g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BTPm38K0628VzDqJNOeQ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EYN8XuKFkuxNLIQUqLaWQ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LJfPEQ8cE2PEPnX9PO4_A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JvL8eluU6jc.0SEVUprQ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uGGyg5G0G87sJhllYqPw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3ZZ54I20uW1F1MZINEtQ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9EXWVhtgEGjhmmeDVKXwQ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O0UVU8.tEKNYR39lbPrmw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Y_Hkbb310C3hhHXHLUzUg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PAdLXqLESErDrdlY6XW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eQowHKaW0KwWwXrxfqcj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a2ejHkn0aa_7sVG45jbQ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U3sACrlEOuDsvBIzIqGg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S2rkVTWBU.lyJd9YuwxpA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0ps5QqpR06MYuoGK0M6mw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EAODQ3NkqmuLO94vXKuA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2k50Vc0s0Sv19iEZWaFY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VN8WmQyE2K1jEdK5oZk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YSFmRsrkSJo0kjo3ZHV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TGbByabUy5hy7mrv3Df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464Vv2byUuwDd0FpGkde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gaJboo0C6AKNR3EtP6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HFEfJpE2EGRLNpV.hE6t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13xDP9p0WKPPeJaChwb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S3yAd.Nk6O.fAUGf9Rl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2F_jrRWdUyznVcRW21Lz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ITiSLjok2f3zvIPW.uL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fb9SDJK0WXVDTSt3pdg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vwYObV.S0aX913alO.DX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Y7B07y2UmquwvhJ23Sf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QUy03mhWEmgIAaEkjUjT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7qMw2WMkKpt0FjwprpA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scMoKms06F.lbzMYWrX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N_UVtT5ESP8x3reNQEl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9xvfvHmGUmyxgvyQO9vs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zmG.QeuGkqji6b5J9met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95cPs5CUi1KvMHmn.J0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MMl64IxEanEK65XxyKG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wWxRje2k2_caB01E_Ql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96jSzSWrkygNmiOh7Wc4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9hI.tChY0af_2VQKIM45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MnFv8pMpEqRsQ7P_UrOc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8mKSMP3UKBVBfa81Q6O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.E2OeHHlEKMtEEmFMdjf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8mKSMP3UKBVBfa81Q6O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G8GbQ3Iz0uJYg5rqk7jL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5IzYjQgxU.qgTRYGHicc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ITiSLjok2f3zvIPW.uL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5IzYjQgxU.qgTRYGHicc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ibES75xkGdJWF8C1Dlp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ibES75xkGdJWF8C1Dlp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.zRnPxkEScHX06dhsvN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.zRnPxkEScHX06dhsvN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IUK8jwj0Wa0_sB5kyJp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IUK8jwj0Wa0_sB5kyJp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5PkJFiZUunhGROGwnkV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5PkJFiZUunhGROGwnkV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uJbEl3NEqc34nDDECj3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ITiSLjok2f3zvIPW.uL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uJbEl3NEqc34nDDECj3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VyqokrAkqvslcksh91q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rBosG0f0CHktRWIDjFI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Xb3GPBpU.6QICddXs3M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Nzk.E8eUOIHSbo6mLh8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BpWKMJ6UmuUsGN2BpJO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8JpCPmH20e.BVF3xvnHN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VJaMlU1MkGN3npH1xxu3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J_HrigBLUSvnc3ApRUz0Q"/>
</p:tagLst>
</file>

<file path=ppt/theme/theme1.xml><?xml version="1.0" encoding="utf-8"?>
<a:theme xmlns:a="http://schemas.openxmlformats.org/drawingml/2006/main" name="2_шаблон БР">
  <a:themeElements>
    <a:clrScheme name="">
      <a:dk1>
        <a:srgbClr val="000000"/>
      </a:dk1>
      <a:lt1>
        <a:srgbClr val="FFFFFF"/>
      </a:lt1>
      <a:dk2>
        <a:srgbClr val="000000"/>
      </a:dk2>
      <a:lt2>
        <a:srgbClr val="B2B2B2"/>
      </a:lt2>
      <a:accent1>
        <a:srgbClr val="0E4D99"/>
      </a:accent1>
      <a:accent2>
        <a:srgbClr val="6699FF"/>
      </a:accent2>
      <a:accent3>
        <a:srgbClr val="FFFFFF"/>
      </a:accent3>
      <a:accent4>
        <a:srgbClr val="000000"/>
      </a:accent4>
      <a:accent5>
        <a:srgbClr val="AAB2CA"/>
      </a:accent5>
      <a:accent6>
        <a:srgbClr val="5C8AE7"/>
      </a:accent6>
      <a:hlink>
        <a:srgbClr val="99CCFF"/>
      </a:hlink>
      <a:folHlink>
        <a:srgbClr val="CCECFF"/>
      </a:folHlink>
    </a:clrScheme>
    <a:fontScheme name="2_шаблон БР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_шаблон БР 1">
        <a:dk1>
          <a:srgbClr val="000000"/>
        </a:dk1>
        <a:lt1>
          <a:srgbClr val="FFFFFF"/>
        </a:lt1>
        <a:dk2>
          <a:srgbClr val="40458C"/>
        </a:dk2>
        <a:lt2>
          <a:srgbClr val="FFFFCC"/>
        </a:lt2>
        <a:accent1>
          <a:srgbClr val="8D8DB3"/>
        </a:accent1>
        <a:accent2>
          <a:srgbClr val="B2B2B2"/>
        </a:accent2>
        <a:accent3>
          <a:srgbClr val="AFB0C5"/>
        </a:accent3>
        <a:accent4>
          <a:srgbClr val="DADADA"/>
        </a:accent4>
        <a:accent5>
          <a:srgbClr val="C5C5D6"/>
        </a:accent5>
        <a:accent6>
          <a:srgbClr val="A1A1A1"/>
        </a:accent6>
        <a:hlink>
          <a:srgbClr val="6F89F7"/>
        </a:hlink>
        <a:folHlink>
          <a:srgbClr val="4F56A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шаблон БР 2">
        <a:dk1>
          <a:srgbClr val="40458C"/>
        </a:dk1>
        <a:lt1>
          <a:srgbClr val="FFFFFF"/>
        </a:lt1>
        <a:dk2>
          <a:srgbClr val="660066"/>
        </a:dk2>
        <a:lt2>
          <a:srgbClr val="B7C1EB"/>
        </a:lt2>
        <a:accent1>
          <a:srgbClr val="ECD882"/>
        </a:accent1>
        <a:accent2>
          <a:srgbClr val="B2B2B2"/>
        </a:accent2>
        <a:accent3>
          <a:srgbClr val="FFFFFF"/>
        </a:accent3>
        <a:accent4>
          <a:srgbClr val="353A77"/>
        </a:accent4>
        <a:accent5>
          <a:srgbClr val="F4E9C1"/>
        </a:accent5>
        <a:accent6>
          <a:srgbClr val="A1A1A1"/>
        </a:accent6>
        <a:hlink>
          <a:srgbClr val="6F89F7"/>
        </a:hlink>
        <a:folHlink>
          <a:srgbClr val="CFDBF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шаблон БР 3">
        <a:dk1>
          <a:srgbClr val="000000"/>
        </a:dk1>
        <a:lt1>
          <a:srgbClr val="FFFFFF"/>
        </a:lt1>
        <a:dk2>
          <a:srgbClr val="4D4D4D"/>
        </a:dk2>
        <a:lt2>
          <a:srgbClr val="B2B2B2"/>
        </a:lt2>
        <a:accent1>
          <a:srgbClr val="969696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C9C9C9"/>
        </a:accent5>
        <a:accent6>
          <a:srgbClr val="D4D4D4"/>
        </a:accent6>
        <a:hlink>
          <a:srgbClr val="777777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шаблон БР 4">
        <a:dk1>
          <a:srgbClr val="333300"/>
        </a:dk1>
        <a:lt1>
          <a:srgbClr val="FFFFFF"/>
        </a:lt1>
        <a:dk2>
          <a:srgbClr val="663300"/>
        </a:dk2>
        <a:lt2>
          <a:srgbClr val="B2B2B2"/>
        </a:lt2>
        <a:accent1>
          <a:srgbClr val="DDC6A7"/>
        </a:accent1>
        <a:accent2>
          <a:srgbClr val="D9C167"/>
        </a:accent2>
        <a:accent3>
          <a:srgbClr val="FFFFFF"/>
        </a:accent3>
        <a:accent4>
          <a:srgbClr val="2A2A00"/>
        </a:accent4>
        <a:accent5>
          <a:srgbClr val="EBDFD0"/>
        </a:accent5>
        <a:accent6>
          <a:srgbClr val="C4AF5D"/>
        </a:accent6>
        <a:hlink>
          <a:srgbClr val="8A7A66"/>
        </a:hlink>
        <a:folHlink>
          <a:srgbClr val="C0AE9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шаблон БР 5">
        <a:dk1>
          <a:srgbClr val="000000"/>
        </a:dk1>
        <a:lt1>
          <a:srgbClr val="FFFFFF"/>
        </a:lt1>
        <a:dk2>
          <a:srgbClr val="003366"/>
        </a:dk2>
        <a:lt2>
          <a:srgbClr val="CCFFCC"/>
        </a:lt2>
        <a:accent1>
          <a:srgbClr val="006699"/>
        </a:accent1>
        <a:accent2>
          <a:srgbClr val="009999"/>
        </a:accent2>
        <a:accent3>
          <a:srgbClr val="AAADB8"/>
        </a:accent3>
        <a:accent4>
          <a:srgbClr val="DADADA"/>
        </a:accent4>
        <a:accent5>
          <a:srgbClr val="AAB8CA"/>
        </a:accent5>
        <a:accent6>
          <a:srgbClr val="008A8A"/>
        </a:accent6>
        <a:hlink>
          <a:srgbClr val="0099CC"/>
        </a:hlink>
        <a:folHlink>
          <a:srgbClr val="00458A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шаблон БР 6">
        <a:dk1>
          <a:srgbClr val="000000"/>
        </a:dk1>
        <a:lt1>
          <a:srgbClr val="FFFFFF"/>
        </a:lt1>
        <a:dk2>
          <a:srgbClr val="004A48"/>
        </a:dk2>
        <a:lt2>
          <a:srgbClr val="33CCCC"/>
        </a:lt2>
        <a:accent1>
          <a:srgbClr val="006699"/>
        </a:accent1>
        <a:accent2>
          <a:srgbClr val="009999"/>
        </a:accent2>
        <a:accent3>
          <a:srgbClr val="AAB1B1"/>
        </a:accent3>
        <a:accent4>
          <a:srgbClr val="DADADA"/>
        </a:accent4>
        <a:accent5>
          <a:srgbClr val="AAB8CA"/>
        </a:accent5>
        <a:accent6>
          <a:srgbClr val="008A8A"/>
        </a:accent6>
        <a:hlink>
          <a:srgbClr val="00CC99"/>
        </a:hlink>
        <a:folHlink>
          <a:srgbClr val="00666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шаблон БР 7">
        <a:dk1>
          <a:srgbClr val="000000"/>
        </a:dk1>
        <a:lt1>
          <a:srgbClr val="FFFFFF"/>
        </a:lt1>
        <a:dk2>
          <a:srgbClr val="333300"/>
        </a:dk2>
        <a:lt2>
          <a:srgbClr val="FFFFCC"/>
        </a:lt2>
        <a:accent1>
          <a:srgbClr val="CC9900"/>
        </a:accent1>
        <a:accent2>
          <a:srgbClr val="CC6600"/>
        </a:accent2>
        <a:accent3>
          <a:srgbClr val="ADADAA"/>
        </a:accent3>
        <a:accent4>
          <a:srgbClr val="DADADA"/>
        </a:accent4>
        <a:accent5>
          <a:srgbClr val="E2CAAA"/>
        </a:accent5>
        <a:accent6>
          <a:srgbClr val="B95C00"/>
        </a:accent6>
        <a:hlink>
          <a:srgbClr val="808000"/>
        </a:hlink>
        <a:folHlink>
          <a:srgbClr val="525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шаблон БР 8">
        <a:dk1>
          <a:srgbClr val="003D62"/>
        </a:dk1>
        <a:lt1>
          <a:srgbClr val="FFFFFF"/>
        </a:lt1>
        <a:dk2>
          <a:srgbClr val="006699"/>
        </a:dk2>
        <a:lt2>
          <a:srgbClr val="C8D1DA"/>
        </a:lt2>
        <a:accent1>
          <a:srgbClr val="9AC0EA"/>
        </a:accent1>
        <a:accent2>
          <a:srgbClr val="80C3C8"/>
        </a:accent2>
        <a:accent3>
          <a:srgbClr val="FFFFFF"/>
        </a:accent3>
        <a:accent4>
          <a:srgbClr val="003353"/>
        </a:accent4>
        <a:accent5>
          <a:srgbClr val="CADCF3"/>
        </a:accent5>
        <a:accent6>
          <a:srgbClr val="73B0B5"/>
        </a:accent6>
        <a:hlink>
          <a:srgbClr val="81ABCB"/>
        </a:hlink>
        <a:folHlink>
          <a:srgbClr val="B6CBD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шаблон БР 9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DDDDDD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D4D4D4"/>
        </a:accent6>
        <a:hlink>
          <a:srgbClr val="777777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шаблон БР 10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339966"/>
        </a:accent1>
        <a:accent2>
          <a:srgbClr val="CCFFCC"/>
        </a:accent2>
        <a:accent3>
          <a:srgbClr val="FFFFFF"/>
        </a:accent3>
        <a:accent4>
          <a:srgbClr val="000000"/>
        </a:accent4>
        <a:accent5>
          <a:srgbClr val="ADCAB8"/>
        </a:accent5>
        <a:accent6>
          <a:srgbClr val="B9E7B9"/>
        </a:accent6>
        <a:hlink>
          <a:srgbClr val="00CC99"/>
        </a:hlink>
        <a:folHlink>
          <a:srgbClr val="00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шаблон БР 11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008080"/>
        </a:accent1>
        <a:accent2>
          <a:srgbClr val="33CCCC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2DB9B9"/>
        </a:accent6>
        <a:hlink>
          <a:srgbClr val="99CCFF"/>
        </a:hlink>
        <a:folHlink>
          <a:srgbClr val="00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шаблон БР 12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008080"/>
        </a:accent1>
        <a:accent2>
          <a:srgbClr val="CCFFFF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B9E7E7"/>
        </a:accent6>
        <a:hlink>
          <a:srgbClr val="99CCFF"/>
        </a:hlink>
        <a:folHlink>
          <a:srgbClr val="00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шаблон БР 13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008080"/>
        </a:accent1>
        <a:accent2>
          <a:srgbClr val="33CCCC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2DB9B9"/>
        </a:accent6>
        <a:hlink>
          <a:srgbClr val="99CCFF"/>
        </a:hlink>
        <a:folHlink>
          <a:srgbClr val="CCFF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шаблон БР 14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336699"/>
        </a:accent1>
        <a:accent2>
          <a:srgbClr val="33CCCC"/>
        </a:accent2>
        <a:accent3>
          <a:srgbClr val="FFFFFF"/>
        </a:accent3>
        <a:accent4>
          <a:srgbClr val="000000"/>
        </a:accent4>
        <a:accent5>
          <a:srgbClr val="ADB8CA"/>
        </a:accent5>
        <a:accent6>
          <a:srgbClr val="2DB9B9"/>
        </a:accent6>
        <a:hlink>
          <a:srgbClr val="99CCFF"/>
        </a:hlink>
        <a:folHlink>
          <a:srgbClr val="CCEC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шаблон БР 15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3333FF"/>
        </a:accent1>
        <a:accent2>
          <a:srgbClr val="6699FF"/>
        </a:accent2>
        <a:accent3>
          <a:srgbClr val="FFFFFF"/>
        </a:accent3>
        <a:accent4>
          <a:srgbClr val="000000"/>
        </a:accent4>
        <a:accent5>
          <a:srgbClr val="ADADFF"/>
        </a:accent5>
        <a:accent6>
          <a:srgbClr val="5C8AE7"/>
        </a:accent6>
        <a:hlink>
          <a:srgbClr val="3399FF"/>
        </a:hlink>
        <a:folHlink>
          <a:srgbClr val="CCEC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шаблон БР 16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6699FF"/>
        </a:accent1>
        <a:accent2>
          <a:srgbClr val="66CCFF"/>
        </a:accent2>
        <a:accent3>
          <a:srgbClr val="FFFFFF"/>
        </a:accent3>
        <a:accent4>
          <a:srgbClr val="000000"/>
        </a:accent4>
        <a:accent5>
          <a:srgbClr val="B8CAFF"/>
        </a:accent5>
        <a:accent6>
          <a:srgbClr val="5CB9E7"/>
        </a:accent6>
        <a:hlink>
          <a:srgbClr val="99CCFF"/>
        </a:hlink>
        <a:folHlink>
          <a:srgbClr val="CCEC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шаблон">
  <a:themeElements>
    <a:clrScheme name="">
      <a:dk1>
        <a:srgbClr val="000000"/>
      </a:dk1>
      <a:lt1>
        <a:srgbClr val="FFFFFF"/>
      </a:lt1>
      <a:dk2>
        <a:srgbClr val="000000"/>
      </a:dk2>
      <a:lt2>
        <a:srgbClr val="B2B2B2"/>
      </a:lt2>
      <a:accent1>
        <a:srgbClr val="0E4D99"/>
      </a:accent1>
      <a:accent2>
        <a:srgbClr val="6699FF"/>
      </a:accent2>
      <a:accent3>
        <a:srgbClr val="FFFFFF"/>
      </a:accent3>
      <a:accent4>
        <a:srgbClr val="000000"/>
      </a:accent4>
      <a:accent5>
        <a:srgbClr val="AAB2CA"/>
      </a:accent5>
      <a:accent6>
        <a:srgbClr val="5C8AE7"/>
      </a:accent6>
      <a:hlink>
        <a:srgbClr val="99CCFF"/>
      </a:hlink>
      <a:folHlink>
        <a:srgbClr val="CCECFF"/>
      </a:folHlink>
    </a:clrScheme>
    <a:fontScheme name="шаблон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шаблон 1">
        <a:dk1>
          <a:srgbClr val="000000"/>
        </a:dk1>
        <a:lt1>
          <a:srgbClr val="FFFFFF"/>
        </a:lt1>
        <a:dk2>
          <a:srgbClr val="40458C"/>
        </a:dk2>
        <a:lt2>
          <a:srgbClr val="FFFFCC"/>
        </a:lt2>
        <a:accent1>
          <a:srgbClr val="8D8DB3"/>
        </a:accent1>
        <a:accent2>
          <a:srgbClr val="B2B2B2"/>
        </a:accent2>
        <a:accent3>
          <a:srgbClr val="AFB0C5"/>
        </a:accent3>
        <a:accent4>
          <a:srgbClr val="DADADA"/>
        </a:accent4>
        <a:accent5>
          <a:srgbClr val="C5C5D6"/>
        </a:accent5>
        <a:accent6>
          <a:srgbClr val="A1A1A1"/>
        </a:accent6>
        <a:hlink>
          <a:srgbClr val="6F89F7"/>
        </a:hlink>
        <a:folHlink>
          <a:srgbClr val="4F56A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шаблон 2">
        <a:dk1>
          <a:srgbClr val="40458C"/>
        </a:dk1>
        <a:lt1>
          <a:srgbClr val="FFFFFF"/>
        </a:lt1>
        <a:dk2>
          <a:srgbClr val="660066"/>
        </a:dk2>
        <a:lt2>
          <a:srgbClr val="B7C1EB"/>
        </a:lt2>
        <a:accent1>
          <a:srgbClr val="ECD882"/>
        </a:accent1>
        <a:accent2>
          <a:srgbClr val="B2B2B2"/>
        </a:accent2>
        <a:accent3>
          <a:srgbClr val="FFFFFF"/>
        </a:accent3>
        <a:accent4>
          <a:srgbClr val="353A77"/>
        </a:accent4>
        <a:accent5>
          <a:srgbClr val="F4E9C1"/>
        </a:accent5>
        <a:accent6>
          <a:srgbClr val="A1A1A1"/>
        </a:accent6>
        <a:hlink>
          <a:srgbClr val="6F89F7"/>
        </a:hlink>
        <a:folHlink>
          <a:srgbClr val="CFDBF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3">
        <a:dk1>
          <a:srgbClr val="000000"/>
        </a:dk1>
        <a:lt1>
          <a:srgbClr val="FFFFFF"/>
        </a:lt1>
        <a:dk2>
          <a:srgbClr val="4D4D4D"/>
        </a:dk2>
        <a:lt2>
          <a:srgbClr val="B2B2B2"/>
        </a:lt2>
        <a:accent1>
          <a:srgbClr val="969696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C9C9C9"/>
        </a:accent5>
        <a:accent6>
          <a:srgbClr val="D4D4D4"/>
        </a:accent6>
        <a:hlink>
          <a:srgbClr val="777777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4">
        <a:dk1>
          <a:srgbClr val="333300"/>
        </a:dk1>
        <a:lt1>
          <a:srgbClr val="FFFFFF"/>
        </a:lt1>
        <a:dk2>
          <a:srgbClr val="663300"/>
        </a:dk2>
        <a:lt2>
          <a:srgbClr val="B2B2B2"/>
        </a:lt2>
        <a:accent1>
          <a:srgbClr val="DDC6A7"/>
        </a:accent1>
        <a:accent2>
          <a:srgbClr val="D9C167"/>
        </a:accent2>
        <a:accent3>
          <a:srgbClr val="FFFFFF"/>
        </a:accent3>
        <a:accent4>
          <a:srgbClr val="2A2A00"/>
        </a:accent4>
        <a:accent5>
          <a:srgbClr val="EBDFD0"/>
        </a:accent5>
        <a:accent6>
          <a:srgbClr val="C4AF5D"/>
        </a:accent6>
        <a:hlink>
          <a:srgbClr val="8A7A66"/>
        </a:hlink>
        <a:folHlink>
          <a:srgbClr val="C0AE9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5">
        <a:dk1>
          <a:srgbClr val="000000"/>
        </a:dk1>
        <a:lt1>
          <a:srgbClr val="FFFFFF"/>
        </a:lt1>
        <a:dk2>
          <a:srgbClr val="003366"/>
        </a:dk2>
        <a:lt2>
          <a:srgbClr val="CCFFCC"/>
        </a:lt2>
        <a:accent1>
          <a:srgbClr val="006699"/>
        </a:accent1>
        <a:accent2>
          <a:srgbClr val="009999"/>
        </a:accent2>
        <a:accent3>
          <a:srgbClr val="AAADB8"/>
        </a:accent3>
        <a:accent4>
          <a:srgbClr val="DADADA"/>
        </a:accent4>
        <a:accent5>
          <a:srgbClr val="AAB8CA"/>
        </a:accent5>
        <a:accent6>
          <a:srgbClr val="008A8A"/>
        </a:accent6>
        <a:hlink>
          <a:srgbClr val="0099CC"/>
        </a:hlink>
        <a:folHlink>
          <a:srgbClr val="00458A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шаблон 6">
        <a:dk1>
          <a:srgbClr val="000000"/>
        </a:dk1>
        <a:lt1>
          <a:srgbClr val="FFFFFF"/>
        </a:lt1>
        <a:dk2>
          <a:srgbClr val="004A48"/>
        </a:dk2>
        <a:lt2>
          <a:srgbClr val="33CCCC"/>
        </a:lt2>
        <a:accent1>
          <a:srgbClr val="006699"/>
        </a:accent1>
        <a:accent2>
          <a:srgbClr val="009999"/>
        </a:accent2>
        <a:accent3>
          <a:srgbClr val="AAB1B1"/>
        </a:accent3>
        <a:accent4>
          <a:srgbClr val="DADADA"/>
        </a:accent4>
        <a:accent5>
          <a:srgbClr val="AAB8CA"/>
        </a:accent5>
        <a:accent6>
          <a:srgbClr val="008A8A"/>
        </a:accent6>
        <a:hlink>
          <a:srgbClr val="00CC99"/>
        </a:hlink>
        <a:folHlink>
          <a:srgbClr val="00666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шаблон 7">
        <a:dk1>
          <a:srgbClr val="000000"/>
        </a:dk1>
        <a:lt1>
          <a:srgbClr val="FFFFFF"/>
        </a:lt1>
        <a:dk2>
          <a:srgbClr val="333300"/>
        </a:dk2>
        <a:lt2>
          <a:srgbClr val="FFFFCC"/>
        </a:lt2>
        <a:accent1>
          <a:srgbClr val="CC9900"/>
        </a:accent1>
        <a:accent2>
          <a:srgbClr val="CC6600"/>
        </a:accent2>
        <a:accent3>
          <a:srgbClr val="ADADAA"/>
        </a:accent3>
        <a:accent4>
          <a:srgbClr val="DADADA"/>
        </a:accent4>
        <a:accent5>
          <a:srgbClr val="E2CAAA"/>
        </a:accent5>
        <a:accent6>
          <a:srgbClr val="B95C00"/>
        </a:accent6>
        <a:hlink>
          <a:srgbClr val="808000"/>
        </a:hlink>
        <a:folHlink>
          <a:srgbClr val="525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шаблон 8">
        <a:dk1>
          <a:srgbClr val="003D62"/>
        </a:dk1>
        <a:lt1>
          <a:srgbClr val="FFFFFF"/>
        </a:lt1>
        <a:dk2>
          <a:srgbClr val="006699"/>
        </a:dk2>
        <a:lt2>
          <a:srgbClr val="C8D1DA"/>
        </a:lt2>
        <a:accent1>
          <a:srgbClr val="9AC0EA"/>
        </a:accent1>
        <a:accent2>
          <a:srgbClr val="80C3C8"/>
        </a:accent2>
        <a:accent3>
          <a:srgbClr val="FFFFFF"/>
        </a:accent3>
        <a:accent4>
          <a:srgbClr val="003353"/>
        </a:accent4>
        <a:accent5>
          <a:srgbClr val="CADCF3"/>
        </a:accent5>
        <a:accent6>
          <a:srgbClr val="73B0B5"/>
        </a:accent6>
        <a:hlink>
          <a:srgbClr val="81ABCB"/>
        </a:hlink>
        <a:folHlink>
          <a:srgbClr val="B6CBD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9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DDDDDD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D4D4D4"/>
        </a:accent6>
        <a:hlink>
          <a:srgbClr val="777777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10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339966"/>
        </a:accent1>
        <a:accent2>
          <a:srgbClr val="CCFFCC"/>
        </a:accent2>
        <a:accent3>
          <a:srgbClr val="FFFFFF"/>
        </a:accent3>
        <a:accent4>
          <a:srgbClr val="000000"/>
        </a:accent4>
        <a:accent5>
          <a:srgbClr val="ADCAB8"/>
        </a:accent5>
        <a:accent6>
          <a:srgbClr val="B9E7B9"/>
        </a:accent6>
        <a:hlink>
          <a:srgbClr val="00CC99"/>
        </a:hlink>
        <a:folHlink>
          <a:srgbClr val="00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11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008080"/>
        </a:accent1>
        <a:accent2>
          <a:srgbClr val="33CCCC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2DB9B9"/>
        </a:accent6>
        <a:hlink>
          <a:srgbClr val="99CCFF"/>
        </a:hlink>
        <a:folHlink>
          <a:srgbClr val="00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12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008080"/>
        </a:accent1>
        <a:accent2>
          <a:srgbClr val="CCFFFF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B9E7E7"/>
        </a:accent6>
        <a:hlink>
          <a:srgbClr val="99CCFF"/>
        </a:hlink>
        <a:folHlink>
          <a:srgbClr val="00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13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008080"/>
        </a:accent1>
        <a:accent2>
          <a:srgbClr val="33CCCC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2DB9B9"/>
        </a:accent6>
        <a:hlink>
          <a:srgbClr val="99CCFF"/>
        </a:hlink>
        <a:folHlink>
          <a:srgbClr val="CCFF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14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336699"/>
        </a:accent1>
        <a:accent2>
          <a:srgbClr val="33CCCC"/>
        </a:accent2>
        <a:accent3>
          <a:srgbClr val="FFFFFF"/>
        </a:accent3>
        <a:accent4>
          <a:srgbClr val="000000"/>
        </a:accent4>
        <a:accent5>
          <a:srgbClr val="ADB8CA"/>
        </a:accent5>
        <a:accent6>
          <a:srgbClr val="2DB9B9"/>
        </a:accent6>
        <a:hlink>
          <a:srgbClr val="99CCFF"/>
        </a:hlink>
        <a:folHlink>
          <a:srgbClr val="CCEC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15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3333FF"/>
        </a:accent1>
        <a:accent2>
          <a:srgbClr val="6699FF"/>
        </a:accent2>
        <a:accent3>
          <a:srgbClr val="FFFFFF"/>
        </a:accent3>
        <a:accent4>
          <a:srgbClr val="000000"/>
        </a:accent4>
        <a:accent5>
          <a:srgbClr val="ADADFF"/>
        </a:accent5>
        <a:accent6>
          <a:srgbClr val="5C8AE7"/>
        </a:accent6>
        <a:hlink>
          <a:srgbClr val="3399FF"/>
        </a:hlink>
        <a:folHlink>
          <a:srgbClr val="CCEC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16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6699FF"/>
        </a:accent1>
        <a:accent2>
          <a:srgbClr val="66CCFF"/>
        </a:accent2>
        <a:accent3>
          <a:srgbClr val="FFFFFF"/>
        </a:accent3>
        <a:accent4>
          <a:srgbClr val="000000"/>
        </a:accent4>
        <a:accent5>
          <a:srgbClr val="B8CAFF"/>
        </a:accent5>
        <a:accent6>
          <a:srgbClr val="5CB9E7"/>
        </a:accent6>
        <a:hlink>
          <a:srgbClr val="99CCFF"/>
        </a:hlink>
        <a:folHlink>
          <a:srgbClr val="CCEC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7547</TotalTime>
  <Words>2415</Words>
  <Application>Microsoft Office PowerPoint</Application>
  <PresentationFormat>Экран (4:3)</PresentationFormat>
  <Paragraphs>667</Paragraphs>
  <Slides>20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Шаблон оформления</vt:lpstr>
      </vt:variant>
      <vt:variant>
        <vt:i4>30</vt:i4>
      </vt:variant>
      <vt:variant>
        <vt:lpstr>Внедренные серверы OLE</vt:lpstr>
      </vt:variant>
      <vt:variant>
        <vt:i4>3</vt:i4>
      </vt:variant>
      <vt:variant>
        <vt:lpstr>Заголовки слайдов</vt:lpstr>
      </vt:variant>
      <vt:variant>
        <vt:i4>20</vt:i4>
      </vt:variant>
    </vt:vector>
  </HeadingPairs>
  <TitlesOfParts>
    <vt:vector size="57" baseType="lpstr">
      <vt:lpstr>Arial</vt:lpstr>
      <vt:lpstr>ＭＳ Ｐゴシック</vt:lpstr>
      <vt:lpstr>Wingdings</vt:lpstr>
      <vt:lpstr>+mn-lt</vt:lpstr>
      <vt:lpstr>2_шаблон БР</vt:lpstr>
      <vt:lpstr>шаблон</vt:lpstr>
      <vt:lpstr>2_шаблон БР</vt:lpstr>
      <vt:lpstr>2_шаблон БР</vt:lpstr>
      <vt:lpstr>2_шаблон БР</vt:lpstr>
      <vt:lpstr>2_шаблон БР</vt:lpstr>
      <vt:lpstr>2_шаблон БР</vt:lpstr>
      <vt:lpstr>2_шаблон БР</vt:lpstr>
      <vt:lpstr>2_шаблон БР</vt:lpstr>
      <vt:lpstr>2_шаблон БР</vt:lpstr>
      <vt:lpstr>2_шаблон БР</vt:lpstr>
      <vt:lpstr>2_шаблон БР</vt:lpstr>
      <vt:lpstr>2_шаблон БР</vt:lpstr>
      <vt:lpstr>2_шаблон БР</vt:lpstr>
      <vt:lpstr>2_шаблон БР</vt:lpstr>
      <vt:lpstr>2_шаблон БР</vt:lpstr>
      <vt:lpstr>2_шаблон БР</vt:lpstr>
      <vt:lpstr>2_шаблон БР</vt:lpstr>
      <vt:lpstr>шаблон</vt:lpstr>
      <vt:lpstr>шаблон</vt:lpstr>
      <vt:lpstr>шаблон</vt:lpstr>
      <vt:lpstr>шаблон</vt:lpstr>
      <vt:lpstr>шаблон</vt:lpstr>
      <vt:lpstr>шаблон</vt:lpstr>
      <vt:lpstr>шаблон</vt:lpstr>
      <vt:lpstr>шаблон</vt:lpstr>
      <vt:lpstr>шаблон</vt:lpstr>
      <vt:lpstr>шаблон</vt:lpstr>
      <vt:lpstr>шаблон</vt:lpstr>
      <vt:lpstr>шаблон</vt:lpstr>
      <vt:lpstr>think-cell Slide</vt:lpstr>
      <vt:lpstr>Chart</vt:lpstr>
      <vt:lpstr>Диаграмма</vt:lpstr>
      <vt:lpstr>Стратегия социально-экономического развития  Чукотского автономного округа  до 2030 года</vt:lpstr>
      <vt:lpstr>Социально-экономическое положение Чукотского автономного округа – результат реализации Стратегии развития до 2020 года</vt:lpstr>
      <vt:lpstr> Значительно выросли доходы населения и улучшилось качество жизни</vt:lpstr>
      <vt:lpstr>Правительству округа удалось существенно нарастить доходную базу бюджета, удержав рост расходов бюджета под контролем </vt:lpstr>
      <vt:lpstr>В настоящее время ВРП формируется сильной промышленной базой, в которой доминирует добыча драгоценных металлов</vt:lpstr>
      <vt:lpstr>Стратегическое развитие Чукотского АО определяется освоением месторождений полезных ископаемых, сконцентрированных в двух промышленных зонах (территориях) опережающего развития</vt:lpstr>
      <vt:lpstr>Слайд 7</vt:lpstr>
      <vt:lpstr>Промышленная разработка месторождений критически зависит от создания необходимой инфраструктуры в Чукотском АО</vt:lpstr>
      <vt:lpstr>Слайд 9</vt:lpstr>
      <vt:lpstr>Ключевой проект 1: Беринговский угольный бассейн – характеристики проекта</vt:lpstr>
      <vt:lpstr>Ключевой проект 1: Беринговский угольный бассейн – развитие инфраструктуры</vt:lpstr>
      <vt:lpstr>Ключевой проект 2: Баимская рудная зона – характеристики проекта</vt:lpstr>
      <vt:lpstr>Ключевой проект 2: Баимская рудная зона – развитие инфраструктуры</vt:lpstr>
      <vt:lpstr>Совокупные инвестиции в развитие добывающей промышленности Чукотского АО к 2030 году составят 409 млрд. рублей</vt:lpstr>
      <vt:lpstr>Основными драйверами развития экономики региона станут цветная металлургия и угольная промышленность</vt:lpstr>
      <vt:lpstr>В результате реализации стратегии доля добывающей промышленности превысит 55%</vt:lpstr>
      <vt:lpstr>В результате реализации стратегии доходы населения округа вырастут и приблизятся к уровню развитых стран</vt:lpstr>
      <vt:lpstr>Слайд 18</vt:lpstr>
      <vt:lpstr> Меры по реализации Стратегии социально-экономического развития Чукотского АО до 2030 года </vt:lpstr>
      <vt:lpstr>Видение Чукотского автономного округа к 2030 году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Денис</dc:creator>
  <cp:lastModifiedBy>User</cp:lastModifiedBy>
  <cp:revision>806</cp:revision>
  <cp:lastPrinted>2014-07-14T22:58:14Z</cp:lastPrinted>
  <dcterms:created xsi:type="dcterms:W3CDTF">2009-01-26T10:38:08Z</dcterms:created>
  <dcterms:modified xsi:type="dcterms:W3CDTF">2014-08-06T06:04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Version">
    <vt:i4>1</vt:i4>
  </property>
</Properties>
</file>